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heme/themeOverride3.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5.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6.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56" r:id="rId2"/>
    <p:sldId id="269" r:id="rId3"/>
    <p:sldId id="258" r:id="rId4"/>
    <p:sldId id="304" r:id="rId5"/>
    <p:sldId id="305" r:id="rId6"/>
    <p:sldId id="306" r:id="rId7"/>
    <p:sldId id="273" r:id="rId8"/>
    <p:sldId id="307" r:id="rId9"/>
    <p:sldId id="308" r:id="rId10"/>
    <p:sldId id="275" r:id="rId11"/>
    <p:sldId id="309" r:id="rId12"/>
    <p:sldId id="310" r:id="rId13"/>
    <p:sldId id="261" r:id="rId14"/>
  </p:sldIdLst>
  <p:sldSz cx="12192000" cy="6858000"/>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8B7"/>
    <a:srgbClr val="F08300"/>
    <a:srgbClr val="001736"/>
    <a:srgbClr val="041A34"/>
    <a:srgbClr val="003478"/>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4" autoAdjust="0"/>
    <p:restoredTop sz="96182" autoAdjust="0"/>
  </p:normalViewPr>
  <p:slideViewPr>
    <p:cSldViewPr snapToGrid="0">
      <p:cViewPr varScale="1">
        <p:scale>
          <a:sx n="84" d="100"/>
          <a:sy n="84" d="100"/>
        </p:scale>
        <p:origin x="610" y="86"/>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0" d="100"/>
          <a:sy n="80" d="100"/>
        </p:scale>
        <p:origin x="3918"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7/24/Mon</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7/24/Mon</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14" name="Picture 41">
            <a:extLst>
              <a:ext uri="{FF2B5EF4-FFF2-40B4-BE49-F238E27FC236}">
                <a16:creationId xmlns:a16="http://schemas.microsoft.com/office/drawing/2014/main" id="{C8656260-0DAA-4BCA-956E-5DF150AF42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a:extLst>
              <a:ext uri="{FF2B5EF4-FFF2-40B4-BE49-F238E27FC236}">
                <a16:creationId xmlns:a16="http://schemas.microsoft.com/office/drawing/2014/main" id="{39121CC9-492B-472F-AB60-7D1F2427930D}"/>
              </a:ext>
            </a:extLst>
          </p:cNvPr>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a:extLst>
              <a:ext uri="{FF2B5EF4-FFF2-40B4-BE49-F238E27FC236}">
                <a16:creationId xmlns:a16="http://schemas.microsoft.com/office/drawing/2014/main" id="{DE7B807E-E01A-4AFD-9A50-20210CD7B21B}"/>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a:extLst>
              <a:ext uri="{FF2B5EF4-FFF2-40B4-BE49-F238E27FC236}">
                <a16:creationId xmlns:a16="http://schemas.microsoft.com/office/drawing/2014/main" id="{15D53D93-35DC-4E96-95E2-01CE36D06BED}"/>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a:extLst>
              <a:ext uri="{FF2B5EF4-FFF2-40B4-BE49-F238E27FC236}">
                <a16:creationId xmlns:a16="http://schemas.microsoft.com/office/drawing/2014/main" id="{729DEC4C-6670-452D-9EAA-A600ABE860D6}"/>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a:extLst>
              <a:ext uri="{FF2B5EF4-FFF2-40B4-BE49-F238E27FC236}">
                <a16:creationId xmlns:a16="http://schemas.microsoft.com/office/drawing/2014/main" id="{41844EB8-6924-4FA7-BD8C-153CC5338BA7}"/>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a:extLst>
              <a:ext uri="{FF2B5EF4-FFF2-40B4-BE49-F238E27FC236}">
                <a16:creationId xmlns:a16="http://schemas.microsoft.com/office/drawing/2014/main" id="{C9A33AB4-1CF5-41FD-AFD9-8EAFEBEF518F}"/>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hasCustomPrompt="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Microsoft YaHei" panose="020B0503020204020204" pitchFamily="34" charset="-122"/>
                <a:ea typeface="Microsoft YaHei" panose="020B0503020204020204" pitchFamily="34" charset="-122"/>
              </a:defRPr>
            </a:lvl1pPr>
          </a:lstStyle>
          <a:p>
            <a:pPr marL="228589" lvl="0" indent="-228589"/>
            <a:r>
              <a:rPr lang="en-US" dirty="0"/>
              <a:t>Click to edit Master subtitle style</a:t>
            </a:r>
          </a:p>
        </p:txBody>
      </p:sp>
      <p:sp>
        <p:nvSpPr>
          <p:cNvPr id="9802" name="标题 9801"/>
          <p:cNvSpPr>
            <a:spLocks noGrp="1"/>
          </p:cNvSpPr>
          <p:nvPr userDrawn="1">
            <p:ph type="ctrTitle" hasCustomPrompt="1"/>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589" lvl="0" indent="-228589"/>
            <a:r>
              <a:rPr lang="en-US" altLang="zh-CN" dirty="0"/>
              <a:t>Signature</a:t>
            </a:r>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589" lvl="0" indent="-228589"/>
            <a:r>
              <a:rPr lang="en-US" altLang="zh-CN" dirty="0"/>
              <a:t>Date</a:t>
            </a:r>
            <a:endParaRPr lang="zh-CN" altLang="en-US" dirty="0"/>
          </a:p>
        </p:txBody>
      </p:sp>
      <p:grpSp>
        <p:nvGrpSpPr>
          <p:cNvPr id="2" name="组合 1">
            <a:extLst>
              <a:ext uri="{FF2B5EF4-FFF2-40B4-BE49-F238E27FC236}">
                <a16:creationId xmlns:a16="http://schemas.microsoft.com/office/drawing/2014/main" id="{EDBA6F86-4A2D-4B39-9997-6BF685C13150}"/>
              </a:ext>
            </a:extLst>
          </p:cNvPr>
          <p:cNvGrpSpPr/>
          <p:nvPr userDrawn="1"/>
        </p:nvGrpSpPr>
        <p:grpSpPr>
          <a:xfrm>
            <a:off x="1071789" y="916886"/>
            <a:ext cx="2217511" cy="499112"/>
            <a:chOff x="1071789" y="916886"/>
            <a:chExt cx="2217511" cy="499112"/>
          </a:xfrm>
        </p:grpSpPr>
        <p:grpSp>
          <p:nvGrpSpPr>
            <p:cNvPr id="15" name="ï$ļidê">
              <a:extLst>
                <a:ext uri="{FF2B5EF4-FFF2-40B4-BE49-F238E27FC236}">
                  <a16:creationId xmlns:a16="http://schemas.microsoft.com/office/drawing/2014/main" id="{9F05585E-0700-4BBB-A9DD-3CA7AE3B5D52}"/>
                </a:ext>
              </a:extLst>
            </p:cNvPr>
            <p:cNvGrpSpPr/>
            <p:nvPr userDrawn="1"/>
          </p:nvGrpSpPr>
          <p:grpSpPr>
            <a:xfrm>
              <a:off x="1071789" y="916886"/>
              <a:ext cx="496620" cy="499112"/>
              <a:chOff x="1905000" y="2476500"/>
              <a:chExt cx="1898650" cy="1908175"/>
            </a:xfrm>
          </p:grpSpPr>
          <p:sp>
            <p:nvSpPr>
              <p:cNvPr id="16" name="íṡḷïdè">
                <a:extLst>
                  <a:ext uri="{FF2B5EF4-FFF2-40B4-BE49-F238E27FC236}">
                    <a16:creationId xmlns:a16="http://schemas.microsoft.com/office/drawing/2014/main" id="{C9C1E94C-2E47-4839-BD57-269DDF0A0248}"/>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ṣ1îḑè">
                <a:extLst>
                  <a:ext uri="{FF2B5EF4-FFF2-40B4-BE49-F238E27FC236}">
                    <a16:creationId xmlns:a16="http://schemas.microsoft.com/office/drawing/2014/main" id="{E30692F5-62AB-4E1C-B013-47986D1105E8}"/>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1ïḍê">
                <a:extLst>
                  <a:ext uri="{FF2B5EF4-FFF2-40B4-BE49-F238E27FC236}">
                    <a16:creationId xmlns:a16="http://schemas.microsoft.com/office/drawing/2014/main" id="{A2A2899E-53F9-406B-ACFE-E199A7E73BB8}"/>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šļïḋé">
                <a:extLst>
                  <a:ext uri="{FF2B5EF4-FFF2-40B4-BE49-F238E27FC236}">
                    <a16:creationId xmlns:a16="http://schemas.microsoft.com/office/drawing/2014/main" id="{51DBB156-1DE8-48FD-9CB9-9AA3D7180C56}"/>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ḷîḋè">
                <a:extLst>
                  <a:ext uri="{FF2B5EF4-FFF2-40B4-BE49-F238E27FC236}">
                    <a16:creationId xmlns:a16="http://schemas.microsoft.com/office/drawing/2014/main" id="{91BB4CBC-7C27-4E15-A850-D8401C643978}"/>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ślídê">
                <a:extLst>
                  <a:ext uri="{FF2B5EF4-FFF2-40B4-BE49-F238E27FC236}">
                    <a16:creationId xmlns:a16="http://schemas.microsoft.com/office/drawing/2014/main" id="{311EAFB6-5AA6-4C7B-AA29-57FA3AA5C1C7}"/>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ḻîḋe">
                <a:extLst>
                  <a:ext uri="{FF2B5EF4-FFF2-40B4-BE49-F238E27FC236}">
                    <a16:creationId xmlns:a16="http://schemas.microsoft.com/office/drawing/2014/main" id="{7FC06178-89EF-406E-90A7-6E036FF2E402}"/>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ŝḷîḓé">
                <a:extLst>
                  <a:ext uri="{FF2B5EF4-FFF2-40B4-BE49-F238E27FC236}">
                    <a16:creationId xmlns:a16="http://schemas.microsoft.com/office/drawing/2014/main" id="{360A0ED6-F5EB-4B85-8BEB-170C2CA34DFD}"/>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şlîḑé">
                <a:extLst>
                  <a:ext uri="{FF2B5EF4-FFF2-40B4-BE49-F238E27FC236}">
                    <a16:creationId xmlns:a16="http://schemas.microsoft.com/office/drawing/2014/main" id="{5EBE9075-CB89-4B07-BF6B-F76C14A6A250}"/>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25" name="ïṣliḍe">
                <a:extLst>
                  <a:ext uri="{FF2B5EF4-FFF2-40B4-BE49-F238E27FC236}">
                    <a16:creationId xmlns:a16="http://schemas.microsoft.com/office/drawing/2014/main" id="{E60C8BD0-583B-4A7B-85AA-4B0DCBCCF7E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6" name="îṧľîḍe">
                <a:extLst>
                  <a:ext uri="{FF2B5EF4-FFF2-40B4-BE49-F238E27FC236}">
                    <a16:creationId xmlns:a16="http://schemas.microsoft.com/office/drawing/2014/main" id="{F7520B1E-9FF6-4490-9AF5-A6CD7BC5F07A}"/>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ŝ1iďe">
                <a:extLst>
                  <a:ext uri="{FF2B5EF4-FFF2-40B4-BE49-F238E27FC236}">
                    <a16:creationId xmlns:a16="http://schemas.microsoft.com/office/drawing/2014/main" id="{7AF0FB22-382E-4C2F-947B-F3EE610E0E8A}"/>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ļîḋè">
                <a:extLst>
                  <a:ext uri="{FF2B5EF4-FFF2-40B4-BE49-F238E27FC236}">
                    <a16:creationId xmlns:a16="http://schemas.microsoft.com/office/drawing/2014/main" id="{6CB97203-D927-4E59-8380-B0F6F40990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ṧlide">
                <a:extLst>
                  <a:ext uri="{FF2B5EF4-FFF2-40B4-BE49-F238E27FC236}">
                    <a16:creationId xmlns:a16="http://schemas.microsoft.com/office/drawing/2014/main" id="{C54E38DC-5B65-432F-BDF6-4E99EC2D3B7A}"/>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ṣḷîḍè">
                <a:extLst>
                  <a:ext uri="{FF2B5EF4-FFF2-40B4-BE49-F238E27FC236}">
                    <a16:creationId xmlns:a16="http://schemas.microsoft.com/office/drawing/2014/main" id="{0EF5FD93-45AD-46A4-8202-FF32E73CE5AC}"/>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ṧḷîďé">
                <a:extLst>
                  <a:ext uri="{FF2B5EF4-FFF2-40B4-BE49-F238E27FC236}">
                    <a16:creationId xmlns:a16="http://schemas.microsoft.com/office/drawing/2014/main" id="{522232E4-4E21-4976-BFF1-3669AE8F576B}"/>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ľíḍe">
                <a:extLst>
                  <a:ext uri="{FF2B5EF4-FFF2-40B4-BE49-F238E27FC236}">
                    <a16:creationId xmlns:a16="http://schemas.microsoft.com/office/drawing/2014/main" id="{2F9CAD39-E743-47FE-B65F-037B65C92EAD}"/>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33" name="iṡlïḓè">
              <a:extLst>
                <a:ext uri="{FF2B5EF4-FFF2-40B4-BE49-F238E27FC236}">
                  <a16:creationId xmlns:a16="http://schemas.microsoft.com/office/drawing/2014/main" id="{C4B7F650-2D08-48CE-8874-0B637795FC37}"/>
                </a:ext>
              </a:extLst>
            </p:cNvPr>
            <p:cNvGrpSpPr/>
            <p:nvPr userDrawn="1"/>
          </p:nvGrpSpPr>
          <p:grpSpPr>
            <a:xfrm>
              <a:off x="1682758" y="962385"/>
              <a:ext cx="1606542" cy="289834"/>
              <a:chOff x="4164013" y="2535238"/>
              <a:chExt cx="6142038" cy="1108075"/>
            </a:xfrm>
            <a:solidFill>
              <a:srgbClr val="001736"/>
            </a:solidFill>
          </p:grpSpPr>
          <p:sp>
            <p:nvSpPr>
              <p:cNvPr id="34" name="îś1iḑe">
                <a:extLst>
                  <a:ext uri="{FF2B5EF4-FFF2-40B4-BE49-F238E27FC236}">
                    <a16:creationId xmlns:a16="http://schemas.microsoft.com/office/drawing/2014/main" id="{B2E0B3C9-EAF4-4A46-8835-CAD2AD4AABEC}"/>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ṡlïḋé">
                <a:extLst>
                  <a:ext uri="{FF2B5EF4-FFF2-40B4-BE49-F238E27FC236}">
                    <a16:creationId xmlns:a16="http://schemas.microsoft.com/office/drawing/2014/main" id="{A1DA236C-E443-4CA3-8E69-9ED93BCF8C5B}"/>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ṣḷiḑé">
                <a:extLst>
                  <a:ext uri="{FF2B5EF4-FFF2-40B4-BE49-F238E27FC236}">
                    <a16:creationId xmlns:a16="http://schemas.microsoft.com/office/drawing/2014/main" id="{E15FF73D-F61A-427D-AB3B-511EA8DE1FC5}"/>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ṣlîḍe">
                <a:extLst>
                  <a:ext uri="{FF2B5EF4-FFF2-40B4-BE49-F238E27FC236}">
                    <a16:creationId xmlns:a16="http://schemas.microsoft.com/office/drawing/2014/main" id="{D3DE80C0-512C-4411-93F8-E5C37183A47C}"/>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śļïďè">
                <a:extLst>
                  <a:ext uri="{FF2B5EF4-FFF2-40B4-BE49-F238E27FC236}">
                    <a16:creationId xmlns:a16="http://schemas.microsoft.com/office/drawing/2014/main" id="{D47DE5DB-7E72-4C9A-B7B2-CA92AAB3190B}"/>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ṡľiḍê">
                <a:extLst>
                  <a:ext uri="{FF2B5EF4-FFF2-40B4-BE49-F238E27FC236}">
                    <a16:creationId xmlns:a16="http://schemas.microsoft.com/office/drawing/2014/main" id="{DCF47C1E-F0A9-4C5C-B389-E0633DB7C343}"/>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40" name="iṧlide">
              <a:extLst>
                <a:ext uri="{FF2B5EF4-FFF2-40B4-BE49-F238E27FC236}">
                  <a16:creationId xmlns:a16="http://schemas.microsoft.com/office/drawing/2014/main" id="{39720CBA-2A4E-46FF-9592-8B7E3D032116}"/>
                </a:ext>
              </a:extLst>
            </p:cNvPr>
            <p:cNvGrpSpPr/>
            <p:nvPr userDrawn="1"/>
          </p:nvGrpSpPr>
          <p:grpSpPr>
            <a:xfrm>
              <a:off x="1681928" y="1301968"/>
              <a:ext cx="1596160" cy="99656"/>
              <a:chOff x="4195410" y="3864490"/>
              <a:chExt cx="5963974" cy="372361"/>
            </a:xfrm>
            <a:solidFill>
              <a:srgbClr val="001736"/>
            </a:solidFill>
          </p:grpSpPr>
          <p:sp>
            <p:nvSpPr>
              <p:cNvPr id="41" name="iş1íḍê">
                <a:extLst>
                  <a:ext uri="{FF2B5EF4-FFF2-40B4-BE49-F238E27FC236}">
                    <a16:creationId xmlns:a16="http://schemas.microsoft.com/office/drawing/2014/main" id="{5AA59F4F-3BD3-4320-B6EB-A2ED9B1D21E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şľiḓe">
                <a:extLst>
                  <a:ext uri="{FF2B5EF4-FFF2-40B4-BE49-F238E27FC236}">
                    <a16:creationId xmlns:a16="http://schemas.microsoft.com/office/drawing/2014/main" id="{E2DF964D-7146-4C25-A7D0-A519CF50AA41}"/>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13" name="图片 12" descr="草地上的建筑&#10;&#10;描述已自动生成">
            <a:extLst>
              <a:ext uri="{FF2B5EF4-FFF2-40B4-BE49-F238E27FC236}">
                <a16:creationId xmlns:a16="http://schemas.microsoft.com/office/drawing/2014/main" id="{BBFFA7F1-2C54-445A-92A8-E46F031D9171}"/>
              </a:ext>
            </a:extLst>
          </p:cNvPr>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a:extLst>
              <a:ext uri="{FF2B5EF4-FFF2-40B4-BE49-F238E27FC236}">
                <a16:creationId xmlns:a16="http://schemas.microsoft.com/office/drawing/2014/main" id="{F45ED433-40CE-4A52-8775-D14AFBBF996A}"/>
              </a:ext>
            </a:extLst>
          </p:cNvPr>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6" name="iśľiḓè">
            <a:extLst>
              <a:ext uri="{FF2B5EF4-FFF2-40B4-BE49-F238E27FC236}">
                <a16:creationId xmlns:a16="http://schemas.microsoft.com/office/drawing/2014/main" id="{123C40B6-E7AA-4DA1-A1EA-507CB8D23762}"/>
              </a:ext>
            </a:extLst>
          </p:cNvPr>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a:extLst>
              <a:ext uri="{FF2B5EF4-FFF2-40B4-BE49-F238E27FC236}">
                <a16:creationId xmlns:a16="http://schemas.microsoft.com/office/drawing/2014/main" id="{528AD497-350F-4116-A285-5614CF757254}"/>
              </a:ext>
            </a:extLst>
          </p:cNvPr>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a:extLst>
              <a:ext uri="{FF2B5EF4-FFF2-40B4-BE49-F238E27FC236}">
                <a16:creationId xmlns:a16="http://schemas.microsoft.com/office/drawing/2014/main" id="{13D6C137-EBF6-4B52-8D00-29B84A407F57}"/>
              </a:ext>
            </a:extLst>
          </p:cNvPr>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a:extLst>
              <a:ext uri="{FF2B5EF4-FFF2-40B4-BE49-F238E27FC236}">
                <a16:creationId xmlns:a16="http://schemas.microsoft.com/office/drawing/2014/main" id="{BFFFEFE1-FE65-42C5-B467-B40FC3F0A092}"/>
              </a:ext>
            </a:extLst>
          </p:cNvPr>
          <p:cNvGrpSpPr/>
          <p:nvPr userDrawn="1"/>
        </p:nvGrpSpPr>
        <p:grpSpPr>
          <a:xfrm>
            <a:off x="9724571" y="535076"/>
            <a:ext cx="1795916" cy="404220"/>
            <a:chOff x="1071789" y="916886"/>
            <a:chExt cx="2217511" cy="499112"/>
          </a:xfrm>
        </p:grpSpPr>
        <p:grpSp>
          <p:nvGrpSpPr>
            <p:cNvPr id="10" name="ï$ļidê">
              <a:extLst>
                <a:ext uri="{FF2B5EF4-FFF2-40B4-BE49-F238E27FC236}">
                  <a16:creationId xmlns:a16="http://schemas.microsoft.com/office/drawing/2014/main" id="{D6B7942D-1FC4-4324-844D-140A5C8D6B82}"/>
                </a:ext>
              </a:extLst>
            </p:cNvPr>
            <p:cNvGrpSpPr/>
            <p:nvPr userDrawn="1"/>
          </p:nvGrpSpPr>
          <p:grpSpPr>
            <a:xfrm>
              <a:off x="1071789" y="916886"/>
              <a:ext cx="496620" cy="499112"/>
              <a:chOff x="1905000" y="2476500"/>
              <a:chExt cx="1898650" cy="1908175"/>
            </a:xfrm>
          </p:grpSpPr>
          <p:sp>
            <p:nvSpPr>
              <p:cNvPr id="25" name="ïşļiḓe">
                <a:extLst>
                  <a:ext uri="{FF2B5EF4-FFF2-40B4-BE49-F238E27FC236}">
                    <a16:creationId xmlns:a16="http://schemas.microsoft.com/office/drawing/2014/main" id="{6938A7AE-6671-43B1-8E1C-E15651CA10A9}"/>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sľîḍe">
                <a:extLst>
                  <a:ext uri="{FF2B5EF4-FFF2-40B4-BE49-F238E27FC236}">
                    <a16:creationId xmlns:a16="http://schemas.microsoft.com/office/drawing/2014/main" id="{0419830F-0751-4CF3-B14F-C29C2583C5F6}"/>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sḻiḓè">
                <a:extLst>
                  <a:ext uri="{FF2B5EF4-FFF2-40B4-BE49-F238E27FC236}">
                    <a16:creationId xmlns:a16="http://schemas.microsoft.com/office/drawing/2014/main" id="{04D17CC4-931C-45A1-A18D-9350E99812F5}"/>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ṧḷïḍé">
                <a:extLst>
                  <a:ext uri="{FF2B5EF4-FFF2-40B4-BE49-F238E27FC236}">
                    <a16:creationId xmlns:a16="http://schemas.microsoft.com/office/drawing/2014/main" id="{222ACFAB-7BF9-49DF-908C-8B639997C4CF}"/>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şļidè">
                <a:extLst>
                  <a:ext uri="{FF2B5EF4-FFF2-40B4-BE49-F238E27FC236}">
                    <a16:creationId xmlns:a16="http://schemas.microsoft.com/office/drawing/2014/main" id="{5881DE1F-926E-4434-B24B-C193FD00B25A}"/>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şḷîde">
                <a:extLst>
                  <a:ext uri="{FF2B5EF4-FFF2-40B4-BE49-F238E27FC236}">
                    <a16:creationId xmlns:a16="http://schemas.microsoft.com/office/drawing/2014/main" id="{DDB1C6B8-D9EF-4FBC-AA39-0548B5197C71}"/>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ľíḋé">
                <a:extLst>
                  <a:ext uri="{FF2B5EF4-FFF2-40B4-BE49-F238E27FC236}">
                    <a16:creationId xmlns:a16="http://schemas.microsoft.com/office/drawing/2014/main" id="{95E045EE-4E12-4070-9889-4339B0947CD7}"/>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ḻîďê">
                <a:extLst>
                  <a:ext uri="{FF2B5EF4-FFF2-40B4-BE49-F238E27FC236}">
                    <a16:creationId xmlns:a16="http://schemas.microsoft.com/office/drawing/2014/main" id="{97E3FB5F-B878-4BD3-B57C-F22DFFF3549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s1ide">
                <a:extLst>
                  <a:ext uri="{FF2B5EF4-FFF2-40B4-BE49-F238E27FC236}">
                    <a16:creationId xmlns:a16="http://schemas.microsoft.com/office/drawing/2014/main" id="{12F38D4F-65AD-4CCD-91E4-71511C5C49F7}"/>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4" name="ísļïḍê">
                <a:extLst>
                  <a:ext uri="{FF2B5EF4-FFF2-40B4-BE49-F238E27FC236}">
                    <a16:creationId xmlns:a16="http://schemas.microsoft.com/office/drawing/2014/main" id="{893EEA19-7F57-4485-9789-A233D56A51A6}"/>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5" name="îṣ1ïḑé">
                <a:extLst>
                  <a:ext uri="{FF2B5EF4-FFF2-40B4-BE49-F238E27FC236}">
                    <a16:creationId xmlns:a16="http://schemas.microsoft.com/office/drawing/2014/main" id="{0322BE64-A0E4-4BB3-B5A9-E5D71E2A3B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ṣ1îḓê">
                <a:extLst>
                  <a:ext uri="{FF2B5EF4-FFF2-40B4-BE49-F238E27FC236}">
                    <a16:creationId xmlns:a16="http://schemas.microsoft.com/office/drawing/2014/main" id="{D21C742C-7B20-4002-B310-644AFA897359}"/>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ṥļiďè">
                <a:extLst>
                  <a:ext uri="{FF2B5EF4-FFF2-40B4-BE49-F238E27FC236}">
                    <a16:creationId xmlns:a16="http://schemas.microsoft.com/office/drawing/2014/main" id="{CCBF5AB7-D62D-406F-AF12-55657BA377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1îḑê">
                <a:extLst>
                  <a:ext uri="{FF2B5EF4-FFF2-40B4-BE49-F238E27FC236}">
                    <a16:creationId xmlns:a16="http://schemas.microsoft.com/office/drawing/2014/main" id="{1E039AA3-C512-441B-96EF-01B3C08AE126}"/>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ŝḻîdê">
                <a:extLst>
                  <a:ext uri="{FF2B5EF4-FFF2-40B4-BE49-F238E27FC236}">
                    <a16:creationId xmlns:a16="http://schemas.microsoft.com/office/drawing/2014/main" id="{16F6E2BD-1F4B-4129-9B83-C3987963DE8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ṥļîďé">
                <a:extLst>
                  <a:ext uri="{FF2B5EF4-FFF2-40B4-BE49-F238E27FC236}">
                    <a16:creationId xmlns:a16="http://schemas.microsoft.com/office/drawing/2014/main" id="{0D4A6BD9-D7E4-42ED-8822-2697EDB2F6B5}"/>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íşľídè">
                <a:extLst>
                  <a:ext uri="{FF2B5EF4-FFF2-40B4-BE49-F238E27FC236}">
                    <a16:creationId xmlns:a16="http://schemas.microsoft.com/office/drawing/2014/main" id="{DCA58161-1FBE-4A63-B0BF-0DA772E56C82}"/>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2" name="iṡlïḓè">
              <a:extLst>
                <a:ext uri="{FF2B5EF4-FFF2-40B4-BE49-F238E27FC236}">
                  <a16:creationId xmlns:a16="http://schemas.microsoft.com/office/drawing/2014/main" id="{518DE066-BCAA-4BDD-96BD-D6E1F2BF5FC1}"/>
                </a:ext>
              </a:extLst>
            </p:cNvPr>
            <p:cNvGrpSpPr/>
            <p:nvPr userDrawn="1"/>
          </p:nvGrpSpPr>
          <p:grpSpPr>
            <a:xfrm>
              <a:off x="1682758" y="962385"/>
              <a:ext cx="1606542" cy="289834"/>
              <a:chOff x="4164013" y="2535238"/>
              <a:chExt cx="6142038" cy="1108075"/>
            </a:xfrm>
            <a:solidFill>
              <a:srgbClr val="001736"/>
            </a:solidFill>
          </p:grpSpPr>
          <p:sp>
            <p:nvSpPr>
              <p:cNvPr id="17" name="îslíḋé">
                <a:extLst>
                  <a:ext uri="{FF2B5EF4-FFF2-40B4-BE49-F238E27FC236}">
                    <a16:creationId xmlns:a16="http://schemas.microsoft.com/office/drawing/2014/main" id="{5886D6D7-D3A1-40F1-8B7D-BDF7B68C9273}"/>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îṡlide">
                <a:extLst>
                  <a:ext uri="{FF2B5EF4-FFF2-40B4-BE49-F238E27FC236}">
                    <a16:creationId xmlns:a16="http://schemas.microsoft.com/office/drawing/2014/main" id="{277EC223-DC3B-4B0C-9713-D5AC8D09CE33}"/>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š1íḑê">
                <a:extLst>
                  <a:ext uri="{FF2B5EF4-FFF2-40B4-BE49-F238E27FC236}">
                    <a16:creationId xmlns:a16="http://schemas.microsoft.com/office/drawing/2014/main" id="{84E1A051-514E-4AED-A369-BDCE4A347A9B}"/>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šļíďè">
                <a:extLst>
                  <a:ext uri="{FF2B5EF4-FFF2-40B4-BE49-F238E27FC236}">
                    <a16:creationId xmlns:a16="http://schemas.microsoft.com/office/drawing/2014/main" id="{4E9DACBA-F481-4DFF-9489-CCEDBFF23CA9}"/>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ṡļïḑê">
                <a:extLst>
                  <a:ext uri="{FF2B5EF4-FFF2-40B4-BE49-F238E27FC236}">
                    <a16:creationId xmlns:a16="http://schemas.microsoft.com/office/drawing/2014/main" id="{44756734-196B-41F7-ACBF-05AE2BCB115D}"/>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ṩ1ïďè">
                <a:extLst>
                  <a:ext uri="{FF2B5EF4-FFF2-40B4-BE49-F238E27FC236}">
                    <a16:creationId xmlns:a16="http://schemas.microsoft.com/office/drawing/2014/main" id="{B01E906F-F954-42D4-A065-215ACF9519EF}"/>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57B39328-9224-4B4E-936F-66085E357C2C}"/>
                </a:ext>
              </a:extLst>
            </p:cNvPr>
            <p:cNvGrpSpPr/>
            <p:nvPr userDrawn="1"/>
          </p:nvGrpSpPr>
          <p:grpSpPr>
            <a:xfrm>
              <a:off x="1681928" y="1301968"/>
              <a:ext cx="1596160" cy="99656"/>
              <a:chOff x="4195410" y="3864490"/>
              <a:chExt cx="5963974" cy="372361"/>
            </a:xfrm>
            <a:solidFill>
              <a:srgbClr val="001736"/>
            </a:solidFill>
          </p:grpSpPr>
          <p:sp>
            <p:nvSpPr>
              <p:cNvPr id="15" name="îSľíďé">
                <a:extLst>
                  <a:ext uri="{FF2B5EF4-FFF2-40B4-BE49-F238E27FC236}">
                    <a16:creationId xmlns:a16="http://schemas.microsoft.com/office/drawing/2014/main" id="{1EC1A250-0861-4A3F-9AFC-1501E377344B}"/>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ṡľíďe">
                <a:extLst>
                  <a:ext uri="{FF2B5EF4-FFF2-40B4-BE49-F238E27FC236}">
                    <a16:creationId xmlns:a16="http://schemas.microsoft.com/office/drawing/2014/main" id="{56AC951B-9C04-4B8C-910B-75C20C799C0A}"/>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E58F7600-B3CB-4303-8E73-A949AFED3035}"/>
              </a:ext>
            </a:extLst>
          </p:cNvPr>
          <p:cNvGrpSpPr/>
          <p:nvPr userDrawn="1"/>
        </p:nvGrpSpPr>
        <p:grpSpPr>
          <a:xfrm flipH="1">
            <a:off x="0" y="0"/>
            <a:ext cx="6496050" cy="5416345"/>
            <a:chOff x="4906913" y="0"/>
            <a:chExt cx="7285087" cy="6074237"/>
          </a:xfrm>
        </p:grpSpPr>
        <p:sp>
          <p:nvSpPr>
            <p:cNvPr id="2" name="ïṡlîďê">
              <a:extLst>
                <a:ext uri="{FF2B5EF4-FFF2-40B4-BE49-F238E27FC236}">
                  <a16:creationId xmlns:a16="http://schemas.microsoft.com/office/drawing/2014/main" id="{E439CD5A-CAF5-45CD-9FCC-504319DAD15E}"/>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a:extLst>
                <a:ext uri="{FF2B5EF4-FFF2-40B4-BE49-F238E27FC236}">
                  <a16:creationId xmlns:a16="http://schemas.microsoft.com/office/drawing/2014/main" id="{2CD2485B-6B24-4D35-B778-6A8221AAB7E4}"/>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a:extLst>
                <a:ext uri="{FF2B5EF4-FFF2-40B4-BE49-F238E27FC236}">
                  <a16:creationId xmlns:a16="http://schemas.microsoft.com/office/drawing/2014/main" id="{3ECDFD97-F9F8-4458-83C7-75F6A6B9BC7F}"/>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a:extLst>
                <a:ext uri="{FF2B5EF4-FFF2-40B4-BE49-F238E27FC236}">
                  <a16:creationId xmlns:a16="http://schemas.microsoft.com/office/drawing/2014/main" id="{2CA04BCD-7F71-4105-83C6-67D474785A06}"/>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a:extLst>
                <a:ext uri="{FF2B5EF4-FFF2-40B4-BE49-F238E27FC236}">
                  <a16:creationId xmlns:a16="http://schemas.microsoft.com/office/drawing/2014/main" id="{328C9D76-DBE1-49B5-AF7C-DD24A5B36F96}"/>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74663F0D-3659-453D-9B02-B0E0591B44BB}"/>
              </a:ext>
            </a:extLst>
          </p:cNvPr>
          <p:cNvGrpSpPr/>
          <p:nvPr userDrawn="1"/>
        </p:nvGrpSpPr>
        <p:grpSpPr>
          <a:xfrm>
            <a:off x="11112501" y="4692303"/>
            <a:ext cx="1076284" cy="1986290"/>
            <a:chOff x="11761373" y="5661203"/>
            <a:chExt cx="427411" cy="788790"/>
          </a:xfrm>
        </p:grpSpPr>
        <p:sp>
          <p:nvSpPr>
            <p:cNvPr id="9" name="î$ľídé">
              <a:extLst>
                <a:ext uri="{FF2B5EF4-FFF2-40B4-BE49-F238E27FC236}">
                  <a16:creationId xmlns:a16="http://schemas.microsoft.com/office/drawing/2014/main" id="{12BDBF0A-7794-497A-B347-523784BA2A29}"/>
                </a:ext>
              </a:extLst>
            </p:cNvPr>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a:extLst>
                <a:ext uri="{FF2B5EF4-FFF2-40B4-BE49-F238E27FC236}">
                  <a16:creationId xmlns:a16="http://schemas.microsoft.com/office/drawing/2014/main" id="{B8EF53BF-186A-47C0-B18A-4E049A034B72}"/>
                </a:ext>
              </a:extLst>
            </p:cNvPr>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grpSp>
        <p:nvGrpSpPr>
          <p:cNvPr id="11" name="组合 10">
            <a:extLst>
              <a:ext uri="{FF2B5EF4-FFF2-40B4-BE49-F238E27FC236}">
                <a16:creationId xmlns:a16="http://schemas.microsoft.com/office/drawing/2014/main" id="{BB1C2309-2FFF-4106-8C5F-C5C1628C054F}"/>
              </a:ext>
            </a:extLst>
          </p:cNvPr>
          <p:cNvGrpSpPr/>
          <p:nvPr userDrawn="1"/>
        </p:nvGrpSpPr>
        <p:grpSpPr>
          <a:xfrm>
            <a:off x="9724571" y="535076"/>
            <a:ext cx="1795916" cy="404220"/>
            <a:chOff x="1071789" y="916886"/>
            <a:chExt cx="2217511" cy="499112"/>
          </a:xfrm>
        </p:grpSpPr>
        <p:grpSp>
          <p:nvGrpSpPr>
            <p:cNvPr id="12" name="ï$ļidê">
              <a:extLst>
                <a:ext uri="{FF2B5EF4-FFF2-40B4-BE49-F238E27FC236}">
                  <a16:creationId xmlns:a16="http://schemas.microsoft.com/office/drawing/2014/main" id="{8C9E18A8-FCAF-41BD-B1CD-4524C70AEDA0}"/>
                </a:ext>
              </a:extLst>
            </p:cNvPr>
            <p:cNvGrpSpPr/>
            <p:nvPr userDrawn="1"/>
          </p:nvGrpSpPr>
          <p:grpSpPr>
            <a:xfrm>
              <a:off x="1071789" y="916886"/>
              <a:ext cx="496620" cy="499112"/>
              <a:chOff x="1905000" y="2476500"/>
              <a:chExt cx="1898650" cy="1908175"/>
            </a:xfrm>
          </p:grpSpPr>
          <p:sp>
            <p:nvSpPr>
              <p:cNvPr id="23" name="îšḻïďe">
                <a:extLst>
                  <a:ext uri="{FF2B5EF4-FFF2-40B4-BE49-F238E27FC236}">
                    <a16:creationId xmlns:a16="http://schemas.microsoft.com/office/drawing/2014/main" id="{2020216F-13DC-4696-95C2-A668999922E5}"/>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ṥľide">
                <a:extLst>
                  <a:ext uri="{FF2B5EF4-FFF2-40B4-BE49-F238E27FC236}">
                    <a16:creationId xmlns:a16="http://schemas.microsoft.com/office/drawing/2014/main" id="{4856863A-A215-4EF9-BC82-326846F49742}"/>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ş1íḑé">
                <a:extLst>
                  <a:ext uri="{FF2B5EF4-FFF2-40B4-BE49-F238E27FC236}">
                    <a16:creationId xmlns:a16="http://schemas.microsoft.com/office/drawing/2014/main" id="{BEEDAA68-58EA-41CB-975B-A1A655F598C2}"/>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îḑe">
                <a:extLst>
                  <a:ext uri="{FF2B5EF4-FFF2-40B4-BE49-F238E27FC236}">
                    <a16:creationId xmlns:a16="http://schemas.microsoft.com/office/drawing/2014/main" id="{968377F3-6980-45C2-933B-C61B6141A0A4}"/>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ṡḻîḋe">
                <a:extLst>
                  <a:ext uri="{FF2B5EF4-FFF2-40B4-BE49-F238E27FC236}">
                    <a16:creationId xmlns:a16="http://schemas.microsoft.com/office/drawing/2014/main" id="{730D1AB7-7181-4FD8-A924-9AFB731B834F}"/>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ļïdê">
                <a:extLst>
                  <a:ext uri="{FF2B5EF4-FFF2-40B4-BE49-F238E27FC236}">
                    <a16:creationId xmlns:a16="http://schemas.microsoft.com/office/drawing/2014/main" id="{DD750A71-B266-4493-BB94-2A3DB893621A}"/>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śļiḋé">
                <a:extLst>
                  <a:ext uri="{FF2B5EF4-FFF2-40B4-BE49-F238E27FC236}">
                    <a16:creationId xmlns:a16="http://schemas.microsoft.com/office/drawing/2014/main" id="{13D21F53-5CEF-443C-A4DA-2FEB9C95A471}"/>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ṩḷíḑe">
                <a:extLst>
                  <a:ext uri="{FF2B5EF4-FFF2-40B4-BE49-F238E27FC236}">
                    <a16:creationId xmlns:a16="http://schemas.microsoft.com/office/drawing/2014/main" id="{0F1CEC88-039E-48F8-832E-2238284FB1A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ṧļiḓé">
                <a:extLst>
                  <a:ext uri="{FF2B5EF4-FFF2-40B4-BE49-F238E27FC236}">
                    <a16:creationId xmlns:a16="http://schemas.microsoft.com/office/drawing/2014/main" id="{E90146A6-7804-407C-AEC6-0B81EEFCAF6E}"/>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2" name="îSlïḍè">
                <a:extLst>
                  <a:ext uri="{FF2B5EF4-FFF2-40B4-BE49-F238E27FC236}">
                    <a16:creationId xmlns:a16="http://schemas.microsoft.com/office/drawing/2014/main" id="{44AC6217-551F-413C-AE59-9500B1B2036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3" name="íšlíḍé">
                <a:extLst>
                  <a:ext uri="{FF2B5EF4-FFF2-40B4-BE49-F238E27FC236}">
                    <a16:creationId xmlns:a16="http://schemas.microsoft.com/office/drawing/2014/main" id="{BD1004DF-F7C8-489C-9860-E02ABC1E94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šḻidè">
                <a:extLst>
                  <a:ext uri="{FF2B5EF4-FFF2-40B4-BE49-F238E27FC236}">
                    <a16:creationId xmlns:a16="http://schemas.microsoft.com/office/drawing/2014/main" id="{5C0ABEEF-C80B-4328-B97F-45A97818619D}"/>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ḷide">
                <a:extLst>
                  <a:ext uri="{FF2B5EF4-FFF2-40B4-BE49-F238E27FC236}">
                    <a16:creationId xmlns:a16="http://schemas.microsoft.com/office/drawing/2014/main" id="{A42388AA-45FE-435C-9892-C565170E96C5}"/>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şḷïḍé">
                <a:extLst>
                  <a:ext uri="{FF2B5EF4-FFF2-40B4-BE49-F238E27FC236}">
                    <a16:creationId xmlns:a16="http://schemas.microsoft.com/office/drawing/2014/main" id="{2A14E0B6-EDF6-4127-B492-06B91A754820}"/>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ṡḷïde">
                <a:extLst>
                  <a:ext uri="{FF2B5EF4-FFF2-40B4-BE49-F238E27FC236}">
                    <a16:creationId xmlns:a16="http://schemas.microsoft.com/office/drawing/2014/main" id="{EF802D0D-499C-47A6-A1B0-3961FF9051E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ṩḷiďè">
                <a:extLst>
                  <a:ext uri="{FF2B5EF4-FFF2-40B4-BE49-F238E27FC236}">
                    <a16:creationId xmlns:a16="http://schemas.microsoft.com/office/drawing/2014/main" id="{74AE230F-AC3D-4A53-AE8A-7E18101501CD}"/>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1iḓê">
                <a:extLst>
                  <a:ext uri="{FF2B5EF4-FFF2-40B4-BE49-F238E27FC236}">
                    <a16:creationId xmlns:a16="http://schemas.microsoft.com/office/drawing/2014/main" id="{AC26B1B2-172F-4767-81DD-D5E79A272EB9}"/>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3" name="iṡlïḓè">
              <a:extLst>
                <a:ext uri="{FF2B5EF4-FFF2-40B4-BE49-F238E27FC236}">
                  <a16:creationId xmlns:a16="http://schemas.microsoft.com/office/drawing/2014/main" id="{3A123B05-5123-4065-A6F1-D94F4C54EA7A}"/>
                </a:ext>
              </a:extLst>
            </p:cNvPr>
            <p:cNvGrpSpPr/>
            <p:nvPr userDrawn="1"/>
          </p:nvGrpSpPr>
          <p:grpSpPr>
            <a:xfrm>
              <a:off x="1682758" y="962385"/>
              <a:ext cx="1606542" cy="289834"/>
              <a:chOff x="4164013" y="2535238"/>
              <a:chExt cx="6142038" cy="1108075"/>
            </a:xfrm>
            <a:solidFill>
              <a:srgbClr val="001736"/>
            </a:solidFill>
          </p:grpSpPr>
          <p:sp>
            <p:nvSpPr>
              <p:cNvPr id="17" name="iSḷiḋé">
                <a:extLst>
                  <a:ext uri="{FF2B5EF4-FFF2-40B4-BE49-F238E27FC236}">
                    <a16:creationId xmlns:a16="http://schemas.microsoft.com/office/drawing/2014/main" id="{CA21DADE-6C88-4DE0-921E-9D7880634D2E}"/>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ṥḻiḑé">
                <a:extLst>
                  <a:ext uri="{FF2B5EF4-FFF2-40B4-BE49-F238E27FC236}">
                    <a16:creationId xmlns:a16="http://schemas.microsoft.com/office/drawing/2014/main" id="{94C141F2-8A22-4CE3-A217-7A04BA6BE59D}"/>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ṡľîḑe">
                <a:extLst>
                  <a:ext uri="{FF2B5EF4-FFF2-40B4-BE49-F238E27FC236}">
                    <a16:creationId xmlns:a16="http://schemas.microsoft.com/office/drawing/2014/main" id="{BCB653DF-DBBB-42DE-A7CD-7FDFF4B8C197}"/>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ṧḷïḑé">
                <a:extLst>
                  <a:ext uri="{FF2B5EF4-FFF2-40B4-BE49-F238E27FC236}">
                    <a16:creationId xmlns:a16="http://schemas.microsoft.com/office/drawing/2014/main" id="{BA2BC783-0B6A-46E0-912C-80F52E3D9723}"/>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ṧ1íḓê">
                <a:extLst>
                  <a:ext uri="{FF2B5EF4-FFF2-40B4-BE49-F238E27FC236}">
                    <a16:creationId xmlns:a16="http://schemas.microsoft.com/office/drawing/2014/main" id="{686DF4BA-E100-46AD-AC23-D067EED6D087}"/>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iSlïḓè">
                <a:extLst>
                  <a:ext uri="{FF2B5EF4-FFF2-40B4-BE49-F238E27FC236}">
                    <a16:creationId xmlns:a16="http://schemas.microsoft.com/office/drawing/2014/main" id="{EB2B06D5-E044-4959-83C6-891C600B5A5C}"/>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B5351CA5-66BA-4D67-9DEE-CDF81A876F0F}"/>
                </a:ext>
              </a:extLst>
            </p:cNvPr>
            <p:cNvGrpSpPr/>
            <p:nvPr userDrawn="1"/>
          </p:nvGrpSpPr>
          <p:grpSpPr>
            <a:xfrm>
              <a:off x="1681928" y="1301968"/>
              <a:ext cx="1596160" cy="99656"/>
              <a:chOff x="4195410" y="3864490"/>
              <a:chExt cx="5963974" cy="372361"/>
            </a:xfrm>
            <a:solidFill>
              <a:srgbClr val="001736"/>
            </a:solidFill>
          </p:grpSpPr>
          <p:sp>
            <p:nvSpPr>
              <p:cNvPr id="15" name="ïṩ1ïdé">
                <a:extLst>
                  <a:ext uri="{FF2B5EF4-FFF2-40B4-BE49-F238E27FC236}">
                    <a16:creationId xmlns:a16="http://schemas.microsoft.com/office/drawing/2014/main" id="{E50CD631-F237-444C-8970-66AE986F222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iṥḷíḍé">
                <a:extLst>
                  <a:ext uri="{FF2B5EF4-FFF2-40B4-BE49-F238E27FC236}">
                    <a16:creationId xmlns:a16="http://schemas.microsoft.com/office/drawing/2014/main" id="{96FBC146-AB38-454E-88F0-C42C58B6692B}"/>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themeOverride" Target="../theme/themeOverride5.xml"/><Relationship Id="rId4" Type="http://schemas.openxmlformats.org/officeDocument/2006/relationships/image" Target="../media/image8.jp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themeOverride" Target="../theme/themeOverride6.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themeOverride" Target="../theme/themeOverride4.xml"/><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ïşḷïḋê"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íṣlíḋê"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ṣḷîḑè"/>
          <p:cNvSpPr>
            <a:spLocks noGrp="1"/>
          </p:cNvSpPr>
          <p:nvPr>
            <p:ph type="ctrTitle"/>
          </p:nvPr>
        </p:nvSpPr>
        <p:spPr>
          <a:xfrm>
            <a:off x="999217" y="3242052"/>
            <a:ext cx="4042513" cy="1296932"/>
          </a:xfrm>
        </p:spPr>
        <p:txBody>
          <a:bodyPr>
            <a:normAutofit fontScale="90000"/>
          </a:bodyPr>
          <a:lstStyle/>
          <a:p>
            <a:pPr algn="l" fontAlgn="b" latinLnBrk="0">
              <a:lnSpc>
                <a:spcPct val="100000"/>
              </a:lnSpc>
            </a:pPr>
            <a:r>
              <a:rPr lang="zh-CN" altLang="en-US" b="0" dirty="0"/>
              <a:t>基于人工智能的</a:t>
            </a:r>
            <a:br>
              <a:rPr lang="en-US" altLang="zh-CN" b="0" dirty="0"/>
            </a:br>
            <a:r>
              <a:rPr lang="zh-CN" altLang="en-US" b="0" dirty="0"/>
              <a:t>信息安全</a:t>
            </a:r>
            <a:endParaRPr lang="zh-CN" altLang="en-US" b="1" dirty="0">
              <a:solidFill>
                <a:schemeClr val="accent1">
                  <a:lumMod val="50000"/>
                </a:schemeClr>
              </a:solidFill>
              <a:effectLst/>
              <a:latin typeface="Calibri" panose="020F0502020204030204" pitchFamily="34" charset="0"/>
              <a:ea typeface="Microsoft YaHei" panose="020B0503020204020204" pitchFamily="34" charset="-122"/>
            </a:endParaRPr>
          </a:p>
        </p:txBody>
      </p:sp>
      <p:sp>
        <p:nvSpPr>
          <p:cNvPr id="6" name="iŝḷíḑê"/>
          <p:cNvSpPr>
            <a:spLocks noGrp="1"/>
          </p:cNvSpPr>
          <p:nvPr>
            <p:ph type="body" sz="quarter" idx="10"/>
          </p:nvPr>
        </p:nvSpPr>
        <p:spPr>
          <a:xfrm>
            <a:off x="896753" y="5448773"/>
            <a:ext cx="10845800" cy="296271"/>
          </a:xfrm>
        </p:spPr>
        <p:txBody>
          <a:bodyPr/>
          <a:lstStyle/>
          <a:p>
            <a:pPr algn="l"/>
            <a:r>
              <a:rPr lang="zh-CN" altLang="en-US" dirty="0"/>
              <a:t>指导老师</a:t>
            </a:r>
            <a:r>
              <a:rPr lang="zh-CN" altLang="en-US" sz="100" dirty="0"/>
              <a:t> </a:t>
            </a:r>
            <a:r>
              <a:rPr lang="zh-CN" altLang="en-US" dirty="0"/>
              <a:t>：陈先宏</a:t>
            </a:r>
            <a:endParaRPr lang="en-US" altLang="zh-CN" dirty="0"/>
          </a:p>
        </p:txBody>
      </p:sp>
      <p:sp>
        <p:nvSpPr>
          <p:cNvPr id="7" name="ïşļïďé"/>
          <p:cNvSpPr>
            <a:spLocks noGrp="1"/>
          </p:cNvSpPr>
          <p:nvPr>
            <p:ph type="body" sz="quarter" idx="11"/>
          </p:nvPr>
        </p:nvSpPr>
        <p:spPr>
          <a:xfrm>
            <a:off x="896753" y="5745128"/>
            <a:ext cx="10845800" cy="296271"/>
          </a:xfrm>
        </p:spPr>
        <p:txBody>
          <a:bodyPr/>
          <a:lstStyle/>
          <a:p>
            <a:pPr algn="l"/>
            <a:r>
              <a:rPr lang="zh-CN" altLang="en-US" dirty="0"/>
              <a:t>汇报学生</a:t>
            </a:r>
            <a:r>
              <a:rPr lang="zh-CN" altLang="en-US" sz="100" dirty="0"/>
              <a:t> </a:t>
            </a:r>
            <a:r>
              <a:rPr lang="zh-CN" altLang="en-US" dirty="0"/>
              <a:t>：杨孟衡</a:t>
            </a:r>
            <a:endParaRPr lang="en-US" altLang="en-US" dirty="0"/>
          </a:p>
        </p:txBody>
      </p:sp>
      <p:sp>
        <p:nvSpPr>
          <p:cNvPr id="5" name="ïṧļíḑè"/>
          <p:cNvSpPr>
            <a:spLocks noGrp="1"/>
          </p:cNvSpPr>
          <p:nvPr>
            <p:ph type="subTitle" idx="1"/>
          </p:nvPr>
        </p:nvSpPr>
        <p:spPr>
          <a:xfrm>
            <a:off x="1071789" y="2123961"/>
            <a:ext cx="10845800" cy="558799"/>
          </a:xfrm>
        </p:spPr>
        <p:txBody>
          <a:bodyPr>
            <a:normAutofit/>
          </a:bodyPr>
          <a:lstStyle/>
          <a:p>
            <a:pPr algn="l"/>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求</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实</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求</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a:solidFill>
                  <a:schemeClr val="accent3"/>
                </a:solidFill>
                <a:effectLst/>
                <a:latin typeface="Microsoft YaHei" panose="020B0503020204020204" pitchFamily="34" charset="-122"/>
                <a:ea typeface="Microsoft YaHei" panose="020B0503020204020204" pitchFamily="34" charset="-122"/>
              </a:rPr>
              <a:t>真</a:t>
            </a:r>
            <a:r>
              <a:rPr lang="en-US" altLang="zh-CN" sz="1800" b="0" i="0" kern="2000" spc="2000">
                <a:solidFill>
                  <a:schemeClr val="accent3"/>
                </a:solidFill>
                <a:effectLst/>
                <a:latin typeface="Microsoft YaHei" panose="020B0503020204020204" pitchFamily="34" charset="-122"/>
                <a:ea typeface="Microsoft YaHei" panose="020B0503020204020204" pitchFamily="34" charset="-122"/>
              </a:rPr>
              <a:t> </a:t>
            </a:r>
            <a:r>
              <a:rPr lang="en-US" altLang="zh-CN" sz="100" b="0" i="0" kern="2000" spc="2000">
                <a:solidFill>
                  <a:schemeClr val="accent3"/>
                </a:solidFill>
                <a:effectLst/>
                <a:latin typeface="Microsoft YaHei" panose="020B0503020204020204" pitchFamily="34" charset="-122"/>
                <a:ea typeface="Microsoft YaHei" panose="020B0503020204020204" pitchFamily="34" charset="-122"/>
              </a:rPr>
              <a:t> </a:t>
            </a:r>
            <a:r>
              <a:rPr lang="zh-CN" altLang="en-US" sz="1800" b="0" i="0" kern="2000" spc="2000">
                <a:solidFill>
                  <a:schemeClr val="accent3"/>
                </a:solidFill>
                <a:effectLst/>
                <a:latin typeface="Microsoft YaHei" panose="020B0503020204020204" pitchFamily="34" charset="-122"/>
                <a:ea typeface="Microsoft YaHei" panose="020B0503020204020204" pitchFamily="34" charset="-122"/>
              </a:rPr>
              <a:t>大</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气</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bg1"/>
                </a:solidFill>
                <a:effectLst/>
                <a:latin typeface="Microsoft YaHei" panose="020B0503020204020204" pitchFamily="34" charset="-122"/>
                <a:ea typeface="Microsoft YaHei" panose="020B0503020204020204" pitchFamily="34" charset="-122"/>
              </a:rPr>
              <a:t>大</a:t>
            </a:r>
            <a:r>
              <a:rPr lang="en-US" altLang="zh-CN" sz="1800" b="0" i="0" kern="2000" spc="2000" dirty="0">
                <a:solidFill>
                  <a:schemeClr val="bg1"/>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bg1"/>
                </a:solidFill>
                <a:effectLst/>
                <a:latin typeface="Microsoft YaHei" panose="020B0503020204020204" pitchFamily="34" charset="-122"/>
                <a:ea typeface="Microsoft YaHei" panose="020B0503020204020204" pitchFamily="34" charset="-122"/>
              </a:rPr>
              <a:t>为</a:t>
            </a:r>
            <a:endParaRPr lang="en-US" altLang="zh-CN" sz="1800" kern="2000" spc="2000" dirty="0">
              <a:solidFill>
                <a:schemeClr val="bg1"/>
              </a:solidFill>
            </a:endParaRPr>
          </a:p>
        </p:txBody>
      </p:sp>
      <p:cxnSp>
        <p:nvCxnSpPr>
          <p:cNvPr id="27" name="îṣḷíḍe">
            <a:extLst>
              <a:ext uri="{FF2B5EF4-FFF2-40B4-BE49-F238E27FC236}">
                <a16:creationId xmlns:a16="http://schemas.microsoft.com/office/drawing/2014/main" id="{A50B12E8-4845-4EF0-AA11-DCE225904AEB}"/>
              </a:ext>
            </a:extLst>
          </p:cNvPr>
          <p:cNvCxnSpPr/>
          <p:nvPr/>
        </p:nvCxnSpPr>
        <p:spPr>
          <a:xfrm>
            <a:off x="999217" y="5196114"/>
            <a:ext cx="275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ľíďé"/>
        <p:cNvGrpSpPr/>
        <p:nvPr/>
      </p:nvGrpSpPr>
      <p:grpSpPr>
        <a:xfrm>
          <a:off x="0" y="0"/>
          <a:ext cx="0" cy="0"/>
          <a:chOff x="0" y="0"/>
          <a:chExt cx="0" cy="0"/>
        </a:xfrm>
      </p:grpSpPr>
      <p:sp>
        <p:nvSpPr>
          <p:cNvPr id="2" name="iṥļîḓê">
            <a:extLst>
              <a:ext uri="{FF2B5EF4-FFF2-40B4-BE49-F238E27FC236}">
                <a16:creationId xmlns:a16="http://schemas.microsoft.com/office/drawing/2014/main" id="{4E55FB21-50C4-459E-AF1F-E7A2394B52A7}"/>
              </a:ext>
            </a:extLst>
          </p:cNvPr>
          <p:cNvSpPr>
            <a:spLocks noGrp="1"/>
          </p:cNvSpPr>
          <p:nvPr>
            <p:ph type="title"/>
          </p:nvPr>
        </p:nvSpPr>
        <p:spPr/>
        <p:txBody>
          <a:bodyPr/>
          <a:lstStyle/>
          <a:p>
            <a:r>
              <a:rPr lang="zh-CN" altLang="en-US" dirty="0"/>
              <a:t>模型设计</a:t>
            </a:r>
          </a:p>
        </p:txBody>
      </p:sp>
      <p:sp>
        <p:nvSpPr>
          <p:cNvPr id="4" name="íşḷídè">
            <a:extLst>
              <a:ext uri="{FF2B5EF4-FFF2-40B4-BE49-F238E27FC236}">
                <a16:creationId xmlns:a16="http://schemas.microsoft.com/office/drawing/2014/main" id="{E78B81A2-71BD-4161-B9F8-457628D93A33}"/>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91" name="ïşḻïḓ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0E1160-0231-420F-8B18-D49930088C42}"/>
              </a:ext>
            </a:extLst>
          </p:cNvPr>
          <p:cNvGrpSpPr>
            <a:grpSpLocks noChangeAspect="1"/>
          </p:cNvGrpSpPr>
          <p:nvPr/>
        </p:nvGrpSpPr>
        <p:grpSpPr>
          <a:xfrm>
            <a:off x="5046886" y="1883614"/>
            <a:ext cx="6939945" cy="3501934"/>
            <a:chOff x="934548" y="1887583"/>
            <a:chExt cx="6939945" cy="3501934"/>
          </a:xfrm>
        </p:grpSpPr>
        <p:sp>
          <p:nvSpPr>
            <p:cNvPr id="118" name="îšľîḋe">
              <a:extLst>
                <a:ext uri="{FF2B5EF4-FFF2-40B4-BE49-F238E27FC236}">
                  <a16:creationId xmlns:a16="http://schemas.microsoft.com/office/drawing/2014/main" id="{FCBCE448-A746-45FC-ABE2-27B64D489326}"/>
                </a:ext>
              </a:extLst>
            </p:cNvPr>
            <p:cNvSpPr txBox="1"/>
            <p:nvPr/>
          </p:nvSpPr>
          <p:spPr bwMode="auto">
            <a:xfrm flipH="1">
              <a:off x="934548" y="4399372"/>
              <a:ext cx="3199581"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endParaRPr lang="en-US" altLang="zh-CN" sz="2000" b="1" dirty="0"/>
            </a:p>
          </p:txBody>
        </p:sp>
        <p:sp>
          <p:nvSpPr>
            <p:cNvPr id="102" name="íṣḷîďé">
              <a:extLst>
                <a:ext uri="{FF2B5EF4-FFF2-40B4-BE49-F238E27FC236}">
                  <a16:creationId xmlns:a16="http://schemas.microsoft.com/office/drawing/2014/main" id="{7E8F5992-F867-4D1A-9C52-4CEF1C157BBD}"/>
                </a:ext>
              </a:extLst>
            </p:cNvPr>
            <p:cNvSpPr/>
            <p:nvPr/>
          </p:nvSpPr>
          <p:spPr bwMode="auto">
            <a:xfrm>
              <a:off x="5346018" y="2781195"/>
              <a:ext cx="739925" cy="481141"/>
            </a:xfrm>
            <a:custGeom>
              <a:avLst/>
              <a:gdLst>
                <a:gd name="T0" fmla="*/ 70 w 188"/>
                <a:gd name="T1" fmla="*/ 13 h 124"/>
                <a:gd name="T2" fmla="*/ 63 w 188"/>
                <a:gd name="T3" fmla="*/ 41 h 124"/>
                <a:gd name="T4" fmla="*/ 0 w 188"/>
                <a:gd name="T5" fmla="*/ 108 h 124"/>
                <a:gd name="T6" fmla="*/ 27 w 188"/>
                <a:gd name="T7" fmla="*/ 124 h 124"/>
                <a:gd name="T8" fmla="*/ 188 w 188"/>
                <a:gd name="T9" fmla="*/ 31 h 124"/>
                <a:gd name="T10" fmla="*/ 188 w 188"/>
                <a:gd name="T11" fmla="*/ 0 h 124"/>
                <a:gd name="T12" fmla="*/ 98 w 188"/>
                <a:gd name="T13" fmla="*/ 20 h 124"/>
                <a:gd name="T14" fmla="*/ 70 w 188"/>
                <a:gd name="T15" fmla="*/ 13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4">
                  <a:moveTo>
                    <a:pt x="70" y="13"/>
                  </a:moveTo>
                  <a:cubicBezTo>
                    <a:pt x="63" y="41"/>
                    <a:pt x="63" y="41"/>
                    <a:pt x="63" y="41"/>
                  </a:cubicBezTo>
                  <a:cubicBezTo>
                    <a:pt x="37" y="59"/>
                    <a:pt x="16" y="82"/>
                    <a:pt x="0" y="108"/>
                  </a:cubicBezTo>
                  <a:cubicBezTo>
                    <a:pt x="27" y="124"/>
                    <a:pt x="27" y="124"/>
                    <a:pt x="27" y="124"/>
                  </a:cubicBezTo>
                  <a:cubicBezTo>
                    <a:pt x="60" y="69"/>
                    <a:pt x="120" y="33"/>
                    <a:pt x="188" y="31"/>
                  </a:cubicBezTo>
                  <a:cubicBezTo>
                    <a:pt x="188" y="0"/>
                    <a:pt x="188" y="0"/>
                    <a:pt x="188" y="0"/>
                  </a:cubicBezTo>
                  <a:cubicBezTo>
                    <a:pt x="156" y="1"/>
                    <a:pt x="125" y="8"/>
                    <a:pt x="98" y="20"/>
                  </a:cubicBezTo>
                  <a:lnTo>
                    <a:pt x="70" y="1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3" name="iś1îḋè">
              <a:extLst>
                <a:ext uri="{FF2B5EF4-FFF2-40B4-BE49-F238E27FC236}">
                  <a16:creationId xmlns:a16="http://schemas.microsoft.com/office/drawing/2014/main" id="{6D6E16B5-2EF4-4C6A-89B2-F77F5102956D}"/>
                </a:ext>
              </a:extLst>
            </p:cNvPr>
            <p:cNvSpPr/>
            <p:nvPr/>
          </p:nvSpPr>
          <p:spPr bwMode="auto">
            <a:xfrm>
              <a:off x="6105515" y="2781195"/>
              <a:ext cx="740468" cy="481141"/>
            </a:xfrm>
            <a:custGeom>
              <a:avLst/>
              <a:gdLst>
                <a:gd name="T0" fmla="*/ 161 w 188"/>
                <a:gd name="T1" fmla="*/ 124 h 124"/>
                <a:gd name="T2" fmla="*/ 188 w 188"/>
                <a:gd name="T3" fmla="*/ 108 h 124"/>
                <a:gd name="T4" fmla="*/ 125 w 188"/>
                <a:gd name="T5" fmla="*/ 41 h 124"/>
                <a:gd name="T6" fmla="*/ 118 w 188"/>
                <a:gd name="T7" fmla="*/ 13 h 124"/>
                <a:gd name="T8" fmla="*/ 90 w 188"/>
                <a:gd name="T9" fmla="*/ 20 h 124"/>
                <a:gd name="T10" fmla="*/ 0 w 188"/>
                <a:gd name="T11" fmla="*/ 0 h 124"/>
                <a:gd name="T12" fmla="*/ 0 w 188"/>
                <a:gd name="T13" fmla="*/ 31 h 124"/>
                <a:gd name="T14" fmla="*/ 161 w 188"/>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4">
                  <a:moveTo>
                    <a:pt x="161" y="124"/>
                  </a:moveTo>
                  <a:cubicBezTo>
                    <a:pt x="188" y="108"/>
                    <a:pt x="188" y="108"/>
                    <a:pt x="188" y="108"/>
                  </a:cubicBezTo>
                  <a:cubicBezTo>
                    <a:pt x="172" y="82"/>
                    <a:pt x="150" y="58"/>
                    <a:pt x="125" y="41"/>
                  </a:cubicBezTo>
                  <a:cubicBezTo>
                    <a:pt x="118" y="13"/>
                    <a:pt x="118" y="13"/>
                    <a:pt x="118" y="13"/>
                  </a:cubicBezTo>
                  <a:cubicBezTo>
                    <a:pt x="90" y="20"/>
                    <a:pt x="90" y="20"/>
                    <a:pt x="90" y="20"/>
                  </a:cubicBezTo>
                  <a:cubicBezTo>
                    <a:pt x="63" y="8"/>
                    <a:pt x="32" y="1"/>
                    <a:pt x="0" y="0"/>
                  </a:cubicBezTo>
                  <a:cubicBezTo>
                    <a:pt x="0" y="31"/>
                    <a:pt x="0" y="31"/>
                    <a:pt x="0" y="31"/>
                  </a:cubicBezTo>
                  <a:cubicBezTo>
                    <a:pt x="68" y="32"/>
                    <a:pt x="128" y="69"/>
                    <a:pt x="161" y="12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4" name="ïṩľidê">
              <a:extLst>
                <a:ext uri="{FF2B5EF4-FFF2-40B4-BE49-F238E27FC236}">
                  <a16:creationId xmlns:a16="http://schemas.microsoft.com/office/drawing/2014/main" id="{E8A6DF3F-0992-4154-B407-83A8C140E76A}"/>
                </a:ext>
              </a:extLst>
            </p:cNvPr>
            <p:cNvSpPr/>
            <p:nvPr/>
          </p:nvSpPr>
          <p:spPr bwMode="auto">
            <a:xfrm>
              <a:off x="6747580" y="3219387"/>
              <a:ext cx="295209" cy="842132"/>
            </a:xfrm>
            <a:custGeom>
              <a:avLst/>
              <a:gdLst>
                <a:gd name="T0" fmla="*/ 55 w 75"/>
                <a:gd name="T1" fmla="*/ 128 h 217"/>
                <a:gd name="T2" fmla="*/ 75 w 75"/>
                <a:gd name="T3" fmla="*/ 108 h 217"/>
                <a:gd name="T4" fmla="*/ 55 w 75"/>
                <a:gd name="T5" fmla="*/ 88 h 217"/>
                <a:gd name="T6" fmla="*/ 27 w 75"/>
                <a:gd name="T7" fmla="*/ 0 h 217"/>
                <a:gd name="T8" fmla="*/ 0 w 75"/>
                <a:gd name="T9" fmla="*/ 16 h 217"/>
                <a:gd name="T10" fmla="*/ 24 w 75"/>
                <a:gd name="T11" fmla="*/ 108 h 217"/>
                <a:gd name="T12" fmla="*/ 0 w 75"/>
                <a:gd name="T13" fmla="*/ 201 h 217"/>
                <a:gd name="T14" fmla="*/ 27 w 75"/>
                <a:gd name="T15" fmla="*/ 217 h 217"/>
                <a:gd name="T16" fmla="*/ 55 w 75"/>
                <a:gd name="T17" fmla="*/ 12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17">
                  <a:moveTo>
                    <a:pt x="55" y="128"/>
                  </a:moveTo>
                  <a:cubicBezTo>
                    <a:pt x="75" y="108"/>
                    <a:pt x="75" y="108"/>
                    <a:pt x="75" y="108"/>
                  </a:cubicBezTo>
                  <a:cubicBezTo>
                    <a:pt x="55" y="88"/>
                    <a:pt x="55" y="88"/>
                    <a:pt x="55" y="88"/>
                  </a:cubicBezTo>
                  <a:cubicBezTo>
                    <a:pt x="52" y="56"/>
                    <a:pt x="42" y="27"/>
                    <a:pt x="27" y="0"/>
                  </a:cubicBezTo>
                  <a:cubicBezTo>
                    <a:pt x="0" y="16"/>
                    <a:pt x="0" y="16"/>
                    <a:pt x="0" y="16"/>
                  </a:cubicBezTo>
                  <a:cubicBezTo>
                    <a:pt x="16" y="43"/>
                    <a:pt x="24" y="75"/>
                    <a:pt x="24" y="108"/>
                  </a:cubicBezTo>
                  <a:cubicBezTo>
                    <a:pt x="24" y="142"/>
                    <a:pt x="16" y="174"/>
                    <a:pt x="0" y="201"/>
                  </a:cubicBezTo>
                  <a:cubicBezTo>
                    <a:pt x="27" y="217"/>
                    <a:pt x="27" y="217"/>
                    <a:pt x="27" y="217"/>
                  </a:cubicBezTo>
                  <a:cubicBezTo>
                    <a:pt x="42" y="190"/>
                    <a:pt x="52" y="160"/>
                    <a:pt x="55" y="128"/>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5" name="îŝlîḍê">
              <a:extLst>
                <a:ext uri="{FF2B5EF4-FFF2-40B4-BE49-F238E27FC236}">
                  <a16:creationId xmlns:a16="http://schemas.microsoft.com/office/drawing/2014/main" id="{F7A94F6E-A7A6-4956-955B-FAE7C327AAE8}"/>
                </a:ext>
              </a:extLst>
            </p:cNvPr>
            <p:cNvSpPr/>
            <p:nvPr/>
          </p:nvSpPr>
          <p:spPr bwMode="auto">
            <a:xfrm>
              <a:off x="6105515" y="4018570"/>
              <a:ext cx="740468" cy="477335"/>
            </a:xfrm>
            <a:custGeom>
              <a:avLst/>
              <a:gdLst>
                <a:gd name="T0" fmla="*/ 0 w 188"/>
                <a:gd name="T1" fmla="*/ 123 h 123"/>
                <a:gd name="T2" fmla="*/ 90 w 188"/>
                <a:gd name="T3" fmla="*/ 103 h 123"/>
                <a:gd name="T4" fmla="*/ 118 w 188"/>
                <a:gd name="T5" fmla="*/ 111 h 123"/>
                <a:gd name="T6" fmla="*/ 125 w 188"/>
                <a:gd name="T7" fmla="*/ 83 h 123"/>
                <a:gd name="T8" fmla="*/ 188 w 188"/>
                <a:gd name="T9" fmla="*/ 15 h 123"/>
                <a:gd name="T10" fmla="*/ 161 w 188"/>
                <a:gd name="T11" fmla="*/ 0 h 123"/>
                <a:gd name="T12" fmla="*/ 0 w 188"/>
                <a:gd name="T13" fmla="*/ 92 h 123"/>
                <a:gd name="T14" fmla="*/ 0 w 188"/>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3">
                  <a:moveTo>
                    <a:pt x="0" y="123"/>
                  </a:moveTo>
                  <a:cubicBezTo>
                    <a:pt x="32" y="123"/>
                    <a:pt x="63" y="116"/>
                    <a:pt x="90" y="103"/>
                  </a:cubicBezTo>
                  <a:cubicBezTo>
                    <a:pt x="118" y="111"/>
                    <a:pt x="118" y="111"/>
                    <a:pt x="118" y="111"/>
                  </a:cubicBezTo>
                  <a:cubicBezTo>
                    <a:pt x="125" y="83"/>
                    <a:pt x="125" y="83"/>
                    <a:pt x="125" y="83"/>
                  </a:cubicBezTo>
                  <a:cubicBezTo>
                    <a:pt x="150" y="65"/>
                    <a:pt x="172" y="42"/>
                    <a:pt x="188" y="15"/>
                  </a:cubicBezTo>
                  <a:cubicBezTo>
                    <a:pt x="161" y="0"/>
                    <a:pt x="161" y="0"/>
                    <a:pt x="161" y="0"/>
                  </a:cubicBezTo>
                  <a:cubicBezTo>
                    <a:pt x="128" y="54"/>
                    <a:pt x="68" y="91"/>
                    <a:pt x="0" y="92"/>
                  </a:cubicBezTo>
                  <a:lnTo>
                    <a:pt x="0" y="12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6" name="iSľiďè">
              <a:extLst>
                <a:ext uri="{FF2B5EF4-FFF2-40B4-BE49-F238E27FC236}">
                  <a16:creationId xmlns:a16="http://schemas.microsoft.com/office/drawing/2014/main" id="{E6D46E33-FB72-4436-B942-2A8659F7CB76}"/>
                </a:ext>
              </a:extLst>
            </p:cNvPr>
            <p:cNvSpPr/>
            <p:nvPr/>
          </p:nvSpPr>
          <p:spPr bwMode="auto">
            <a:xfrm>
              <a:off x="5346019" y="4018570"/>
              <a:ext cx="739925" cy="477335"/>
            </a:xfrm>
            <a:custGeom>
              <a:avLst/>
              <a:gdLst>
                <a:gd name="T0" fmla="*/ 27 w 188"/>
                <a:gd name="T1" fmla="*/ 0 h 123"/>
                <a:gd name="T2" fmla="*/ 0 w 188"/>
                <a:gd name="T3" fmla="*/ 15 h 123"/>
                <a:gd name="T4" fmla="*/ 63 w 188"/>
                <a:gd name="T5" fmla="*/ 83 h 123"/>
                <a:gd name="T6" fmla="*/ 70 w 188"/>
                <a:gd name="T7" fmla="*/ 111 h 123"/>
                <a:gd name="T8" fmla="*/ 98 w 188"/>
                <a:gd name="T9" fmla="*/ 103 h 123"/>
                <a:gd name="T10" fmla="*/ 188 w 188"/>
                <a:gd name="T11" fmla="*/ 123 h 123"/>
                <a:gd name="T12" fmla="*/ 188 w 188"/>
                <a:gd name="T13" fmla="*/ 92 h 123"/>
                <a:gd name="T14" fmla="*/ 27 w 188"/>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3">
                  <a:moveTo>
                    <a:pt x="27" y="0"/>
                  </a:moveTo>
                  <a:cubicBezTo>
                    <a:pt x="0" y="15"/>
                    <a:pt x="0" y="15"/>
                    <a:pt x="0" y="15"/>
                  </a:cubicBezTo>
                  <a:cubicBezTo>
                    <a:pt x="16" y="42"/>
                    <a:pt x="37" y="65"/>
                    <a:pt x="63" y="83"/>
                  </a:cubicBezTo>
                  <a:cubicBezTo>
                    <a:pt x="70" y="111"/>
                    <a:pt x="70" y="111"/>
                    <a:pt x="70" y="111"/>
                  </a:cubicBezTo>
                  <a:cubicBezTo>
                    <a:pt x="98" y="103"/>
                    <a:pt x="98" y="103"/>
                    <a:pt x="98" y="103"/>
                  </a:cubicBezTo>
                  <a:cubicBezTo>
                    <a:pt x="125" y="116"/>
                    <a:pt x="156" y="123"/>
                    <a:pt x="188" y="123"/>
                  </a:cubicBezTo>
                  <a:cubicBezTo>
                    <a:pt x="188" y="92"/>
                    <a:pt x="188" y="92"/>
                    <a:pt x="188" y="92"/>
                  </a:cubicBezTo>
                  <a:cubicBezTo>
                    <a:pt x="120" y="91"/>
                    <a:pt x="60" y="54"/>
                    <a:pt x="27"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7" name="íSlîdê">
              <a:extLst>
                <a:ext uri="{FF2B5EF4-FFF2-40B4-BE49-F238E27FC236}">
                  <a16:creationId xmlns:a16="http://schemas.microsoft.com/office/drawing/2014/main" id="{5BA2A33E-CE33-47E1-9DC0-78228782896B}"/>
                </a:ext>
              </a:extLst>
            </p:cNvPr>
            <p:cNvSpPr/>
            <p:nvPr/>
          </p:nvSpPr>
          <p:spPr bwMode="auto">
            <a:xfrm>
              <a:off x="5149212" y="3219387"/>
              <a:ext cx="295209" cy="837783"/>
            </a:xfrm>
            <a:custGeom>
              <a:avLst/>
              <a:gdLst>
                <a:gd name="T0" fmla="*/ 48 w 75"/>
                <a:gd name="T1" fmla="*/ 0 h 216"/>
                <a:gd name="T2" fmla="*/ 20 w 75"/>
                <a:gd name="T3" fmla="*/ 88 h 216"/>
                <a:gd name="T4" fmla="*/ 0 w 75"/>
                <a:gd name="T5" fmla="*/ 108 h 216"/>
                <a:gd name="T6" fmla="*/ 20 w 75"/>
                <a:gd name="T7" fmla="*/ 129 h 216"/>
                <a:gd name="T8" fmla="*/ 48 w 75"/>
                <a:gd name="T9" fmla="*/ 216 h 216"/>
                <a:gd name="T10" fmla="*/ 75 w 75"/>
                <a:gd name="T11" fmla="*/ 201 h 216"/>
                <a:gd name="T12" fmla="*/ 51 w 75"/>
                <a:gd name="T13" fmla="*/ 108 h 216"/>
                <a:gd name="T14" fmla="*/ 75 w 75"/>
                <a:gd name="T15" fmla="*/ 16 h 216"/>
                <a:gd name="T16" fmla="*/ 48 w 75"/>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16">
                  <a:moveTo>
                    <a:pt x="48" y="0"/>
                  </a:moveTo>
                  <a:cubicBezTo>
                    <a:pt x="33" y="27"/>
                    <a:pt x="23" y="56"/>
                    <a:pt x="20" y="88"/>
                  </a:cubicBezTo>
                  <a:cubicBezTo>
                    <a:pt x="0" y="108"/>
                    <a:pt x="0" y="108"/>
                    <a:pt x="0" y="108"/>
                  </a:cubicBezTo>
                  <a:cubicBezTo>
                    <a:pt x="20" y="129"/>
                    <a:pt x="20" y="129"/>
                    <a:pt x="20" y="129"/>
                  </a:cubicBezTo>
                  <a:cubicBezTo>
                    <a:pt x="23" y="160"/>
                    <a:pt x="33" y="190"/>
                    <a:pt x="48" y="216"/>
                  </a:cubicBezTo>
                  <a:cubicBezTo>
                    <a:pt x="75" y="201"/>
                    <a:pt x="75" y="201"/>
                    <a:pt x="75" y="201"/>
                  </a:cubicBezTo>
                  <a:cubicBezTo>
                    <a:pt x="59" y="173"/>
                    <a:pt x="51" y="142"/>
                    <a:pt x="51" y="108"/>
                  </a:cubicBezTo>
                  <a:cubicBezTo>
                    <a:pt x="51" y="75"/>
                    <a:pt x="59" y="43"/>
                    <a:pt x="75" y="16"/>
                  </a:cubicBezTo>
                  <a:lnTo>
                    <a:pt x="4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8" name="îşḻïḍê">
              <a:extLst>
                <a:ext uri="{FF2B5EF4-FFF2-40B4-BE49-F238E27FC236}">
                  <a16:creationId xmlns:a16="http://schemas.microsoft.com/office/drawing/2014/main" id="{F2B35C83-6909-4E0E-AF72-7D75A86C1ACE}"/>
                </a:ext>
              </a:extLst>
            </p:cNvPr>
            <p:cNvSpPr/>
            <p:nvPr/>
          </p:nvSpPr>
          <p:spPr bwMode="auto">
            <a:xfrm>
              <a:off x="5727331" y="3242098"/>
              <a:ext cx="737338" cy="79290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9" name="ïŝ1îḑê">
              <a:extLst>
                <a:ext uri="{FF2B5EF4-FFF2-40B4-BE49-F238E27FC236}">
                  <a16:creationId xmlns:a16="http://schemas.microsoft.com/office/drawing/2014/main" id="{9B7FA4E2-81E4-48A0-9B26-CC2625CCAA89}"/>
                </a:ext>
              </a:extLst>
            </p:cNvPr>
            <p:cNvSpPr/>
            <p:nvPr/>
          </p:nvSpPr>
          <p:spPr bwMode="auto">
            <a:xfrm>
              <a:off x="4317507" y="2775151"/>
              <a:ext cx="704952" cy="1730825"/>
            </a:xfrm>
            <a:custGeom>
              <a:avLst/>
              <a:gdLst>
                <a:gd name="T0" fmla="*/ 129 w 168"/>
                <a:gd name="T1" fmla="*/ 209 h 419"/>
                <a:gd name="T2" fmla="*/ 167 w 168"/>
                <a:gd name="T3" fmla="*/ 65 h 419"/>
                <a:gd name="T4" fmla="*/ 55 w 168"/>
                <a:gd name="T5" fmla="*/ 0 h 419"/>
                <a:gd name="T6" fmla="*/ 0 w 168"/>
                <a:gd name="T7" fmla="*/ 209 h 419"/>
                <a:gd name="T8" fmla="*/ 56 w 168"/>
                <a:gd name="T9" fmla="*/ 419 h 419"/>
                <a:gd name="T10" fmla="*/ 168 w 168"/>
                <a:gd name="T11" fmla="*/ 355 h 419"/>
                <a:gd name="T12" fmla="*/ 129 w 168"/>
                <a:gd name="T13" fmla="*/ 209 h 419"/>
              </a:gdLst>
              <a:ahLst/>
              <a:cxnLst>
                <a:cxn ang="0">
                  <a:pos x="T0" y="T1"/>
                </a:cxn>
                <a:cxn ang="0">
                  <a:pos x="T2" y="T3"/>
                </a:cxn>
                <a:cxn ang="0">
                  <a:pos x="T4" y="T5"/>
                </a:cxn>
                <a:cxn ang="0">
                  <a:pos x="T6" y="T7"/>
                </a:cxn>
                <a:cxn ang="0">
                  <a:pos x="T8" y="T9"/>
                </a:cxn>
                <a:cxn ang="0">
                  <a:pos x="T10" y="T11"/>
                </a:cxn>
                <a:cxn ang="0">
                  <a:pos x="T12" y="T13"/>
                </a:cxn>
              </a:cxnLst>
              <a:rect l="0" t="0" r="r" b="b"/>
              <a:pathLst>
                <a:path w="168" h="419">
                  <a:moveTo>
                    <a:pt x="129" y="209"/>
                  </a:moveTo>
                  <a:cubicBezTo>
                    <a:pt x="129" y="157"/>
                    <a:pt x="143" y="108"/>
                    <a:pt x="167" y="65"/>
                  </a:cubicBezTo>
                  <a:cubicBezTo>
                    <a:pt x="55" y="0"/>
                    <a:pt x="55" y="0"/>
                    <a:pt x="55" y="0"/>
                  </a:cubicBezTo>
                  <a:cubicBezTo>
                    <a:pt x="20" y="62"/>
                    <a:pt x="0" y="133"/>
                    <a:pt x="0" y="209"/>
                  </a:cubicBezTo>
                  <a:cubicBezTo>
                    <a:pt x="0" y="286"/>
                    <a:pt x="21" y="357"/>
                    <a:pt x="56" y="419"/>
                  </a:cubicBezTo>
                  <a:cubicBezTo>
                    <a:pt x="168" y="355"/>
                    <a:pt x="168" y="355"/>
                    <a:pt x="168" y="355"/>
                  </a:cubicBezTo>
                  <a:cubicBezTo>
                    <a:pt x="143" y="312"/>
                    <a:pt x="129" y="262"/>
                    <a:pt x="129" y="20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0" name="ï$lîḓé">
              <a:extLst>
                <a:ext uri="{FF2B5EF4-FFF2-40B4-BE49-F238E27FC236}">
                  <a16:creationId xmlns:a16="http://schemas.microsoft.com/office/drawing/2014/main" id="{B801662F-0666-4DD4-95A7-52DF04A4C420}"/>
                </a:ext>
              </a:extLst>
            </p:cNvPr>
            <p:cNvSpPr/>
            <p:nvPr/>
          </p:nvSpPr>
          <p:spPr bwMode="auto">
            <a:xfrm>
              <a:off x="4565247" y="4262265"/>
              <a:ext cx="1517996" cy="1127252"/>
            </a:xfrm>
            <a:custGeom>
              <a:avLst/>
              <a:gdLst>
                <a:gd name="T0" fmla="*/ 112 w 362"/>
                <a:gd name="T1" fmla="*/ 0 h 273"/>
                <a:gd name="T2" fmla="*/ 0 w 362"/>
                <a:gd name="T3" fmla="*/ 64 h 273"/>
                <a:gd name="T4" fmla="*/ 362 w 362"/>
                <a:gd name="T5" fmla="*/ 273 h 273"/>
                <a:gd name="T6" fmla="*/ 362 w 362"/>
                <a:gd name="T7" fmla="*/ 144 h 273"/>
                <a:gd name="T8" fmla="*/ 112 w 362"/>
                <a:gd name="T9" fmla="*/ 0 h 273"/>
              </a:gdLst>
              <a:ahLst/>
              <a:cxnLst>
                <a:cxn ang="0">
                  <a:pos x="T0" y="T1"/>
                </a:cxn>
                <a:cxn ang="0">
                  <a:pos x="T2" y="T3"/>
                </a:cxn>
                <a:cxn ang="0">
                  <a:pos x="T4" y="T5"/>
                </a:cxn>
                <a:cxn ang="0">
                  <a:pos x="T6" y="T7"/>
                </a:cxn>
                <a:cxn ang="0">
                  <a:pos x="T8" y="T9"/>
                </a:cxn>
              </a:cxnLst>
              <a:rect l="0" t="0" r="r" b="b"/>
              <a:pathLst>
                <a:path w="362" h="273">
                  <a:moveTo>
                    <a:pt x="112" y="0"/>
                  </a:moveTo>
                  <a:cubicBezTo>
                    <a:pt x="0" y="64"/>
                    <a:pt x="0" y="64"/>
                    <a:pt x="0" y="64"/>
                  </a:cubicBezTo>
                  <a:cubicBezTo>
                    <a:pt x="73" y="189"/>
                    <a:pt x="208" y="272"/>
                    <a:pt x="362" y="273"/>
                  </a:cubicBezTo>
                  <a:cubicBezTo>
                    <a:pt x="362" y="144"/>
                    <a:pt x="362" y="144"/>
                    <a:pt x="362" y="144"/>
                  </a:cubicBezTo>
                  <a:cubicBezTo>
                    <a:pt x="256" y="143"/>
                    <a:pt x="163" y="85"/>
                    <a:pt x="1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1" name="ïṣlïḑê">
              <a:extLst>
                <a:ext uri="{FF2B5EF4-FFF2-40B4-BE49-F238E27FC236}">
                  <a16:creationId xmlns:a16="http://schemas.microsoft.com/office/drawing/2014/main" id="{C8284443-5288-409C-A89A-F2E7570431A2}"/>
                </a:ext>
              </a:extLst>
            </p:cNvPr>
            <p:cNvSpPr/>
            <p:nvPr/>
          </p:nvSpPr>
          <p:spPr bwMode="auto">
            <a:xfrm>
              <a:off x="6108756" y="4262265"/>
              <a:ext cx="1522696" cy="1127252"/>
            </a:xfrm>
            <a:custGeom>
              <a:avLst/>
              <a:gdLst>
                <a:gd name="T0" fmla="*/ 0 w 363"/>
                <a:gd name="T1" fmla="*/ 144 h 273"/>
                <a:gd name="T2" fmla="*/ 0 w 363"/>
                <a:gd name="T3" fmla="*/ 273 h 273"/>
                <a:gd name="T4" fmla="*/ 363 w 363"/>
                <a:gd name="T5" fmla="*/ 64 h 273"/>
                <a:gd name="T6" fmla="*/ 251 w 363"/>
                <a:gd name="T7" fmla="*/ 0 h 273"/>
                <a:gd name="T8" fmla="*/ 0 w 363"/>
                <a:gd name="T9" fmla="*/ 144 h 273"/>
              </a:gdLst>
              <a:ahLst/>
              <a:cxnLst>
                <a:cxn ang="0">
                  <a:pos x="T0" y="T1"/>
                </a:cxn>
                <a:cxn ang="0">
                  <a:pos x="T2" y="T3"/>
                </a:cxn>
                <a:cxn ang="0">
                  <a:pos x="T4" y="T5"/>
                </a:cxn>
                <a:cxn ang="0">
                  <a:pos x="T6" y="T7"/>
                </a:cxn>
                <a:cxn ang="0">
                  <a:pos x="T8" y="T9"/>
                </a:cxn>
              </a:cxnLst>
              <a:rect l="0" t="0" r="r" b="b"/>
              <a:pathLst>
                <a:path w="363" h="273">
                  <a:moveTo>
                    <a:pt x="0" y="144"/>
                  </a:moveTo>
                  <a:cubicBezTo>
                    <a:pt x="0" y="273"/>
                    <a:pt x="0" y="273"/>
                    <a:pt x="0" y="273"/>
                  </a:cubicBezTo>
                  <a:cubicBezTo>
                    <a:pt x="155" y="272"/>
                    <a:pt x="289" y="189"/>
                    <a:pt x="363" y="64"/>
                  </a:cubicBezTo>
                  <a:cubicBezTo>
                    <a:pt x="251" y="0"/>
                    <a:pt x="251" y="0"/>
                    <a:pt x="251" y="0"/>
                  </a:cubicBezTo>
                  <a:cubicBezTo>
                    <a:pt x="200" y="86"/>
                    <a:pt x="107" y="143"/>
                    <a:pt x="0"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2" name="iSlîḍè">
              <a:extLst>
                <a:ext uri="{FF2B5EF4-FFF2-40B4-BE49-F238E27FC236}">
                  <a16:creationId xmlns:a16="http://schemas.microsoft.com/office/drawing/2014/main" id="{4C55F210-54D4-4167-89E7-29D99189BA19}"/>
                </a:ext>
              </a:extLst>
            </p:cNvPr>
            <p:cNvSpPr/>
            <p:nvPr/>
          </p:nvSpPr>
          <p:spPr bwMode="auto">
            <a:xfrm>
              <a:off x="7174240" y="2775151"/>
              <a:ext cx="700253" cy="1734854"/>
            </a:xfrm>
            <a:custGeom>
              <a:avLst/>
              <a:gdLst>
                <a:gd name="T0" fmla="*/ 112 w 167"/>
                <a:gd name="T1" fmla="*/ 0 h 420"/>
                <a:gd name="T2" fmla="*/ 0 w 167"/>
                <a:gd name="T3" fmla="*/ 65 h 420"/>
                <a:gd name="T4" fmla="*/ 38 w 167"/>
                <a:gd name="T5" fmla="*/ 209 h 420"/>
                <a:gd name="T6" fmla="*/ 0 w 167"/>
                <a:gd name="T7" fmla="*/ 355 h 420"/>
                <a:gd name="T8" fmla="*/ 112 w 167"/>
                <a:gd name="T9" fmla="*/ 420 h 420"/>
                <a:gd name="T10" fmla="*/ 167 w 167"/>
                <a:gd name="T11" fmla="*/ 209 h 420"/>
                <a:gd name="T12" fmla="*/ 112 w 167"/>
                <a:gd name="T13" fmla="*/ 0 h 420"/>
              </a:gdLst>
              <a:ahLst/>
              <a:cxnLst>
                <a:cxn ang="0">
                  <a:pos x="T0" y="T1"/>
                </a:cxn>
                <a:cxn ang="0">
                  <a:pos x="T2" y="T3"/>
                </a:cxn>
                <a:cxn ang="0">
                  <a:pos x="T4" y="T5"/>
                </a:cxn>
                <a:cxn ang="0">
                  <a:pos x="T6" y="T7"/>
                </a:cxn>
                <a:cxn ang="0">
                  <a:pos x="T8" y="T9"/>
                </a:cxn>
                <a:cxn ang="0">
                  <a:pos x="T10" y="T11"/>
                </a:cxn>
                <a:cxn ang="0">
                  <a:pos x="T12" y="T13"/>
                </a:cxn>
              </a:cxnLst>
              <a:rect l="0" t="0" r="r" b="b"/>
              <a:pathLst>
                <a:path w="167" h="420">
                  <a:moveTo>
                    <a:pt x="112" y="0"/>
                  </a:moveTo>
                  <a:cubicBezTo>
                    <a:pt x="0" y="65"/>
                    <a:pt x="0" y="65"/>
                    <a:pt x="0" y="65"/>
                  </a:cubicBezTo>
                  <a:cubicBezTo>
                    <a:pt x="25" y="107"/>
                    <a:pt x="38" y="157"/>
                    <a:pt x="38" y="209"/>
                  </a:cubicBezTo>
                  <a:cubicBezTo>
                    <a:pt x="38" y="262"/>
                    <a:pt x="24" y="312"/>
                    <a:pt x="0" y="355"/>
                  </a:cubicBezTo>
                  <a:cubicBezTo>
                    <a:pt x="112" y="420"/>
                    <a:pt x="112" y="420"/>
                    <a:pt x="112" y="420"/>
                  </a:cubicBezTo>
                  <a:cubicBezTo>
                    <a:pt x="147" y="358"/>
                    <a:pt x="167" y="286"/>
                    <a:pt x="167" y="209"/>
                  </a:cubicBezTo>
                  <a:cubicBezTo>
                    <a:pt x="167" y="133"/>
                    <a:pt x="147" y="62"/>
                    <a:pt x="1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nvGrpSpPr>
            <p:cNvPr id="113" name="iṡľîḍe">
              <a:extLst>
                <a:ext uri="{FF2B5EF4-FFF2-40B4-BE49-F238E27FC236}">
                  <a16:creationId xmlns:a16="http://schemas.microsoft.com/office/drawing/2014/main" id="{86D0015F-28E3-4AA0-AB24-F129A9B619B0}"/>
                </a:ext>
              </a:extLst>
            </p:cNvPr>
            <p:cNvGrpSpPr/>
            <p:nvPr/>
          </p:nvGrpSpPr>
          <p:grpSpPr>
            <a:xfrm>
              <a:off x="4561219" y="1887583"/>
              <a:ext cx="1522025" cy="1135309"/>
              <a:chOff x="4476299" y="1790701"/>
              <a:chExt cx="1606239" cy="1198126"/>
            </a:xfrm>
          </p:grpSpPr>
          <p:sp>
            <p:nvSpPr>
              <p:cNvPr id="115" name="ïṧlíḓé">
                <a:extLst>
                  <a:ext uri="{FF2B5EF4-FFF2-40B4-BE49-F238E27FC236}">
                    <a16:creationId xmlns:a16="http://schemas.microsoft.com/office/drawing/2014/main" id="{F2C08145-0172-4858-9ECB-58D9CBDF32BA}"/>
                  </a:ext>
                </a:extLst>
              </p:cNvPr>
              <p:cNvSpPr/>
              <p:nvPr/>
            </p:nvSpPr>
            <p:spPr bwMode="auto">
              <a:xfrm>
                <a:off x="4476299" y="1790701"/>
                <a:ext cx="1606239" cy="1198126"/>
              </a:xfrm>
              <a:custGeom>
                <a:avLst/>
                <a:gdLst>
                  <a:gd name="T0" fmla="*/ 363 w 363"/>
                  <a:gd name="T1" fmla="*/ 129 h 275"/>
                  <a:gd name="T2" fmla="*/ 363 w 363"/>
                  <a:gd name="T3" fmla="*/ 0 h 275"/>
                  <a:gd name="T4" fmla="*/ 0 w 363"/>
                  <a:gd name="T5" fmla="*/ 211 h 275"/>
                  <a:gd name="T6" fmla="*/ 112 w 363"/>
                  <a:gd name="T7" fmla="*/ 275 h 275"/>
                  <a:gd name="T8" fmla="*/ 363 w 363"/>
                  <a:gd name="T9" fmla="*/ 129 h 275"/>
                </a:gdLst>
                <a:ahLst/>
                <a:cxnLst>
                  <a:cxn ang="0">
                    <a:pos x="T0" y="T1"/>
                  </a:cxn>
                  <a:cxn ang="0">
                    <a:pos x="T2" y="T3"/>
                  </a:cxn>
                  <a:cxn ang="0">
                    <a:pos x="T4" y="T5"/>
                  </a:cxn>
                  <a:cxn ang="0">
                    <a:pos x="T6" y="T7"/>
                  </a:cxn>
                  <a:cxn ang="0">
                    <a:pos x="T8" y="T9"/>
                  </a:cxn>
                </a:cxnLst>
                <a:rect l="0" t="0" r="r" b="b"/>
                <a:pathLst>
                  <a:path w="363" h="275">
                    <a:moveTo>
                      <a:pt x="363" y="129"/>
                    </a:moveTo>
                    <a:cubicBezTo>
                      <a:pt x="363" y="0"/>
                      <a:pt x="363" y="0"/>
                      <a:pt x="363" y="0"/>
                    </a:cubicBezTo>
                    <a:cubicBezTo>
                      <a:pt x="208" y="1"/>
                      <a:pt x="73" y="86"/>
                      <a:pt x="0" y="211"/>
                    </a:cubicBezTo>
                    <a:cubicBezTo>
                      <a:pt x="112" y="275"/>
                      <a:pt x="112" y="275"/>
                      <a:pt x="112" y="275"/>
                    </a:cubicBezTo>
                    <a:cubicBezTo>
                      <a:pt x="163" y="189"/>
                      <a:pt x="256" y="130"/>
                      <a:pt x="363" y="129"/>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6" name="ïṩļîdê">
                <a:extLst>
                  <a:ext uri="{FF2B5EF4-FFF2-40B4-BE49-F238E27FC236}">
                    <a16:creationId xmlns:a16="http://schemas.microsoft.com/office/drawing/2014/main" id="{1C8604E5-5ACB-452F-8676-51ECDD159F41}"/>
                  </a:ext>
                </a:extLst>
              </p:cNvPr>
              <p:cNvSpPr/>
              <p:nvPr/>
            </p:nvSpPr>
            <p:spPr>
              <a:xfrm>
                <a:off x="4957018" y="2235261"/>
                <a:ext cx="325192" cy="258949"/>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19050">
                <a:noFill/>
                <a:prstDash val="sys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800" b="1" dirty="0">
                  <a:solidFill>
                    <a:schemeClr val="lt1"/>
                  </a:solidFill>
                </a:endParaRPr>
              </a:p>
            </p:txBody>
          </p:sp>
        </p:grpSp>
        <p:sp>
          <p:nvSpPr>
            <p:cNvPr id="114" name="iṣlîḑè">
              <a:extLst>
                <a:ext uri="{FF2B5EF4-FFF2-40B4-BE49-F238E27FC236}">
                  <a16:creationId xmlns:a16="http://schemas.microsoft.com/office/drawing/2014/main" id="{379FA595-36A6-4D7F-BFEF-853663DD37B0}"/>
                </a:ext>
              </a:extLst>
            </p:cNvPr>
            <p:cNvSpPr/>
            <p:nvPr/>
          </p:nvSpPr>
          <p:spPr bwMode="auto">
            <a:xfrm>
              <a:off x="6108756" y="1887583"/>
              <a:ext cx="1522696" cy="1135309"/>
            </a:xfrm>
            <a:custGeom>
              <a:avLst/>
              <a:gdLst>
                <a:gd name="T0" fmla="*/ 252 w 363"/>
                <a:gd name="T1" fmla="*/ 275 h 275"/>
                <a:gd name="T2" fmla="*/ 363 w 363"/>
                <a:gd name="T3" fmla="*/ 210 h 275"/>
                <a:gd name="T4" fmla="*/ 0 w 363"/>
                <a:gd name="T5" fmla="*/ 0 h 275"/>
                <a:gd name="T6" fmla="*/ 0 w 363"/>
                <a:gd name="T7" fmla="*/ 129 h 275"/>
                <a:gd name="T8" fmla="*/ 252 w 363"/>
                <a:gd name="T9" fmla="*/ 275 h 275"/>
              </a:gdLst>
              <a:ahLst/>
              <a:cxnLst>
                <a:cxn ang="0">
                  <a:pos x="T0" y="T1"/>
                </a:cxn>
                <a:cxn ang="0">
                  <a:pos x="T2" y="T3"/>
                </a:cxn>
                <a:cxn ang="0">
                  <a:pos x="T4" y="T5"/>
                </a:cxn>
                <a:cxn ang="0">
                  <a:pos x="T6" y="T7"/>
                </a:cxn>
                <a:cxn ang="0">
                  <a:pos x="T8" y="T9"/>
                </a:cxn>
              </a:cxnLst>
              <a:rect l="0" t="0" r="r" b="b"/>
              <a:pathLst>
                <a:path w="363" h="275">
                  <a:moveTo>
                    <a:pt x="252" y="275"/>
                  </a:moveTo>
                  <a:cubicBezTo>
                    <a:pt x="363" y="210"/>
                    <a:pt x="363" y="210"/>
                    <a:pt x="363" y="210"/>
                  </a:cubicBezTo>
                  <a:cubicBezTo>
                    <a:pt x="290" y="85"/>
                    <a:pt x="155" y="1"/>
                    <a:pt x="0" y="0"/>
                  </a:cubicBezTo>
                  <a:cubicBezTo>
                    <a:pt x="0" y="129"/>
                    <a:pt x="0" y="129"/>
                    <a:pt x="0" y="129"/>
                  </a:cubicBezTo>
                  <a:cubicBezTo>
                    <a:pt x="107" y="130"/>
                    <a:pt x="201" y="189"/>
                    <a:pt x="252" y="27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pic>
        <p:nvPicPr>
          <p:cNvPr id="5" name="图片 4">
            <a:extLst>
              <a:ext uri="{FF2B5EF4-FFF2-40B4-BE49-F238E27FC236}">
                <a16:creationId xmlns:a16="http://schemas.microsoft.com/office/drawing/2014/main" id="{0F921C23-4BC3-2D53-1D61-3737F6B83E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426" y="1369482"/>
            <a:ext cx="3761105" cy="4701540"/>
          </a:xfrm>
          <a:prstGeom prst="rect">
            <a:avLst/>
          </a:prstGeom>
        </p:spPr>
      </p:pic>
      <p:cxnSp>
        <p:nvCxnSpPr>
          <p:cNvPr id="6" name="íś1îdê">
            <a:extLst>
              <a:ext uri="{FF2B5EF4-FFF2-40B4-BE49-F238E27FC236}">
                <a16:creationId xmlns:a16="http://schemas.microsoft.com/office/drawing/2014/main" id="{3E6485FE-2462-7CD9-C2A8-0949CEF0CFFD}"/>
              </a:ext>
            </a:extLst>
          </p:cNvPr>
          <p:cNvCxnSpPr/>
          <p:nvPr/>
        </p:nvCxnSpPr>
        <p:spPr>
          <a:xfrm>
            <a:off x="4947029" y="2127030"/>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iṡlîḓe">
            <a:extLst>
              <a:ext uri="{FF2B5EF4-FFF2-40B4-BE49-F238E27FC236}">
                <a16:creationId xmlns:a16="http://schemas.microsoft.com/office/drawing/2014/main" id="{FD235999-FB31-3ED2-646F-9B9D2D4F593E}"/>
              </a:ext>
            </a:extLst>
          </p:cNvPr>
          <p:cNvSpPr/>
          <p:nvPr/>
        </p:nvSpPr>
        <p:spPr bwMode="auto">
          <a:xfrm>
            <a:off x="4842525" y="2185848"/>
            <a:ext cx="3545024" cy="294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304800"/>
            <a:r>
              <a:rPr lang="zh-CN" altLang="zh-CN" sz="1200" dirty="0">
                <a:effectLst/>
                <a:latin typeface="宋体" panose="02010600030101010101" pitchFamily="2" charset="-122"/>
                <a:ea typeface="宋体" panose="02010600030101010101" pitchFamily="2" charset="-122"/>
                <a:cs typeface="宋体" panose="02010600030101010101" pitchFamily="2" charset="-122"/>
              </a:rPr>
              <a:t>信息来源于两种不同的源头：</a:t>
            </a:r>
          </a:p>
          <a:p>
            <a:pPr indent="304800"/>
            <a:r>
              <a:rPr lang="en-US" altLang="zh-CN" sz="1200" dirty="0">
                <a:effectLst/>
                <a:latin typeface="宋体" panose="02010600030101010101" pitchFamily="2" charset="-122"/>
                <a:ea typeface="宋体" panose="02010600030101010101" pitchFamily="2" charset="-122"/>
                <a:cs typeface="宋体" panose="02010600030101010101" pitchFamily="2" charset="-122"/>
              </a:rPr>
              <a:t>1.</a:t>
            </a:r>
            <a:r>
              <a:rPr lang="zh-CN" altLang="zh-CN" sz="1200" dirty="0">
                <a:effectLst/>
                <a:latin typeface="宋体" panose="02010600030101010101" pitchFamily="2" charset="-122"/>
                <a:ea typeface="宋体" panose="02010600030101010101" pitchFamily="2" charset="-122"/>
                <a:cs typeface="宋体" panose="02010600030101010101" pitchFamily="2" charset="-122"/>
              </a:rPr>
              <a:t>真实来源，如批准用户、国家组织和政府控制的媒体渠道</a:t>
            </a:r>
          </a:p>
          <a:p>
            <a:r>
              <a:rPr lang="en-US" altLang="zh-CN" sz="1200" dirty="0">
                <a:effectLst/>
                <a:latin typeface="宋体" panose="02010600030101010101" pitchFamily="2" charset="-122"/>
                <a:cs typeface="宋体" panose="02010600030101010101" pitchFamily="2" charset="-122"/>
              </a:rPr>
              <a:t>2.</a:t>
            </a:r>
            <a:r>
              <a:rPr lang="zh-CN" altLang="zh-CN" sz="1200" dirty="0">
                <a:effectLst/>
                <a:ea typeface="宋体" panose="02010600030101010101" pitchFamily="2" charset="-122"/>
                <a:cs typeface="宋体" panose="02010600030101010101" pitchFamily="2" charset="-122"/>
              </a:rPr>
              <a:t>非真实来源，如数百万社交媒体用户和私营信息广播集团</a:t>
            </a:r>
            <a:endParaRPr lang="en-US" altLang="zh-CN" sz="1200" dirty="0">
              <a:effectLst/>
              <a:ea typeface="宋体" panose="02010600030101010101" pitchFamily="2" charset="-122"/>
              <a:cs typeface="宋体" panose="02010600030101010101" pitchFamily="2" charset="-122"/>
            </a:endParaRPr>
          </a:p>
          <a:p>
            <a:pPr indent="304800"/>
            <a:r>
              <a:rPr lang="zh-CN" altLang="zh-CN" sz="1200" dirty="0">
                <a:effectLst/>
                <a:latin typeface="宋体" panose="02010600030101010101" pitchFamily="2" charset="-122"/>
                <a:ea typeface="宋体" panose="02010600030101010101" pitchFamily="2" charset="-122"/>
                <a:cs typeface="宋体" panose="02010600030101010101" pitchFamily="2" charset="-122"/>
              </a:rPr>
              <a:t>需要保证来源于非真实来源的信息源的服从于</a:t>
            </a:r>
            <a:r>
              <a:rPr lang="en-US" altLang="zh-CN" sz="1200" dirty="0">
                <a:effectLst/>
                <a:latin typeface="宋体" panose="02010600030101010101" pitchFamily="2" charset="-122"/>
                <a:ea typeface="宋体" panose="02010600030101010101" pitchFamily="2" charset="-122"/>
                <a:cs typeface="宋体" panose="02010600030101010101" pitchFamily="2" charset="-122"/>
              </a:rPr>
              <a:t>AI</a:t>
            </a:r>
            <a:r>
              <a:rPr lang="zh-CN" altLang="zh-CN" sz="1200" dirty="0">
                <a:effectLst/>
                <a:latin typeface="宋体" panose="02010600030101010101" pitchFamily="2" charset="-122"/>
                <a:ea typeface="宋体" panose="02010600030101010101" pitchFamily="2" charset="-122"/>
                <a:cs typeface="宋体" panose="02010600030101010101" pitchFamily="2" charset="-122"/>
              </a:rPr>
              <a:t>框架。</a:t>
            </a:r>
          </a:p>
          <a:p>
            <a:r>
              <a:rPr lang="zh-CN" altLang="zh-CN" sz="1200" dirty="0">
                <a:effectLst/>
                <a:ea typeface="宋体" panose="02010600030101010101" pitchFamily="2" charset="-122"/>
                <a:cs typeface="宋体" panose="02010600030101010101" pitchFamily="2" charset="-122"/>
              </a:rPr>
              <a:t>经过</a:t>
            </a:r>
            <a:r>
              <a:rPr lang="en-US" altLang="zh-CN" sz="1200" dirty="0">
                <a:effectLst/>
                <a:ea typeface="宋体" panose="02010600030101010101" pitchFamily="2" charset="-122"/>
                <a:cs typeface="宋体" panose="02010600030101010101" pitchFamily="2" charset="-122"/>
              </a:rPr>
              <a:t>AI</a:t>
            </a:r>
            <a:r>
              <a:rPr lang="zh-CN" altLang="zh-CN" sz="1200" dirty="0">
                <a:effectLst/>
                <a:ea typeface="宋体" panose="02010600030101010101" pitchFamily="2" charset="-122"/>
                <a:cs typeface="宋体" panose="02010600030101010101" pitchFamily="2" charset="-122"/>
              </a:rPr>
              <a:t>框架过滤和检查后，信息要么被批准要么被抛弃。模型中提出的人工智能框架可以解决虚假信息传播、反国家用户、稳定威胁、信息过滤等问题。该模型封装了每个信息上下文，即来源验证，内容和文本分析，图像和语音分类以及知识构建，所有这些都由人工智能机制提供支持。此外，它还可以帮助定位信息来源。在不真实的源可以执行某种操作之前，应该始终对它们进行检查。</a:t>
            </a:r>
            <a:endParaRPr lang="en-US" altLang="zh-CN" sz="1200" dirty="0"/>
          </a:p>
        </p:txBody>
      </p:sp>
    </p:spTree>
    <p:custDataLst>
      <p:tags r:id="rId2"/>
    </p:custDataLst>
    <p:extLst>
      <p:ext uri="{BB962C8B-B14F-4D97-AF65-F5344CB8AC3E}">
        <p14:creationId xmlns:p14="http://schemas.microsoft.com/office/powerpoint/2010/main" val="621836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553613" y="2369748"/>
            <a:ext cx="5419185" cy="895350"/>
          </a:xfrm>
        </p:spPr>
        <p:txBody>
          <a:bodyPr>
            <a:normAutofit/>
          </a:bodyPr>
          <a:lstStyle/>
          <a:p>
            <a:r>
              <a:rPr lang="zh-CN" altLang="en-US" sz="3400" dirty="0"/>
              <a:t>应用实例</a:t>
            </a:r>
          </a:p>
        </p:txBody>
      </p:sp>
      <p:sp>
        <p:nvSpPr>
          <p:cNvPr id="6" name="íŝļîḑê"/>
          <p:cNvSpPr>
            <a:spLocks noGrp="1"/>
          </p:cNvSpPr>
          <p:nvPr>
            <p:ph type="body" idx="1"/>
          </p:nvPr>
        </p:nvSpPr>
        <p:spPr>
          <a:xfrm>
            <a:off x="5553612" y="3265098"/>
            <a:ext cx="5419185" cy="1233750"/>
          </a:xfrm>
        </p:spPr>
        <p:txBody>
          <a:bodyPr>
            <a:noAutofit/>
          </a:bodyPr>
          <a:lstStyle/>
          <a:p>
            <a:pPr lvl="0"/>
            <a:r>
              <a:rPr lang="zh-CN" altLang="en-US" sz="2400" dirty="0"/>
              <a:t>基于人工智能的聊天生成预训练变压器在网络安全中的作用</a:t>
            </a:r>
          </a:p>
        </p:txBody>
      </p:sp>
      <p:sp>
        <p:nvSpPr>
          <p:cNvPr id="9" name="íṧľíḑê">
            <a:extLst>
              <a:ext uri="{FF2B5EF4-FFF2-40B4-BE49-F238E27FC236}">
                <a16:creationId xmlns:a16="http://schemas.microsoft.com/office/drawing/2014/main" id="{04F69230-F3A6-4586-9371-A858F4763E9F}"/>
              </a:ext>
            </a:extLst>
          </p:cNvPr>
          <p:cNvSpPr txBox="1"/>
          <p:nvPr/>
        </p:nvSpPr>
        <p:spPr>
          <a:xfrm>
            <a:off x="4347258"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4</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23126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a:extLst>
              <a:ext uri="{FF2B5EF4-FFF2-40B4-BE49-F238E27FC236}">
                <a16:creationId xmlns:a16="http://schemas.microsoft.com/office/drawing/2014/main" id="{9B0164AF-4246-4CD6-8CA3-F03179278D03}"/>
              </a:ext>
            </a:extLst>
          </p:cNvPr>
          <p:cNvSpPr>
            <a:spLocks noGrp="1"/>
          </p:cNvSpPr>
          <p:nvPr>
            <p:ph type="title"/>
          </p:nvPr>
        </p:nvSpPr>
        <p:spPr/>
        <p:txBody>
          <a:bodyPr/>
          <a:lstStyle/>
          <a:p>
            <a:pPr lvl="0"/>
            <a:r>
              <a:rPr lang="zh-CN" altLang="en-US" sz="2800" dirty="0"/>
              <a:t>基于人工智能的聊天生成预训练变压器的作用</a:t>
            </a:r>
          </a:p>
        </p:txBody>
      </p:sp>
      <p:sp>
        <p:nvSpPr>
          <p:cNvPr id="4" name="iŝḷïďé">
            <a:extLst>
              <a:ext uri="{FF2B5EF4-FFF2-40B4-BE49-F238E27FC236}">
                <a16:creationId xmlns:a16="http://schemas.microsoft.com/office/drawing/2014/main" id="{7376D6FB-C707-4161-B4F8-DB384698F1BB}"/>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293" name="iṣḷíďê">
            <a:extLst>
              <a:ext uri="{FF2B5EF4-FFF2-40B4-BE49-F238E27FC236}">
                <a16:creationId xmlns:a16="http://schemas.microsoft.com/office/drawing/2014/main" id="{7A582995-5926-4864-B758-673A8022CF6D}"/>
              </a:ext>
            </a:extLst>
          </p:cNvPr>
          <p:cNvSpPr/>
          <p:nvPr/>
        </p:nvSpPr>
        <p:spPr bwMode="auto">
          <a:xfrm flipH="1">
            <a:off x="3166128" y="3110103"/>
            <a:ext cx="587825" cy="656885"/>
          </a:xfrm>
          <a:custGeom>
            <a:avLst/>
            <a:gdLst>
              <a:gd name="T0" fmla="*/ 137 w 351"/>
              <a:gd name="T1" fmla="*/ 81 h 402"/>
              <a:gd name="T2" fmla="*/ 58 w 351"/>
              <a:gd name="T3" fmla="*/ 0 h 402"/>
              <a:gd name="T4" fmla="*/ 0 w 351"/>
              <a:gd name="T5" fmla="*/ 97 h 402"/>
              <a:gd name="T6" fmla="*/ 43 w 351"/>
              <a:gd name="T7" fmla="*/ 92 h 402"/>
              <a:gd name="T8" fmla="*/ 45 w 351"/>
              <a:gd name="T9" fmla="*/ 109 h 402"/>
              <a:gd name="T10" fmla="*/ 281 w 351"/>
              <a:gd name="T11" fmla="*/ 385 h 402"/>
              <a:gd name="T12" fmla="*/ 351 w 351"/>
              <a:gd name="T13" fmla="*/ 402 h 402"/>
              <a:gd name="T14" fmla="*/ 304 w 351"/>
              <a:gd name="T15" fmla="*/ 388 h 402"/>
              <a:gd name="T16" fmla="*/ 86 w 351"/>
              <a:gd name="T17" fmla="*/ 103 h 402"/>
              <a:gd name="T18" fmla="*/ 86 w 351"/>
              <a:gd name="T19" fmla="*/ 87 h 402"/>
              <a:gd name="T20" fmla="*/ 137 w 351"/>
              <a:gd name="T21" fmla="*/ 8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402">
                <a:moveTo>
                  <a:pt x="137" y="81"/>
                </a:moveTo>
                <a:cubicBezTo>
                  <a:pt x="58" y="0"/>
                  <a:pt x="58" y="0"/>
                  <a:pt x="58" y="0"/>
                </a:cubicBezTo>
                <a:cubicBezTo>
                  <a:pt x="0" y="97"/>
                  <a:pt x="0" y="97"/>
                  <a:pt x="0" y="97"/>
                </a:cubicBezTo>
                <a:cubicBezTo>
                  <a:pt x="43" y="92"/>
                  <a:pt x="43" y="92"/>
                  <a:pt x="43" y="92"/>
                </a:cubicBezTo>
                <a:cubicBezTo>
                  <a:pt x="45" y="109"/>
                  <a:pt x="45" y="109"/>
                  <a:pt x="45" y="109"/>
                </a:cubicBezTo>
                <a:cubicBezTo>
                  <a:pt x="64" y="242"/>
                  <a:pt x="157" y="341"/>
                  <a:pt x="281" y="385"/>
                </a:cubicBezTo>
                <a:cubicBezTo>
                  <a:pt x="304" y="392"/>
                  <a:pt x="327" y="399"/>
                  <a:pt x="351" y="402"/>
                </a:cubicBezTo>
                <a:cubicBezTo>
                  <a:pt x="335" y="398"/>
                  <a:pt x="320" y="394"/>
                  <a:pt x="304" y="388"/>
                </a:cubicBezTo>
                <a:cubicBezTo>
                  <a:pt x="181" y="341"/>
                  <a:pt x="91" y="239"/>
                  <a:pt x="86" y="103"/>
                </a:cubicBezTo>
                <a:cubicBezTo>
                  <a:pt x="86" y="87"/>
                  <a:pt x="86" y="87"/>
                  <a:pt x="86" y="87"/>
                </a:cubicBezTo>
                <a:lnTo>
                  <a:pt x="137" y="81"/>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5" name="iṣļíḑé">
            <a:extLst>
              <a:ext uri="{FF2B5EF4-FFF2-40B4-BE49-F238E27FC236}">
                <a16:creationId xmlns:a16="http://schemas.microsoft.com/office/drawing/2014/main" id="{6A1E0B16-2C76-4221-9CE4-50F78E3C78DF}"/>
              </a:ext>
            </a:extLst>
          </p:cNvPr>
          <p:cNvSpPr/>
          <p:nvPr/>
        </p:nvSpPr>
        <p:spPr bwMode="auto">
          <a:xfrm flipH="1">
            <a:off x="3039198" y="3238028"/>
            <a:ext cx="1136116" cy="737092"/>
          </a:xfrm>
          <a:custGeom>
            <a:avLst/>
            <a:gdLst>
              <a:gd name="T0" fmla="*/ 679 w 679"/>
              <a:gd name="T1" fmla="*/ 412 h 451"/>
              <a:gd name="T2" fmla="*/ 376 w 679"/>
              <a:gd name="T3" fmla="*/ 397 h 451"/>
              <a:gd name="T4" fmla="*/ 107 w 679"/>
              <a:gd name="T5" fmla="*/ 102 h 451"/>
              <a:gd name="T6" fmla="*/ 102 w 679"/>
              <a:gd name="T7" fmla="*/ 87 h 451"/>
              <a:gd name="T8" fmla="*/ 151 w 679"/>
              <a:gd name="T9" fmla="*/ 66 h 451"/>
              <a:gd name="T10" fmla="*/ 32 w 679"/>
              <a:gd name="T11" fmla="*/ 0 h 451"/>
              <a:gd name="T12" fmla="*/ 0 w 679"/>
              <a:gd name="T13" fmla="*/ 132 h 451"/>
              <a:gd name="T14" fmla="*/ 50 w 679"/>
              <a:gd name="T15" fmla="*/ 110 h 451"/>
              <a:gd name="T16" fmla="*/ 57 w 679"/>
              <a:gd name="T17" fmla="*/ 125 h 451"/>
              <a:gd name="T18" fmla="*/ 244 w 679"/>
              <a:gd name="T19" fmla="*/ 355 h 451"/>
              <a:gd name="T20" fmla="*/ 464 w 679"/>
              <a:gd name="T21" fmla="*/ 443 h 451"/>
              <a:gd name="T22" fmla="*/ 671 w 679"/>
              <a:gd name="T23" fmla="*/ 416 h 451"/>
              <a:gd name="T24" fmla="*/ 679 w 679"/>
              <a:gd name="T25" fmla="*/ 41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9" h="451">
                <a:moveTo>
                  <a:pt x="679" y="412"/>
                </a:moveTo>
                <a:cubicBezTo>
                  <a:pt x="581" y="446"/>
                  <a:pt x="471" y="437"/>
                  <a:pt x="376" y="397"/>
                </a:cubicBezTo>
                <a:cubicBezTo>
                  <a:pt x="246" y="343"/>
                  <a:pt x="151" y="236"/>
                  <a:pt x="107" y="102"/>
                </a:cubicBezTo>
                <a:cubicBezTo>
                  <a:pt x="102" y="87"/>
                  <a:pt x="102" y="87"/>
                  <a:pt x="102" y="87"/>
                </a:cubicBezTo>
                <a:cubicBezTo>
                  <a:pt x="151" y="66"/>
                  <a:pt x="151" y="66"/>
                  <a:pt x="151" y="66"/>
                </a:cubicBezTo>
                <a:cubicBezTo>
                  <a:pt x="32" y="0"/>
                  <a:pt x="32" y="0"/>
                  <a:pt x="32" y="0"/>
                </a:cubicBezTo>
                <a:cubicBezTo>
                  <a:pt x="0" y="132"/>
                  <a:pt x="0" y="132"/>
                  <a:pt x="0" y="132"/>
                </a:cubicBezTo>
                <a:cubicBezTo>
                  <a:pt x="50" y="110"/>
                  <a:pt x="50" y="110"/>
                  <a:pt x="50" y="110"/>
                </a:cubicBezTo>
                <a:cubicBezTo>
                  <a:pt x="57" y="125"/>
                  <a:pt x="57" y="125"/>
                  <a:pt x="57" y="125"/>
                </a:cubicBezTo>
                <a:cubicBezTo>
                  <a:pt x="102" y="215"/>
                  <a:pt x="163" y="296"/>
                  <a:pt x="244" y="355"/>
                </a:cubicBezTo>
                <a:cubicBezTo>
                  <a:pt x="309" y="402"/>
                  <a:pt x="384" y="434"/>
                  <a:pt x="464" y="443"/>
                </a:cubicBezTo>
                <a:cubicBezTo>
                  <a:pt x="534" y="451"/>
                  <a:pt x="606" y="443"/>
                  <a:pt x="671" y="416"/>
                </a:cubicBezTo>
                <a:cubicBezTo>
                  <a:pt x="673" y="414"/>
                  <a:pt x="676" y="413"/>
                  <a:pt x="679" y="412"/>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ïṣ1îḍé">
            <a:extLst>
              <a:ext uri="{FF2B5EF4-FFF2-40B4-BE49-F238E27FC236}">
                <a16:creationId xmlns:a16="http://schemas.microsoft.com/office/drawing/2014/main" id="{30A3F4FC-067D-413C-A189-CB1461121B3B}"/>
              </a:ext>
            </a:extLst>
          </p:cNvPr>
          <p:cNvSpPr/>
          <p:nvPr/>
        </p:nvSpPr>
        <p:spPr bwMode="auto">
          <a:xfrm flipH="1">
            <a:off x="2952846" y="3552764"/>
            <a:ext cx="2627006" cy="766535"/>
          </a:xfrm>
          <a:custGeom>
            <a:avLst/>
            <a:gdLst>
              <a:gd name="T0" fmla="*/ 227 w 1569"/>
              <a:gd name="T1" fmla="*/ 0 h 469"/>
              <a:gd name="T2" fmla="*/ 0 w 1569"/>
              <a:gd name="T3" fmla="*/ 13 h 469"/>
              <a:gd name="T4" fmla="*/ 71 w 1569"/>
              <a:gd name="T5" fmla="*/ 229 h 469"/>
              <a:gd name="T6" fmla="*/ 114 w 1569"/>
              <a:gd name="T7" fmla="*/ 165 h 469"/>
              <a:gd name="T8" fmla="*/ 128 w 1569"/>
              <a:gd name="T9" fmla="*/ 173 h 469"/>
              <a:gd name="T10" fmla="*/ 669 w 1569"/>
              <a:gd name="T11" fmla="*/ 403 h 469"/>
              <a:gd name="T12" fmla="*/ 1096 w 1569"/>
              <a:gd name="T13" fmla="*/ 465 h 469"/>
              <a:gd name="T14" fmla="*/ 1569 w 1569"/>
              <a:gd name="T15" fmla="*/ 266 h 469"/>
              <a:gd name="T16" fmla="*/ 1425 w 1569"/>
              <a:gd name="T17" fmla="*/ 363 h 469"/>
              <a:gd name="T18" fmla="*/ 1096 w 1569"/>
              <a:gd name="T19" fmla="*/ 432 h 469"/>
              <a:gd name="T20" fmla="*/ 193 w 1569"/>
              <a:gd name="T21" fmla="*/ 80 h 469"/>
              <a:gd name="T22" fmla="*/ 179 w 1569"/>
              <a:gd name="T23" fmla="*/ 70 h 469"/>
              <a:gd name="T24" fmla="*/ 227 w 1569"/>
              <a:gd name="T25"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9" h="469">
                <a:moveTo>
                  <a:pt x="227" y="0"/>
                </a:moveTo>
                <a:cubicBezTo>
                  <a:pt x="0" y="13"/>
                  <a:pt x="0" y="13"/>
                  <a:pt x="0" y="13"/>
                </a:cubicBezTo>
                <a:cubicBezTo>
                  <a:pt x="71" y="229"/>
                  <a:pt x="71" y="229"/>
                  <a:pt x="71" y="229"/>
                </a:cubicBezTo>
                <a:cubicBezTo>
                  <a:pt x="114" y="165"/>
                  <a:pt x="114" y="165"/>
                  <a:pt x="114" y="165"/>
                </a:cubicBezTo>
                <a:cubicBezTo>
                  <a:pt x="128" y="173"/>
                  <a:pt x="128" y="173"/>
                  <a:pt x="128" y="173"/>
                </a:cubicBezTo>
                <a:cubicBezTo>
                  <a:pt x="299" y="266"/>
                  <a:pt x="481" y="349"/>
                  <a:pt x="669" y="403"/>
                </a:cubicBezTo>
                <a:cubicBezTo>
                  <a:pt x="806" y="443"/>
                  <a:pt x="953" y="469"/>
                  <a:pt x="1096" y="465"/>
                </a:cubicBezTo>
                <a:cubicBezTo>
                  <a:pt x="1276" y="459"/>
                  <a:pt x="1452" y="403"/>
                  <a:pt x="1569" y="266"/>
                </a:cubicBezTo>
                <a:cubicBezTo>
                  <a:pt x="1526" y="306"/>
                  <a:pt x="1478" y="338"/>
                  <a:pt x="1425" y="363"/>
                </a:cubicBezTo>
                <a:cubicBezTo>
                  <a:pt x="1323" y="413"/>
                  <a:pt x="1209" y="433"/>
                  <a:pt x="1096" y="432"/>
                </a:cubicBezTo>
                <a:cubicBezTo>
                  <a:pt x="774" y="429"/>
                  <a:pt x="449" y="263"/>
                  <a:pt x="193" y="80"/>
                </a:cubicBezTo>
                <a:cubicBezTo>
                  <a:pt x="179" y="70"/>
                  <a:pt x="179" y="70"/>
                  <a:pt x="179" y="70"/>
                </a:cubicBezTo>
                <a:lnTo>
                  <a:pt x="227" y="0"/>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9" name="ïṥļïḑe">
            <a:extLst>
              <a:ext uri="{FF2B5EF4-FFF2-40B4-BE49-F238E27FC236}">
                <a16:creationId xmlns:a16="http://schemas.microsoft.com/office/drawing/2014/main" id="{5C0C9634-F545-4CD6-9D5B-844AD09B049D}"/>
              </a:ext>
            </a:extLst>
          </p:cNvPr>
          <p:cNvSpPr/>
          <p:nvPr/>
        </p:nvSpPr>
        <p:spPr bwMode="auto">
          <a:xfrm flipH="1">
            <a:off x="2894584" y="4048220"/>
            <a:ext cx="2838207" cy="633533"/>
          </a:xfrm>
          <a:custGeom>
            <a:avLst/>
            <a:gdLst>
              <a:gd name="T0" fmla="*/ 243 w 1695"/>
              <a:gd name="T1" fmla="*/ 3 h 388"/>
              <a:gd name="T2" fmla="*/ 0 w 1695"/>
              <a:gd name="T3" fmla="*/ 59 h 388"/>
              <a:gd name="T4" fmla="*/ 117 w 1695"/>
              <a:gd name="T5" fmla="*/ 279 h 388"/>
              <a:gd name="T6" fmla="*/ 157 w 1695"/>
              <a:gd name="T7" fmla="*/ 191 h 388"/>
              <a:gd name="T8" fmla="*/ 173 w 1695"/>
              <a:gd name="T9" fmla="*/ 199 h 388"/>
              <a:gd name="T10" fmla="*/ 573 w 1695"/>
              <a:gd name="T11" fmla="*/ 342 h 388"/>
              <a:gd name="T12" fmla="*/ 957 w 1695"/>
              <a:gd name="T13" fmla="*/ 385 h 388"/>
              <a:gd name="T14" fmla="*/ 1567 w 1695"/>
              <a:gd name="T15" fmla="*/ 167 h 388"/>
              <a:gd name="T16" fmla="*/ 1695 w 1695"/>
              <a:gd name="T17" fmla="*/ 0 h 388"/>
              <a:gd name="T18" fmla="*/ 1390 w 1695"/>
              <a:gd name="T19" fmla="*/ 254 h 388"/>
              <a:gd name="T20" fmla="*/ 1176 w 1695"/>
              <a:gd name="T21" fmla="*/ 311 h 388"/>
              <a:gd name="T22" fmla="*/ 912 w 1695"/>
              <a:gd name="T23" fmla="*/ 311 h 388"/>
              <a:gd name="T24" fmla="*/ 595 w 1695"/>
              <a:gd name="T25" fmla="*/ 243 h 388"/>
              <a:gd name="T26" fmla="*/ 220 w 1695"/>
              <a:gd name="T27" fmla="*/ 94 h 388"/>
              <a:gd name="T28" fmla="*/ 205 w 1695"/>
              <a:gd name="T29" fmla="*/ 87 h 388"/>
              <a:gd name="T30" fmla="*/ 243 w 1695"/>
              <a:gd name="T31" fmla="*/ 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5" h="388">
                <a:moveTo>
                  <a:pt x="243" y="3"/>
                </a:moveTo>
                <a:cubicBezTo>
                  <a:pt x="0" y="59"/>
                  <a:pt x="0" y="59"/>
                  <a:pt x="0" y="59"/>
                </a:cubicBezTo>
                <a:cubicBezTo>
                  <a:pt x="117" y="279"/>
                  <a:pt x="117" y="279"/>
                  <a:pt x="117" y="279"/>
                </a:cubicBezTo>
                <a:cubicBezTo>
                  <a:pt x="157" y="191"/>
                  <a:pt x="157" y="191"/>
                  <a:pt x="157" y="191"/>
                </a:cubicBezTo>
                <a:cubicBezTo>
                  <a:pt x="173" y="199"/>
                  <a:pt x="173" y="199"/>
                  <a:pt x="173" y="199"/>
                </a:cubicBezTo>
                <a:cubicBezTo>
                  <a:pt x="301" y="261"/>
                  <a:pt x="435" y="310"/>
                  <a:pt x="573" y="342"/>
                </a:cubicBezTo>
                <a:cubicBezTo>
                  <a:pt x="698" y="372"/>
                  <a:pt x="828" y="388"/>
                  <a:pt x="957" y="385"/>
                </a:cubicBezTo>
                <a:cubicBezTo>
                  <a:pt x="1177" y="381"/>
                  <a:pt x="1404" y="321"/>
                  <a:pt x="1567" y="167"/>
                </a:cubicBezTo>
                <a:cubicBezTo>
                  <a:pt x="1620" y="117"/>
                  <a:pt x="1662" y="61"/>
                  <a:pt x="1695" y="0"/>
                </a:cubicBezTo>
                <a:cubicBezTo>
                  <a:pt x="1621" y="110"/>
                  <a:pt x="1519" y="199"/>
                  <a:pt x="1390" y="254"/>
                </a:cubicBezTo>
                <a:cubicBezTo>
                  <a:pt x="1322" y="283"/>
                  <a:pt x="1250" y="302"/>
                  <a:pt x="1176" y="311"/>
                </a:cubicBezTo>
                <a:cubicBezTo>
                  <a:pt x="1089" y="322"/>
                  <a:pt x="1000" y="321"/>
                  <a:pt x="912" y="311"/>
                </a:cubicBezTo>
                <a:cubicBezTo>
                  <a:pt x="805" y="299"/>
                  <a:pt x="698" y="274"/>
                  <a:pt x="595" y="243"/>
                </a:cubicBezTo>
                <a:cubicBezTo>
                  <a:pt x="467" y="203"/>
                  <a:pt x="342" y="152"/>
                  <a:pt x="220" y="94"/>
                </a:cubicBezTo>
                <a:cubicBezTo>
                  <a:pt x="205" y="87"/>
                  <a:pt x="205" y="87"/>
                  <a:pt x="205" y="87"/>
                </a:cubicBezTo>
                <a:lnTo>
                  <a:pt x="243" y="3"/>
                </a:ln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5" name="ïSḻíḋê">
            <a:extLst>
              <a:ext uri="{FF2B5EF4-FFF2-40B4-BE49-F238E27FC236}">
                <a16:creationId xmlns:a16="http://schemas.microsoft.com/office/drawing/2014/main" id="{6F287A3A-44FD-4049-855D-957234BB72DE}"/>
              </a:ext>
            </a:extLst>
          </p:cNvPr>
          <p:cNvGrpSpPr/>
          <p:nvPr/>
        </p:nvGrpSpPr>
        <p:grpSpPr>
          <a:xfrm>
            <a:off x="1676277" y="1760798"/>
            <a:ext cx="3469729" cy="1805165"/>
            <a:chOff x="1676277" y="1760798"/>
            <a:chExt cx="3469729" cy="1805165"/>
          </a:xfrm>
          <a:solidFill>
            <a:schemeClr val="bg2"/>
          </a:solidFill>
        </p:grpSpPr>
        <p:sp>
          <p:nvSpPr>
            <p:cNvPr id="272" name="is1ídé">
              <a:extLst>
                <a:ext uri="{FF2B5EF4-FFF2-40B4-BE49-F238E27FC236}">
                  <a16:creationId xmlns:a16="http://schemas.microsoft.com/office/drawing/2014/main" id="{D3EF7A45-BBA9-4D18-ADFF-913B61454C76}"/>
                </a:ext>
              </a:extLst>
            </p:cNvPr>
            <p:cNvSpPr/>
            <p:nvPr/>
          </p:nvSpPr>
          <p:spPr bwMode="auto">
            <a:xfrm flipH="1">
              <a:off x="3548995" y="2246101"/>
              <a:ext cx="296513" cy="405096"/>
            </a:xfrm>
            <a:custGeom>
              <a:avLst/>
              <a:gdLst>
                <a:gd name="T0" fmla="*/ 134 w 177"/>
                <a:gd name="T1" fmla="*/ 28 h 248"/>
                <a:gd name="T2" fmla="*/ 134 w 177"/>
                <a:gd name="T3" fmla="*/ 45 h 248"/>
                <a:gd name="T4" fmla="*/ 145 w 177"/>
                <a:gd name="T5" fmla="*/ 78 h 248"/>
                <a:gd name="T6" fmla="*/ 146 w 177"/>
                <a:gd name="T7" fmla="*/ 95 h 248"/>
                <a:gd name="T8" fmla="*/ 134 w 177"/>
                <a:gd name="T9" fmla="*/ 130 h 248"/>
                <a:gd name="T10" fmla="*/ 134 w 177"/>
                <a:gd name="T11" fmla="*/ 147 h 248"/>
                <a:gd name="T12" fmla="*/ 155 w 177"/>
                <a:gd name="T13" fmla="*/ 179 h 248"/>
                <a:gd name="T14" fmla="*/ 157 w 177"/>
                <a:gd name="T15" fmla="*/ 196 h 248"/>
                <a:gd name="T16" fmla="*/ 134 w 177"/>
                <a:gd name="T17" fmla="*/ 237 h 248"/>
                <a:gd name="T18" fmla="*/ 154 w 177"/>
                <a:gd name="T19" fmla="*/ 0 h 248"/>
                <a:gd name="T20" fmla="*/ 105 w 177"/>
                <a:gd name="T21" fmla="*/ 31 h 248"/>
                <a:gd name="T22" fmla="*/ 105 w 177"/>
                <a:gd name="T23" fmla="*/ 240 h 248"/>
                <a:gd name="T24" fmla="*/ 105 w 177"/>
                <a:gd name="T25" fmla="*/ 218 h 248"/>
                <a:gd name="T26" fmla="*/ 134 w 177"/>
                <a:gd name="T27" fmla="*/ 62 h 248"/>
                <a:gd name="T28" fmla="*/ 134 w 177"/>
                <a:gd name="T29" fmla="*/ 45 h 248"/>
                <a:gd name="T30" fmla="*/ 105 w 177"/>
                <a:gd name="T31" fmla="*/ 99 h 248"/>
                <a:gd name="T32" fmla="*/ 134 w 177"/>
                <a:gd name="T33" fmla="*/ 79 h 248"/>
                <a:gd name="T34" fmla="*/ 105 w 177"/>
                <a:gd name="T35" fmla="*/ 133 h 248"/>
                <a:gd name="T36" fmla="*/ 134 w 177"/>
                <a:gd name="T37" fmla="*/ 147 h 248"/>
                <a:gd name="T38" fmla="*/ 116 w 177"/>
                <a:gd name="T39" fmla="*/ 183 h 248"/>
                <a:gd name="T40" fmla="*/ 105 w 177"/>
                <a:gd name="T41" fmla="*/ 201 h 248"/>
                <a:gd name="T42" fmla="*/ 106 w 177"/>
                <a:gd name="T43" fmla="*/ 167 h 248"/>
                <a:gd name="T44" fmla="*/ 134 w 177"/>
                <a:gd name="T45" fmla="*/ 147 h 248"/>
                <a:gd name="T46" fmla="*/ 38 w 177"/>
                <a:gd name="T47" fmla="*/ 37 h 248"/>
                <a:gd name="T48" fmla="*/ 38 w 177"/>
                <a:gd name="T49" fmla="*/ 54 h 248"/>
                <a:gd name="T50" fmla="*/ 97 w 177"/>
                <a:gd name="T51" fmla="*/ 82 h 248"/>
                <a:gd name="T52" fmla="*/ 105 w 177"/>
                <a:gd name="T53" fmla="*/ 99 h 248"/>
                <a:gd name="T54" fmla="*/ 105 w 177"/>
                <a:gd name="T55" fmla="*/ 65 h 248"/>
                <a:gd name="T56" fmla="*/ 68 w 177"/>
                <a:gd name="T57" fmla="*/ 35 h 248"/>
                <a:gd name="T58" fmla="*/ 38 w 177"/>
                <a:gd name="T59" fmla="*/ 247 h 248"/>
                <a:gd name="T60" fmla="*/ 38 w 177"/>
                <a:gd name="T61" fmla="*/ 225 h 248"/>
                <a:gd name="T62" fmla="*/ 105 w 177"/>
                <a:gd name="T63" fmla="*/ 116 h 248"/>
                <a:gd name="T64" fmla="*/ 69 w 177"/>
                <a:gd name="T65" fmla="*/ 153 h 248"/>
                <a:gd name="T66" fmla="*/ 38 w 177"/>
                <a:gd name="T67" fmla="*/ 174 h 248"/>
                <a:gd name="T68" fmla="*/ 56 w 177"/>
                <a:gd name="T69" fmla="*/ 138 h 248"/>
                <a:gd name="T70" fmla="*/ 105 w 177"/>
                <a:gd name="T71" fmla="*/ 116 h 248"/>
                <a:gd name="T72" fmla="*/ 38 w 177"/>
                <a:gd name="T73" fmla="*/ 208 h 248"/>
                <a:gd name="T74" fmla="*/ 38 w 177"/>
                <a:gd name="T75" fmla="*/ 11 h 248"/>
                <a:gd name="T76" fmla="*/ 24 w 177"/>
                <a:gd name="T77" fmla="*/ 248 h 248"/>
                <a:gd name="T78" fmla="*/ 37 w 177"/>
                <a:gd name="T79" fmla="*/ 208 h 248"/>
                <a:gd name="T80" fmla="*/ 35 w 177"/>
                <a:gd name="T81" fmla="*/ 191 h 248"/>
                <a:gd name="T82" fmla="*/ 38 w 177"/>
                <a:gd name="T83" fmla="*/ 156 h 248"/>
                <a:gd name="T84" fmla="*/ 38 w 177"/>
                <a:gd name="T85" fmla="*/ 140 h 248"/>
                <a:gd name="T86" fmla="*/ 27 w 177"/>
                <a:gd name="T87" fmla="*/ 107 h 248"/>
                <a:gd name="T88" fmla="*/ 25 w 177"/>
                <a:gd name="T89" fmla="*/ 90 h 248"/>
                <a:gd name="T90" fmla="*/ 38 w 177"/>
                <a:gd name="T91" fmla="*/ 54 h 248"/>
                <a:gd name="T92" fmla="*/ 38 w 177"/>
                <a:gd name="T93" fmla="*/ 3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248">
                  <a:moveTo>
                    <a:pt x="154" y="0"/>
                  </a:moveTo>
                  <a:cubicBezTo>
                    <a:pt x="134" y="2"/>
                    <a:pt x="134" y="2"/>
                    <a:pt x="134" y="2"/>
                  </a:cubicBezTo>
                  <a:cubicBezTo>
                    <a:pt x="134" y="28"/>
                    <a:pt x="134" y="28"/>
                    <a:pt x="134" y="28"/>
                  </a:cubicBezTo>
                  <a:cubicBezTo>
                    <a:pt x="140" y="27"/>
                    <a:pt x="140" y="27"/>
                    <a:pt x="140" y="27"/>
                  </a:cubicBezTo>
                  <a:cubicBezTo>
                    <a:pt x="140" y="33"/>
                    <a:pt x="141" y="38"/>
                    <a:pt x="141" y="44"/>
                  </a:cubicBezTo>
                  <a:cubicBezTo>
                    <a:pt x="134" y="45"/>
                    <a:pt x="134" y="45"/>
                    <a:pt x="134" y="45"/>
                  </a:cubicBezTo>
                  <a:cubicBezTo>
                    <a:pt x="134" y="62"/>
                    <a:pt x="134" y="62"/>
                    <a:pt x="134" y="62"/>
                  </a:cubicBezTo>
                  <a:cubicBezTo>
                    <a:pt x="143" y="61"/>
                    <a:pt x="143" y="61"/>
                    <a:pt x="143" y="61"/>
                  </a:cubicBezTo>
                  <a:cubicBezTo>
                    <a:pt x="144" y="67"/>
                    <a:pt x="144" y="72"/>
                    <a:pt x="145" y="78"/>
                  </a:cubicBezTo>
                  <a:cubicBezTo>
                    <a:pt x="134" y="79"/>
                    <a:pt x="134" y="79"/>
                    <a:pt x="134" y="79"/>
                  </a:cubicBezTo>
                  <a:cubicBezTo>
                    <a:pt x="134" y="96"/>
                    <a:pt x="134" y="96"/>
                    <a:pt x="134" y="96"/>
                  </a:cubicBezTo>
                  <a:cubicBezTo>
                    <a:pt x="146" y="95"/>
                    <a:pt x="146" y="95"/>
                    <a:pt x="146" y="95"/>
                  </a:cubicBezTo>
                  <a:cubicBezTo>
                    <a:pt x="147" y="100"/>
                    <a:pt x="147" y="106"/>
                    <a:pt x="148" y="111"/>
                  </a:cubicBezTo>
                  <a:cubicBezTo>
                    <a:pt x="134" y="113"/>
                    <a:pt x="134" y="113"/>
                    <a:pt x="134" y="113"/>
                  </a:cubicBezTo>
                  <a:cubicBezTo>
                    <a:pt x="134" y="130"/>
                    <a:pt x="134" y="130"/>
                    <a:pt x="134" y="130"/>
                  </a:cubicBezTo>
                  <a:cubicBezTo>
                    <a:pt x="150" y="128"/>
                    <a:pt x="150" y="128"/>
                    <a:pt x="150" y="128"/>
                  </a:cubicBezTo>
                  <a:cubicBezTo>
                    <a:pt x="150" y="134"/>
                    <a:pt x="151" y="139"/>
                    <a:pt x="151" y="145"/>
                  </a:cubicBezTo>
                  <a:cubicBezTo>
                    <a:pt x="134" y="147"/>
                    <a:pt x="134" y="147"/>
                    <a:pt x="134" y="147"/>
                  </a:cubicBezTo>
                  <a:cubicBezTo>
                    <a:pt x="134" y="164"/>
                    <a:pt x="134" y="164"/>
                    <a:pt x="134" y="164"/>
                  </a:cubicBezTo>
                  <a:cubicBezTo>
                    <a:pt x="153" y="162"/>
                    <a:pt x="153" y="162"/>
                    <a:pt x="153" y="162"/>
                  </a:cubicBezTo>
                  <a:cubicBezTo>
                    <a:pt x="154" y="168"/>
                    <a:pt x="154" y="173"/>
                    <a:pt x="155" y="179"/>
                  </a:cubicBezTo>
                  <a:cubicBezTo>
                    <a:pt x="134" y="181"/>
                    <a:pt x="134" y="181"/>
                    <a:pt x="134" y="181"/>
                  </a:cubicBezTo>
                  <a:cubicBezTo>
                    <a:pt x="134" y="198"/>
                    <a:pt x="134" y="198"/>
                    <a:pt x="134" y="198"/>
                  </a:cubicBezTo>
                  <a:cubicBezTo>
                    <a:pt x="157" y="196"/>
                    <a:pt x="157" y="196"/>
                    <a:pt x="157" y="196"/>
                  </a:cubicBezTo>
                  <a:cubicBezTo>
                    <a:pt x="157" y="201"/>
                    <a:pt x="158" y="207"/>
                    <a:pt x="158" y="212"/>
                  </a:cubicBezTo>
                  <a:cubicBezTo>
                    <a:pt x="134" y="215"/>
                    <a:pt x="134" y="215"/>
                    <a:pt x="134" y="215"/>
                  </a:cubicBezTo>
                  <a:cubicBezTo>
                    <a:pt x="134" y="237"/>
                    <a:pt x="134" y="237"/>
                    <a:pt x="134" y="237"/>
                  </a:cubicBezTo>
                  <a:cubicBezTo>
                    <a:pt x="177" y="233"/>
                    <a:pt x="177" y="233"/>
                    <a:pt x="177" y="233"/>
                  </a:cubicBezTo>
                  <a:cubicBezTo>
                    <a:pt x="173" y="194"/>
                    <a:pt x="169" y="155"/>
                    <a:pt x="165" y="116"/>
                  </a:cubicBezTo>
                  <a:cubicBezTo>
                    <a:pt x="162" y="77"/>
                    <a:pt x="158" y="39"/>
                    <a:pt x="154" y="0"/>
                  </a:cubicBezTo>
                  <a:close/>
                  <a:moveTo>
                    <a:pt x="134" y="2"/>
                  </a:moveTo>
                  <a:cubicBezTo>
                    <a:pt x="105" y="5"/>
                    <a:pt x="105" y="5"/>
                    <a:pt x="105" y="5"/>
                  </a:cubicBezTo>
                  <a:cubicBezTo>
                    <a:pt x="105" y="31"/>
                    <a:pt x="105" y="31"/>
                    <a:pt x="105" y="31"/>
                  </a:cubicBezTo>
                  <a:cubicBezTo>
                    <a:pt x="134" y="28"/>
                    <a:pt x="134" y="28"/>
                    <a:pt x="134" y="28"/>
                  </a:cubicBezTo>
                  <a:cubicBezTo>
                    <a:pt x="134" y="2"/>
                    <a:pt x="134" y="2"/>
                    <a:pt x="134" y="2"/>
                  </a:cubicBezTo>
                  <a:close/>
                  <a:moveTo>
                    <a:pt x="105" y="240"/>
                  </a:moveTo>
                  <a:cubicBezTo>
                    <a:pt x="134" y="237"/>
                    <a:pt x="134" y="237"/>
                    <a:pt x="134" y="237"/>
                  </a:cubicBezTo>
                  <a:cubicBezTo>
                    <a:pt x="134" y="215"/>
                    <a:pt x="134" y="215"/>
                    <a:pt x="134" y="215"/>
                  </a:cubicBezTo>
                  <a:cubicBezTo>
                    <a:pt x="105" y="218"/>
                    <a:pt x="105" y="218"/>
                    <a:pt x="105" y="218"/>
                  </a:cubicBezTo>
                  <a:cubicBezTo>
                    <a:pt x="105" y="240"/>
                    <a:pt x="105" y="240"/>
                    <a:pt x="105" y="240"/>
                  </a:cubicBezTo>
                  <a:close/>
                  <a:moveTo>
                    <a:pt x="134" y="45"/>
                  </a:moveTo>
                  <a:cubicBezTo>
                    <a:pt x="134" y="62"/>
                    <a:pt x="134" y="62"/>
                    <a:pt x="134" y="62"/>
                  </a:cubicBezTo>
                  <a:cubicBezTo>
                    <a:pt x="105" y="65"/>
                    <a:pt x="105" y="65"/>
                    <a:pt x="105" y="65"/>
                  </a:cubicBezTo>
                  <a:cubicBezTo>
                    <a:pt x="105" y="48"/>
                    <a:pt x="105" y="48"/>
                    <a:pt x="105" y="48"/>
                  </a:cubicBezTo>
                  <a:cubicBezTo>
                    <a:pt x="134" y="45"/>
                    <a:pt x="134" y="45"/>
                    <a:pt x="134" y="45"/>
                  </a:cubicBezTo>
                  <a:close/>
                  <a:moveTo>
                    <a:pt x="134" y="79"/>
                  </a:moveTo>
                  <a:cubicBezTo>
                    <a:pt x="134" y="96"/>
                    <a:pt x="134" y="96"/>
                    <a:pt x="134" y="96"/>
                  </a:cubicBezTo>
                  <a:cubicBezTo>
                    <a:pt x="105" y="99"/>
                    <a:pt x="105" y="99"/>
                    <a:pt x="105" y="99"/>
                  </a:cubicBezTo>
                  <a:cubicBezTo>
                    <a:pt x="105" y="73"/>
                    <a:pt x="105" y="73"/>
                    <a:pt x="105" y="73"/>
                  </a:cubicBezTo>
                  <a:cubicBezTo>
                    <a:pt x="105" y="82"/>
                    <a:pt x="105" y="82"/>
                    <a:pt x="105" y="82"/>
                  </a:cubicBezTo>
                  <a:cubicBezTo>
                    <a:pt x="134" y="79"/>
                    <a:pt x="134" y="79"/>
                    <a:pt x="134" y="79"/>
                  </a:cubicBezTo>
                  <a:close/>
                  <a:moveTo>
                    <a:pt x="134" y="113"/>
                  </a:moveTo>
                  <a:cubicBezTo>
                    <a:pt x="134" y="130"/>
                    <a:pt x="134" y="130"/>
                    <a:pt x="134" y="130"/>
                  </a:cubicBezTo>
                  <a:cubicBezTo>
                    <a:pt x="105" y="133"/>
                    <a:pt x="105" y="133"/>
                    <a:pt x="105" y="133"/>
                  </a:cubicBezTo>
                  <a:cubicBezTo>
                    <a:pt x="105" y="116"/>
                    <a:pt x="105" y="116"/>
                    <a:pt x="105" y="116"/>
                  </a:cubicBezTo>
                  <a:cubicBezTo>
                    <a:pt x="134" y="113"/>
                    <a:pt x="134" y="113"/>
                    <a:pt x="134" y="113"/>
                  </a:cubicBezTo>
                  <a:close/>
                  <a:moveTo>
                    <a:pt x="134" y="147"/>
                  </a:moveTo>
                  <a:cubicBezTo>
                    <a:pt x="134" y="164"/>
                    <a:pt x="134" y="164"/>
                    <a:pt x="134" y="164"/>
                  </a:cubicBezTo>
                  <a:cubicBezTo>
                    <a:pt x="114" y="166"/>
                    <a:pt x="114" y="166"/>
                    <a:pt x="114" y="166"/>
                  </a:cubicBezTo>
                  <a:cubicBezTo>
                    <a:pt x="115" y="172"/>
                    <a:pt x="115" y="177"/>
                    <a:pt x="116" y="183"/>
                  </a:cubicBezTo>
                  <a:cubicBezTo>
                    <a:pt x="134" y="181"/>
                    <a:pt x="134" y="181"/>
                    <a:pt x="134" y="181"/>
                  </a:cubicBezTo>
                  <a:cubicBezTo>
                    <a:pt x="134" y="198"/>
                    <a:pt x="134" y="198"/>
                    <a:pt x="134" y="198"/>
                  </a:cubicBezTo>
                  <a:cubicBezTo>
                    <a:pt x="105" y="201"/>
                    <a:pt x="105" y="201"/>
                    <a:pt x="105" y="201"/>
                  </a:cubicBezTo>
                  <a:cubicBezTo>
                    <a:pt x="105" y="184"/>
                    <a:pt x="105" y="184"/>
                    <a:pt x="105" y="184"/>
                  </a:cubicBezTo>
                  <a:cubicBezTo>
                    <a:pt x="108" y="183"/>
                    <a:pt x="108" y="183"/>
                    <a:pt x="108" y="183"/>
                  </a:cubicBezTo>
                  <a:cubicBezTo>
                    <a:pt x="107" y="178"/>
                    <a:pt x="106" y="172"/>
                    <a:pt x="106" y="167"/>
                  </a:cubicBezTo>
                  <a:cubicBezTo>
                    <a:pt x="105" y="167"/>
                    <a:pt x="105" y="167"/>
                    <a:pt x="105" y="167"/>
                  </a:cubicBezTo>
                  <a:cubicBezTo>
                    <a:pt x="105" y="150"/>
                    <a:pt x="105" y="150"/>
                    <a:pt x="105" y="150"/>
                  </a:cubicBezTo>
                  <a:lnTo>
                    <a:pt x="134" y="147"/>
                  </a:lnTo>
                  <a:close/>
                  <a:moveTo>
                    <a:pt x="105" y="5"/>
                  </a:moveTo>
                  <a:cubicBezTo>
                    <a:pt x="38" y="11"/>
                    <a:pt x="38" y="11"/>
                    <a:pt x="38" y="11"/>
                  </a:cubicBezTo>
                  <a:cubicBezTo>
                    <a:pt x="38" y="37"/>
                    <a:pt x="38" y="37"/>
                    <a:pt x="38" y="37"/>
                  </a:cubicBezTo>
                  <a:cubicBezTo>
                    <a:pt x="55" y="36"/>
                    <a:pt x="55" y="36"/>
                    <a:pt x="55" y="36"/>
                  </a:cubicBezTo>
                  <a:cubicBezTo>
                    <a:pt x="56" y="41"/>
                    <a:pt x="56" y="47"/>
                    <a:pt x="57" y="53"/>
                  </a:cubicBezTo>
                  <a:cubicBezTo>
                    <a:pt x="38" y="54"/>
                    <a:pt x="38" y="54"/>
                    <a:pt x="38" y="54"/>
                  </a:cubicBezTo>
                  <a:cubicBezTo>
                    <a:pt x="38" y="72"/>
                    <a:pt x="38" y="72"/>
                    <a:pt x="38" y="72"/>
                  </a:cubicBezTo>
                  <a:cubicBezTo>
                    <a:pt x="96" y="66"/>
                    <a:pt x="96" y="66"/>
                    <a:pt x="96" y="66"/>
                  </a:cubicBezTo>
                  <a:cubicBezTo>
                    <a:pt x="96" y="71"/>
                    <a:pt x="97" y="77"/>
                    <a:pt x="97" y="82"/>
                  </a:cubicBezTo>
                  <a:cubicBezTo>
                    <a:pt x="38" y="88"/>
                    <a:pt x="38" y="88"/>
                    <a:pt x="38" y="88"/>
                  </a:cubicBezTo>
                  <a:cubicBezTo>
                    <a:pt x="38" y="106"/>
                    <a:pt x="38" y="106"/>
                    <a:pt x="38" y="106"/>
                  </a:cubicBezTo>
                  <a:cubicBezTo>
                    <a:pt x="105" y="99"/>
                    <a:pt x="105" y="99"/>
                    <a:pt x="105" y="99"/>
                  </a:cubicBezTo>
                  <a:cubicBezTo>
                    <a:pt x="105" y="73"/>
                    <a:pt x="105" y="73"/>
                    <a:pt x="105" y="73"/>
                  </a:cubicBezTo>
                  <a:cubicBezTo>
                    <a:pt x="104" y="65"/>
                    <a:pt x="104" y="65"/>
                    <a:pt x="104" y="65"/>
                  </a:cubicBezTo>
                  <a:cubicBezTo>
                    <a:pt x="105" y="65"/>
                    <a:pt x="105" y="65"/>
                    <a:pt x="105" y="65"/>
                  </a:cubicBezTo>
                  <a:cubicBezTo>
                    <a:pt x="105" y="48"/>
                    <a:pt x="105" y="48"/>
                    <a:pt x="105" y="48"/>
                  </a:cubicBezTo>
                  <a:cubicBezTo>
                    <a:pt x="70" y="51"/>
                    <a:pt x="70" y="51"/>
                    <a:pt x="70" y="51"/>
                  </a:cubicBezTo>
                  <a:cubicBezTo>
                    <a:pt x="69" y="46"/>
                    <a:pt x="68" y="40"/>
                    <a:pt x="68" y="35"/>
                  </a:cubicBezTo>
                  <a:cubicBezTo>
                    <a:pt x="105" y="31"/>
                    <a:pt x="105" y="31"/>
                    <a:pt x="105" y="31"/>
                  </a:cubicBezTo>
                  <a:cubicBezTo>
                    <a:pt x="105" y="5"/>
                    <a:pt x="105" y="5"/>
                    <a:pt x="105" y="5"/>
                  </a:cubicBezTo>
                  <a:close/>
                  <a:moveTo>
                    <a:pt x="38" y="247"/>
                  </a:moveTo>
                  <a:cubicBezTo>
                    <a:pt x="105" y="240"/>
                    <a:pt x="105" y="240"/>
                    <a:pt x="105" y="240"/>
                  </a:cubicBezTo>
                  <a:cubicBezTo>
                    <a:pt x="105" y="218"/>
                    <a:pt x="105" y="218"/>
                    <a:pt x="105" y="218"/>
                  </a:cubicBezTo>
                  <a:cubicBezTo>
                    <a:pt x="38" y="225"/>
                    <a:pt x="38" y="225"/>
                    <a:pt x="38" y="225"/>
                  </a:cubicBezTo>
                  <a:cubicBezTo>
                    <a:pt x="38" y="223"/>
                    <a:pt x="38" y="223"/>
                    <a:pt x="38" y="223"/>
                  </a:cubicBezTo>
                  <a:cubicBezTo>
                    <a:pt x="38" y="247"/>
                    <a:pt x="38" y="247"/>
                    <a:pt x="38" y="247"/>
                  </a:cubicBezTo>
                  <a:close/>
                  <a:moveTo>
                    <a:pt x="105" y="116"/>
                  </a:moveTo>
                  <a:cubicBezTo>
                    <a:pt x="105" y="133"/>
                    <a:pt x="105" y="133"/>
                    <a:pt x="105" y="133"/>
                  </a:cubicBezTo>
                  <a:cubicBezTo>
                    <a:pt x="67" y="137"/>
                    <a:pt x="67" y="137"/>
                    <a:pt x="67" y="137"/>
                  </a:cubicBezTo>
                  <a:cubicBezTo>
                    <a:pt x="68" y="142"/>
                    <a:pt x="69" y="148"/>
                    <a:pt x="69" y="153"/>
                  </a:cubicBezTo>
                  <a:cubicBezTo>
                    <a:pt x="105" y="150"/>
                    <a:pt x="105" y="150"/>
                    <a:pt x="105" y="150"/>
                  </a:cubicBezTo>
                  <a:cubicBezTo>
                    <a:pt x="105" y="167"/>
                    <a:pt x="105" y="167"/>
                    <a:pt x="105" y="167"/>
                  </a:cubicBezTo>
                  <a:cubicBezTo>
                    <a:pt x="38" y="174"/>
                    <a:pt x="38" y="174"/>
                    <a:pt x="38" y="174"/>
                  </a:cubicBezTo>
                  <a:cubicBezTo>
                    <a:pt x="38" y="156"/>
                    <a:pt x="38" y="156"/>
                    <a:pt x="38" y="156"/>
                  </a:cubicBezTo>
                  <a:cubicBezTo>
                    <a:pt x="58" y="154"/>
                    <a:pt x="58" y="154"/>
                    <a:pt x="58" y="154"/>
                  </a:cubicBezTo>
                  <a:cubicBezTo>
                    <a:pt x="58" y="149"/>
                    <a:pt x="57" y="143"/>
                    <a:pt x="56" y="138"/>
                  </a:cubicBezTo>
                  <a:cubicBezTo>
                    <a:pt x="38" y="140"/>
                    <a:pt x="38" y="140"/>
                    <a:pt x="38" y="140"/>
                  </a:cubicBezTo>
                  <a:cubicBezTo>
                    <a:pt x="38" y="122"/>
                    <a:pt x="38" y="122"/>
                    <a:pt x="38" y="122"/>
                  </a:cubicBezTo>
                  <a:cubicBezTo>
                    <a:pt x="105" y="116"/>
                    <a:pt x="105" y="116"/>
                    <a:pt x="105" y="116"/>
                  </a:cubicBezTo>
                  <a:close/>
                  <a:moveTo>
                    <a:pt x="105" y="184"/>
                  </a:moveTo>
                  <a:cubicBezTo>
                    <a:pt x="105" y="201"/>
                    <a:pt x="105" y="201"/>
                    <a:pt x="105" y="201"/>
                  </a:cubicBezTo>
                  <a:cubicBezTo>
                    <a:pt x="38" y="208"/>
                    <a:pt x="38" y="208"/>
                    <a:pt x="38" y="208"/>
                  </a:cubicBezTo>
                  <a:cubicBezTo>
                    <a:pt x="38" y="190"/>
                    <a:pt x="38" y="190"/>
                    <a:pt x="38" y="190"/>
                  </a:cubicBezTo>
                  <a:lnTo>
                    <a:pt x="105" y="184"/>
                  </a:lnTo>
                  <a:close/>
                  <a:moveTo>
                    <a:pt x="38" y="11"/>
                  </a:moveTo>
                  <a:cubicBezTo>
                    <a:pt x="0" y="15"/>
                    <a:pt x="0" y="15"/>
                    <a:pt x="0" y="15"/>
                  </a:cubicBezTo>
                  <a:cubicBezTo>
                    <a:pt x="4" y="54"/>
                    <a:pt x="8" y="93"/>
                    <a:pt x="12" y="132"/>
                  </a:cubicBezTo>
                  <a:cubicBezTo>
                    <a:pt x="16" y="171"/>
                    <a:pt x="20" y="209"/>
                    <a:pt x="24" y="248"/>
                  </a:cubicBezTo>
                  <a:cubicBezTo>
                    <a:pt x="38" y="247"/>
                    <a:pt x="38" y="247"/>
                    <a:pt x="38" y="247"/>
                  </a:cubicBezTo>
                  <a:cubicBezTo>
                    <a:pt x="38" y="223"/>
                    <a:pt x="38" y="223"/>
                    <a:pt x="38" y="223"/>
                  </a:cubicBezTo>
                  <a:cubicBezTo>
                    <a:pt x="37" y="208"/>
                    <a:pt x="37" y="208"/>
                    <a:pt x="37" y="208"/>
                  </a:cubicBezTo>
                  <a:cubicBezTo>
                    <a:pt x="38" y="208"/>
                    <a:pt x="38" y="208"/>
                    <a:pt x="38" y="208"/>
                  </a:cubicBezTo>
                  <a:cubicBezTo>
                    <a:pt x="38" y="190"/>
                    <a:pt x="38" y="190"/>
                    <a:pt x="38" y="190"/>
                  </a:cubicBezTo>
                  <a:cubicBezTo>
                    <a:pt x="35" y="191"/>
                    <a:pt x="35" y="191"/>
                    <a:pt x="35" y="191"/>
                  </a:cubicBezTo>
                  <a:cubicBezTo>
                    <a:pt x="35" y="185"/>
                    <a:pt x="34" y="180"/>
                    <a:pt x="33" y="174"/>
                  </a:cubicBezTo>
                  <a:cubicBezTo>
                    <a:pt x="38" y="174"/>
                    <a:pt x="38" y="174"/>
                    <a:pt x="38" y="174"/>
                  </a:cubicBezTo>
                  <a:cubicBezTo>
                    <a:pt x="38" y="156"/>
                    <a:pt x="38" y="156"/>
                    <a:pt x="38" y="156"/>
                  </a:cubicBezTo>
                  <a:cubicBezTo>
                    <a:pt x="32" y="157"/>
                    <a:pt x="32" y="157"/>
                    <a:pt x="32" y="157"/>
                  </a:cubicBezTo>
                  <a:cubicBezTo>
                    <a:pt x="31" y="152"/>
                    <a:pt x="31" y="146"/>
                    <a:pt x="30" y="140"/>
                  </a:cubicBezTo>
                  <a:cubicBezTo>
                    <a:pt x="38" y="140"/>
                    <a:pt x="38" y="140"/>
                    <a:pt x="38" y="140"/>
                  </a:cubicBezTo>
                  <a:cubicBezTo>
                    <a:pt x="38" y="122"/>
                    <a:pt x="38" y="122"/>
                    <a:pt x="38" y="122"/>
                  </a:cubicBezTo>
                  <a:cubicBezTo>
                    <a:pt x="28" y="123"/>
                    <a:pt x="28" y="123"/>
                    <a:pt x="28" y="123"/>
                  </a:cubicBezTo>
                  <a:cubicBezTo>
                    <a:pt x="28" y="118"/>
                    <a:pt x="27" y="112"/>
                    <a:pt x="27" y="107"/>
                  </a:cubicBezTo>
                  <a:cubicBezTo>
                    <a:pt x="38" y="106"/>
                    <a:pt x="38" y="106"/>
                    <a:pt x="38" y="106"/>
                  </a:cubicBezTo>
                  <a:cubicBezTo>
                    <a:pt x="38" y="88"/>
                    <a:pt x="38" y="88"/>
                    <a:pt x="38" y="88"/>
                  </a:cubicBezTo>
                  <a:cubicBezTo>
                    <a:pt x="25" y="90"/>
                    <a:pt x="25" y="90"/>
                    <a:pt x="25" y="90"/>
                  </a:cubicBezTo>
                  <a:cubicBezTo>
                    <a:pt x="24" y="84"/>
                    <a:pt x="24" y="79"/>
                    <a:pt x="23" y="73"/>
                  </a:cubicBezTo>
                  <a:cubicBezTo>
                    <a:pt x="38" y="72"/>
                    <a:pt x="38" y="72"/>
                    <a:pt x="38" y="72"/>
                  </a:cubicBezTo>
                  <a:cubicBezTo>
                    <a:pt x="38" y="54"/>
                    <a:pt x="38" y="54"/>
                    <a:pt x="38" y="54"/>
                  </a:cubicBezTo>
                  <a:cubicBezTo>
                    <a:pt x="21" y="56"/>
                    <a:pt x="21" y="56"/>
                    <a:pt x="21" y="56"/>
                  </a:cubicBezTo>
                  <a:cubicBezTo>
                    <a:pt x="21" y="51"/>
                    <a:pt x="20" y="45"/>
                    <a:pt x="20" y="39"/>
                  </a:cubicBezTo>
                  <a:cubicBezTo>
                    <a:pt x="38" y="37"/>
                    <a:pt x="38" y="37"/>
                    <a:pt x="38" y="37"/>
                  </a:cubicBezTo>
                  <a:lnTo>
                    <a:pt x="38" y="11"/>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3" name="îšľîḓé">
              <a:extLst>
                <a:ext uri="{FF2B5EF4-FFF2-40B4-BE49-F238E27FC236}">
                  <a16:creationId xmlns:a16="http://schemas.microsoft.com/office/drawing/2014/main" id="{07367467-E54D-4C49-A95C-57486E4C3F1F}"/>
                </a:ext>
              </a:extLst>
            </p:cNvPr>
            <p:cNvSpPr/>
            <p:nvPr/>
          </p:nvSpPr>
          <p:spPr bwMode="auto">
            <a:xfrm flipH="1">
              <a:off x="3237915" y="1851158"/>
              <a:ext cx="302756" cy="783794"/>
            </a:xfrm>
            <a:custGeom>
              <a:avLst/>
              <a:gdLst>
                <a:gd name="T0" fmla="*/ 154 w 181"/>
                <a:gd name="T1" fmla="*/ 0 h 480"/>
                <a:gd name="T2" fmla="*/ 154 w 181"/>
                <a:gd name="T3" fmla="*/ 407 h 480"/>
                <a:gd name="T4" fmla="*/ 123 w 181"/>
                <a:gd name="T5" fmla="*/ 20 h 480"/>
                <a:gd name="T6" fmla="*/ 125 w 181"/>
                <a:gd name="T7" fmla="*/ 121 h 480"/>
                <a:gd name="T8" fmla="*/ 127 w 181"/>
                <a:gd name="T9" fmla="*/ 55 h 480"/>
                <a:gd name="T10" fmla="*/ 125 w 181"/>
                <a:gd name="T11" fmla="*/ 221 h 480"/>
                <a:gd name="T12" fmla="*/ 128 w 181"/>
                <a:gd name="T13" fmla="*/ 206 h 480"/>
                <a:gd name="T14" fmla="*/ 123 w 181"/>
                <a:gd name="T15" fmla="*/ 156 h 480"/>
                <a:gd name="T16" fmla="*/ 130 w 181"/>
                <a:gd name="T17" fmla="*/ 322 h 480"/>
                <a:gd name="T18" fmla="*/ 122 w 181"/>
                <a:gd name="T19" fmla="*/ 307 h 480"/>
                <a:gd name="T20" fmla="*/ 130 w 181"/>
                <a:gd name="T21" fmla="*/ 256 h 480"/>
                <a:gd name="T22" fmla="*/ 128 w 181"/>
                <a:gd name="T23" fmla="*/ 357 h 480"/>
                <a:gd name="T24" fmla="*/ 117 w 181"/>
                <a:gd name="T25" fmla="*/ 20 h 480"/>
                <a:gd name="T26" fmla="*/ 119 w 181"/>
                <a:gd name="T27" fmla="*/ 55 h 480"/>
                <a:gd name="T28" fmla="*/ 119 w 181"/>
                <a:gd name="T29" fmla="*/ 121 h 480"/>
                <a:gd name="T30" fmla="*/ 119 w 181"/>
                <a:gd name="T31" fmla="*/ 156 h 480"/>
                <a:gd name="T32" fmla="*/ 119 w 181"/>
                <a:gd name="T33" fmla="*/ 171 h 480"/>
                <a:gd name="T34" fmla="*/ 118 w 181"/>
                <a:gd name="T35" fmla="*/ 221 h 480"/>
                <a:gd name="T36" fmla="*/ 120 w 181"/>
                <a:gd name="T37" fmla="*/ 206 h 480"/>
                <a:gd name="T38" fmla="*/ 120 w 181"/>
                <a:gd name="T39" fmla="*/ 256 h 480"/>
                <a:gd name="T40" fmla="*/ 118 w 181"/>
                <a:gd name="T41" fmla="*/ 322 h 480"/>
                <a:gd name="T42" fmla="*/ 120 w 181"/>
                <a:gd name="T43" fmla="*/ 357 h 480"/>
                <a:gd name="T44" fmla="*/ 95 w 181"/>
                <a:gd name="T45" fmla="*/ 20 h 480"/>
                <a:gd name="T46" fmla="*/ 96 w 181"/>
                <a:gd name="T47" fmla="*/ 70 h 480"/>
                <a:gd name="T48" fmla="*/ 92 w 181"/>
                <a:gd name="T49" fmla="*/ 55 h 480"/>
                <a:gd name="T50" fmla="*/ 91 w 181"/>
                <a:gd name="T51" fmla="*/ 105 h 480"/>
                <a:gd name="T52" fmla="*/ 97 w 181"/>
                <a:gd name="T53" fmla="*/ 221 h 480"/>
                <a:gd name="T54" fmla="*/ 97 w 181"/>
                <a:gd name="T55" fmla="*/ 272 h 480"/>
                <a:gd name="T56" fmla="*/ 91 w 181"/>
                <a:gd name="T57" fmla="*/ 256 h 480"/>
                <a:gd name="T58" fmla="*/ 91 w 181"/>
                <a:gd name="T59" fmla="*/ 407 h 480"/>
                <a:gd name="T60" fmla="*/ 95 w 181"/>
                <a:gd name="T61" fmla="*/ 372 h 480"/>
                <a:gd name="T62" fmla="*/ 94 w 181"/>
                <a:gd name="T63" fmla="*/ 307 h 480"/>
                <a:gd name="T64" fmla="*/ 87 w 181"/>
                <a:gd name="T65" fmla="*/ 20 h 480"/>
                <a:gd name="T66" fmla="*/ 87 w 181"/>
                <a:gd name="T67" fmla="*/ 55 h 480"/>
                <a:gd name="T68" fmla="*/ 86 w 181"/>
                <a:gd name="T69" fmla="*/ 70 h 480"/>
                <a:gd name="T70" fmla="*/ 61 w 181"/>
                <a:gd name="T71" fmla="*/ 70 h 480"/>
                <a:gd name="T72" fmla="*/ 63 w 181"/>
                <a:gd name="T73" fmla="*/ 458 h 480"/>
                <a:gd name="T74" fmla="*/ 63 w 181"/>
                <a:gd name="T75" fmla="*/ 171 h 480"/>
                <a:gd name="T76" fmla="*/ 62 w 181"/>
                <a:gd name="T77" fmla="*/ 105 h 480"/>
                <a:gd name="T78" fmla="*/ 87 w 181"/>
                <a:gd name="T79" fmla="*/ 105 h 480"/>
                <a:gd name="T80" fmla="*/ 86 w 181"/>
                <a:gd name="T81" fmla="*/ 221 h 480"/>
                <a:gd name="T82" fmla="*/ 88 w 181"/>
                <a:gd name="T83" fmla="*/ 256 h 480"/>
                <a:gd name="T84" fmla="*/ 85 w 181"/>
                <a:gd name="T85" fmla="*/ 272 h 480"/>
                <a:gd name="T86" fmla="*/ 60 w 181"/>
                <a:gd name="T87" fmla="*/ 272 h 480"/>
                <a:gd name="T88" fmla="*/ 65 w 181"/>
                <a:gd name="T89" fmla="*/ 206 h 480"/>
                <a:gd name="T90" fmla="*/ 84 w 181"/>
                <a:gd name="T91" fmla="*/ 372 h 480"/>
                <a:gd name="T92" fmla="*/ 59 w 181"/>
                <a:gd name="T93" fmla="*/ 372 h 480"/>
                <a:gd name="T94" fmla="*/ 65 w 181"/>
                <a:gd name="T95" fmla="*/ 307 h 480"/>
                <a:gd name="T96" fmla="*/ 90 w 181"/>
                <a:gd name="T97" fmla="*/ 407 h 480"/>
                <a:gd name="T98" fmla="*/ 59 w 181"/>
                <a:gd name="T99" fmla="*/ 407 h 480"/>
                <a:gd name="T100" fmla="*/ 84 w 181"/>
                <a:gd name="T101" fmla="*/ 407 h 480"/>
                <a:gd name="T102" fmla="*/ 57 w 181"/>
                <a:gd name="T103" fmla="*/ 70 h 480"/>
                <a:gd name="T104" fmla="*/ 54 w 181"/>
                <a:gd name="T105" fmla="*/ 105 h 480"/>
                <a:gd name="T106" fmla="*/ 57 w 181"/>
                <a:gd name="T107" fmla="*/ 171 h 480"/>
                <a:gd name="T108" fmla="*/ 59 w 181"/>
                <a:gd name="T109" fmla="*/ 480 h 480"/>
                <a:gd name="T110" fmla="*/ 58 w 181"/>
                <a:gd name="T111" fmla="*/ 407 h 480"/>
                <a:gd name="T112" fmla="*/ 52 w 181"/>
                <a:gd name="T113" fmla="*/ 423 h 480"/>
                <a:gd name="T114" fmla="*/ 52 w 181"/>
                <a:gd name="T115" fmla="*/ 221 h 480"/>
                <a:gd name="T116" fmla="*/ 52 w 181"/>
                <a:gd name="T117" fmla="*/ 307 h 480"/>
                <a:gd name="T118" fmla="*/ 59 w 181"/>
                <a:gd name="T119" fmla="*/ 357 h 480"/>
                <a:gd name="T120" fmla="*/ 27 w 181"/>
                <a:gd name="T121" fmla="*/ 357 h 480"/>
                <a:gd name="T122" fmla="*/ 57 w 181"/>
                <a:gd name="T123" fmla="*/ 206 h 480"/>
                <a:gd name="T124" fmla="*/ 27 w 181"/>
                <a:gd name="T125"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480">
                  <a:moveTo>
                    <a:pt x="154" y="0"/>
                  </a:moveTo>
                  <a:cubicBezTo>
                    <a:pt x="181" y="0"/>
                    <a:pt x="181" y="0"/>
                    <a:pt x="181" y="0"/>
                  </a:cubicBezTo>
                  <a:cubicBezTo>
                    <a:pt x="181" y="80"/>
                    <a:pt x="181" y="160"/>
                    <a:pt x="181" y="240"/>
                  </a:cubicBezTo>
                  <a:cubicBezTo>
                    <a:pt x="181" y="320"/>
                    <a:pt x="181" y="400"/>
                    <a:pt x="181" y="480"/>
                  </a:cubicBezTo>
                  <a:cubicBezTo>
                    <a:pt x="154" y="480"/>
                    <a:pt x="154" y="480"/>
                    <a:pt x="154" y="480"/>
                  </a:cubicBezTo>
                  <a:cubicBezTo>
                    <a:pt x="154" y="458"/>
                    <a:pt x="154" y="458"/>
                    <a:pt x="154" y="458"/>
                  </a:cubicBezTo>
                  <a:cubicBezTo>
                    <a:pt x="162" y="458"/>
                    <a:pt x="162" y="458"/>
                    <a:pt x="162" y="458"/>
                  </a:cubicBezTo>
                  <a:cubicBezTo>
                    <a:pt x="162" y="446"/>
                    <a:pt x="162" y="434"/>
                    <a:pt x="162" y="423"/>
                  </a:cubicBezTo>
                  <a:cubicBezTo>
                    <a:pt x="154" y="423"/>
                    <a:pt x="154" y="423"/>
                    <a:pt x="154" y="423"/>
                  </a:cubicBezTo>
                  <a:cubicBezTo>
                    <a:pt x="154" y="407"/>
                    <a:pt x="154" y="407"/>
                    <a:pt x="154" y="407"/>
                  </a:cubicBezTo>
                  <a:cubicBezTo>
                    <a:pt x="162" y="407"/>
                    <a:pt x="162" y="407"/>
                    <a:pt x="162" y="407"/>
                  </a:cubicBezTo>
                  <a:cubicBezTo>
                    <a:pt x="162" y="396"/>
                    <a:pt x="162" y="384"/>
                    <a:pt x="162" y="372"/>
                  </a:cubicBezTo>
                  <a:cubicBezTo>
                    <a:pt x="154" y="372"/>
                    <a:pt x="154" y="372"/>
                    <a:pt x="154" y="372"/>
                  </a:cubicBezTo>
                  <a:cubicBezTo>
                    <a:pt x="154" y="357"/>
                    <a:pt x="154" y="357"/>
                    <a:pt x="154" y="357"/>
                  </a:cubicBezTo>
                  <a:cubicBezTo>
                    <a:pt x="162" y="357"/>
                    <a:pt x="162" y="357"/>
                    <a:pt x="162" y="357"/>
                  </a:cubicBezTo>
                  <a:cubicBezTo>
                    <a:pt x="162" y="345"/>
                    <a:pt x="162" y="334"/>
                    <a:pt x="162" y="322"/>
                  </a:cubicBezTo>
                  <a:cubicBezTo>
                    <a:pt x="154" y="322"/>
                    <a:pt x="154" y="322"/>
                    <a:pt x="154" y="322"/>
                  </a:cubicBezTo>
                  <a:cubicBezTo>
                    <a:pt x="154" y="307"/>
                    <a:pt x="154" y="307"/>
                    <a:pt x="154" y="307"/>
                  </a:cubicBezTo>
                  <a:cubicBezTo>
                    <a:pt x="162" y="307"/>
                    <a:pt x="162" y="307"/>
                    <a:pt x="162" y="307"/>
                  </a:cubicBezTo>
                  <a:cubicBezTo>
                    <a:pt x="162" y="295"/>
                    <a:pt x="162" y="283"/>
                    <a:pt x="162" y="272"/>
                  </a:cubicBezTo>
                  <a:cubicBezTo>
                    <a:pt x="154" y="272"/>
                    <a:pt x="154" y="272"/>
                    <a:pt x="154" y="272"/>
                  </a:cubicBezTo>
                  <a:cubicBezTo>
                    <a:pt x="154" y="256"/>
                    <a:pt x="154" y="256"/>
                    <a:pt x="154" y="256"/>
                  </a:cubicBezTo>
                  <a:cubicBezTo>
                    <a:pt x="162" y="256"/>
                    <a:pt x="162" y="256"/>
                    <a:pt x="162" y="256"/>
                  </a:cubicBezTo>
                  <a:cubicBezTo>
                    <a:pt x="162" y="245"/>
                    <a:pt x="162" y="233"/>
                    <a:pt x="162" y="221"/>
                  </a:cubicBezTo>
                  <a:cubicBezTo>
                    <a:pt x="154" y="221"/>
                    <a:pt x="154" y="221"/>
                    <a:pt x="154" y="221"/>
                  </a:cubicBezTo>
                  <a:cubicBezTo>
                    <a:pt x="154" y="206"/>
                    <a:pt x="154" y="206"/>
                    <a:pt x="154" y="206"/>
                  </a:cubicBezTo>
                  <a:cubicBezTo>
                    <a:pt x="162" y="206"/>
                    <a:pt x="162" y="206"/>
                    <a:pt x="162" y="206"/>
                  </a:cubicBezTo>
                  <a:cubicBezTo>
                    <a:pt x="162" y="194"/>
                    <a:pt x="162" y="183"/>
                    <a:pt x="162" y="171"/>
                  </a:cubicBezTo>
                  <a:cubicBezTo>
                    <a:pt x="154" y="171"/>
                    <a:pt x="154" y="171"/>
                    <a:pt x="154" y="171"/>
                  </a:cubicBezTo>
                  <a:cubicBezTo>
                    <a:pt x="154" y="156"/>
                    <a:pt x="154" y="156"/>
                    <a:pt x="154" y="156"/>
                  </a:cubicBezTo>
                  <a:cubicBezTo>
                    <a:pt x="162" y="156"/>
                    <a:pt x="162" y="156"/>
                    <a:pt x="162" y="156"/>
                  </a:cubicBezTo>
                  <a:cubicBezTo>
                    <a:pt x="162" y="144"/>
                    <a:pt x="162" y="132"/>
                    <a:pt x="162" y="121"/>
                  </a:cubicBezTo>
                  <a:cubicBezTo>
                    <a:pt x="154" y="121"/>
                    <a:pt x="154" y="121"/>
                    <a:pt x="154" y="121"/>
                  </a:cubicBezTo>
                  <a:cubicBezTo>
                    <a:pt x="154" y="105"/>
                    <a:pt x="154" y="105"/>
                    <a:pt x="154" y="105"/>
                  </a:cubicBezTo>
                  <a:cubicBezTo>
                    <a:pt x="162" y="105"/>
                    <a:pt x="162" y="105"/>
                    <a:pt x="162" y="105"/>
                  </a:cubicBezTo>
                  <a:cubicBezTo>
                    <a:pt x="162" y="94"/>
                    <a:pt x="162" y="82"/>
                    <a:pt x="162" y="70"/>
                  </a:cubicBezTo>
                  <a:cubicBezTo>
                    <a:pt x="154" y="70"/>
                    <a:pt x="154" y="70"/>
                    <a:pt x="154" y="70"/>
                  </a:cubicBezTo>
                  <a:cubicBezTo>
                    <a:pt x="154" y="55"/>
                    <a:pt x="154" y="55"/>
                    <a:pt x="154" y="55"/>
                  </a:cubicBezTo>
                  <a:cubicBezTo>
                    <a:pt x="162" y="55"/>
                    <a:pt x="162" y="55"/>
                    <a:pt x="162" y="55"/>
                  </a:cubicBezTo>
                  <a:cubicBezTo>
                    <a:pt x="162" y="43"/>
                    <a:pt x="162" y="32"/>
                    <a:pt x="162" y="20"/>
                  </a:cubicBezTo>
                  <a:cubicBezTo>
                    <a:pt x="154" y="20"/>
                    <a:pt x="154" y="20"/>
                    <a:pt x="154" y="20"/>
                  </a:cubicBezTo>
                  <a:lnTo>
                    <a:pt x="154" y="0"/>
                  </a:lnTo>
                  <a:close/>
                  <a:moveTo>
                    <a:pt x="138" y="0"/>
                  </a:moveTo>
                  <a:cubicBezTo>
                    <a:pt x="154" y="0"/>
                    <a:pt x="154" y="0"/>
                    <a:pt x="154" y="0"/>
                  </a:cubicBezTo>
                  <a:cubicBezTo>
                    <a:pt x="154" y="20"/>
                    <a:pt x="154" y="20"/>
                    <a:pt x="154" y="20"/>
                  </a:cubicBezTo>
                  <a:cubicBezTo>
                    <a:pt x="138" y="20"/>
                    <a:pt x="138" y="20"/>
                    <a:pt x="138" y="20"/>
                  </a:cubicBezTo>
                  <a:cubicBezTo>
                    <a:pt x="138" y="0"/>
                    <a:pt x="138" y="0"/>
                    <a:pt x="138" y="0"/>
                  </a:cubicBezTo>
                  <a:close/>
                  <a:moveTo>
                    <a:pt x="154" y="480"/>
                  </a:moveTo>
                  <a:cubicBezTo>
                    <a:pt x="138" y="480"/>
                    <a:pt x="138" y="480"/>
                    <a:pt x="138" y="480"/>
                  </a:cubicBezTo>
                  <a:cubicBezTo>
                    <a:pt x="138" y="458"/>
                    <a:pt x="138" y="458"/>
                    <a:pt x="138" y="458"/>
                  </a:cubicBezTo>
                  <a:cubicBezTo>
                    <a:pt x="154" y="458"/>
                    <a:pt x="154" y="458"/>
                    <a:pt x="154" y="458"/>
                  </a:cubicBezTo>
                  <a:cubicBezTo>
                    <a:pt x="154" y="480"/>
                    <a:pt x="154" y="480"/>
                    <a:pt x="154" y="480"/>
                  </a:cubicBezTo>
                  <a:close/>
                  <a:moveTo>
                    <a:pt x="154" y="55"/>
                  </a:moveTo>
                  <a:cubicBezTo>
                    <a:pt x="154" y="70"/>
                    <a:pt x="154" y="70"/>
                    <a:pt x="154" y="70"/>
                  </a:cubicBezTo>
                  <a:cubicBezTo>
                    <a:pt x="147" y="70"/>
                    <a:pt x="147" y="70"/>
                    <a:pt x="147" y="70"/>
                  </a:cubicBezTo>
                  <a:cubicBezTo>
                    <a:pt x="147" y="82"/>
                    <a:pt x="147" y="94"/>
                    <a:pt x="147" y="105"/>
                  </a:cubicBezTo>
                  <a:cubicBezTo>
                    <a:pt x="154" y="105"/>
                    <a:pt x="154" y="105"/>
                    <a:pt x="154" y="105"/>
                  </a:cubicBezTo>
                  <a:cubicBezTo>
                    <a:pt x="154" y="121"/>
                    <a:pt x="154" y="121"/>
                    <a:pt x="154" y="121"/>
                  </a:cubicBezTo>
                  <a:cubicBezTo>
                    <a:pt x="138" y="121"/>
                    <a:pt x="138" y="121"/>
                    <a:pt x="138" y="121"/>
                  </a:cubicBezTo>
                  <a:cubicBezTo>
                    <a:pt x="138" y="55"/>
                    <a:pt x="138" y="55"/>
                    <a:pt x="138" y="55"/>
                  </a:cubicBezTo>
                  <a:cubicBezTo>
                    <a:pt x="154" y="55"/>
                    <a:pt x="154" y="55"/>
                    <a:pt x="154" y="55"/>
                  </a:cubicBezTo>
                  <a:close/>
                  <a:moveTo>
                    <a:pt x="154" y="156"/>
                  </a:moveTo>
                  <a:cubicBezTo>
                    <a:pt x="154" y="171"/>
                    <a:pt x="154" y="171"/>
                    <a:pt x="154" y="171"/>
                  </a:cubicBezTo>
                  <a:cubicBezTo>
                    <a:pt x="147" y="171"/>
                    <a:pt x="147" y="171"/>
                    <a:pt x="147" y="171"/>
                  </a:cubicBezTo>
                  <a:cubicBezTo>
                    <a:pt x="147" y="183"/>
                    <a:pt x="147" y="194"/>
                    <a:pt x="147" y="206"/>
                  </a:cubicBezTo>
                  <a:cubicBezTo>
                    <a:pt x="154" y="206"/>
                    <a:pt x="154" y="206"/>
                    <a:pt x="154" y="206"/>
                  </a:cubicBezTo>
                  <a:cubicBezTo>
                    <a:pt x="154" y="221"/>
                    <a:pt x="154" y="221"/>
                    <a:pt x="154" y="221"/>
                  </a:cubicBezTo>
                  <a:cubicBezTo>
                    <a:pt x="138" y="221"/>
                    <a:pt x="138" y="221"/>
                    <a:pt x="138" y="221"/>
                  </a:cubicBezTo>
                  <a:cubicBezTo>
                    <a:pt x="138" y="156"/>
                    <a:pt x="138" y="156"/>
                    <a:pt x="138" y="156"/>
                  </a:cubicBezTo>
                  <a:cubicBezTo>
                    <a:pt x="154" y="156"/>
                    <a:pt x="154" y="156"/>
                    <a:pt x="154" y="156"/>
                  </a:cubicBezTo>
                  <a:close/>
                  <a:moveTo>
                    <a:pt x="154" y="256"/>
                  </a:moveTo>
                  <a:cubicBezTo>
                    <a:pt x="154" y="272"/>
                    <a:pt x="154" y="272"/>
                    <a:pt x="154" y="272"/>
                  </a:cubicBezTo>
                  <a:cubicBezTo>
                    <a:pt x="147" y="272"/>
                    <a:pt x="147" y="272"/>
                    <a:pt x="147" y="272"/>
                  </a:cubicBezTo>
                  <a:cubicBezTo>
                    <a:pt x="147" y="283"/>
                    <a:pt x="147" y="295"/>
                    <a:pt x="147" y="307"/>
                  </a:cubicBezTo>
                  <a:cubicBezTo>
                    <a:pt x="154" y="307"/>
                    <a:pt x="154" y="307"/>
                    <a:pt x="154" y="307"/>
                  </a:cubicBezTo>
                  <a:cubicBezTo>
                    <a:pt x="154" y="322"/>
                    <a:pt x="154" y="322"/>
                    <a:pt x="154" y="322"/>
                  </a:cubicBezTo>
                  <a:cubicBezTo>
                    <a:pt x="138" y="322"/>
                    <a:pt x="138" y="322"/>
                    <a:pt x="138" y="322"/>
                  </a:cubicBezTo>
                  <a:cubicBezTo>
                    <a:pt x="138" y="256"/>
                    <a:pt x="138" y="256"/>
                    <a:pt x="138" y="256"/>
                  </a:cubicBezTo>
                  <a:cubicBezTo>
                    <a:pt x="154" y="256"/>
                    <a:pt x="154" y="256"/>
                    <a:pt x="154" y="256"/>
                  </a:cubicBezTo>
                  <a:close/>
                  <a:moveTo>
                    <a:pt x="154" y="357"/>
                  </a:moveTo>
                  <a:cubicBezTo>
                    <a:pt x="154" y="372"/>
                    <a:pt x="154" y="372"/>
                    <a:pt x="154" y="372"/>
                  </a:cubicBezTo>
                  <a:cubicBezTo>
                    <a:pt x="147" y="372"/>
                    <a:pt x="147" y="372"/>
                    <a:pt x="147" y="372"/>
                  </a:cubicBezTo>
                  <a:cubicBezTo>
                    <a:pt x="147" y="384"/>
                    <a:pt x="147" y="396"/>
                    <a:pt x="147" y="407"/>
                  </a:cubicBezTo>
                  <a:cubicBezTo>
                    <a:pt x="154" y="407"/>
                    <a:pt x="154" y="407"/>
                    <a:pt x="154" y="407"/>
                  </a:cubicBezTo>
                  <a:cubicBezTo>
                    <a:pt x="154" y="423"/>
                    <a:pt x="154" y="423"/>
                    <a:pt x="154" y="423"/>
                  </a:cubicBezTo>
                  <a:cubicBezTo>
                    <a:pt x="138" y="423"/>
                    <a:pt x="138" y="423"/>
                    <a:pt x="138" y="423"/>
                  </a:cubicBezTo>
                  <a:cubicBezTo>
                    <a:pt x="138" y="357"/>
                    <a:pt x="138" y="357"/>
                    <a:pt x="138" y="357"/>
                  </a:cubicBezTo>
                  <a:lnTo>
                    <a:pt x="154" y="357"/>
                  </a:lnTo>
                  <a:close/>
                  <a:moveTo>
                    <a:pt x="122" y="0"/>
                  </a:moveTo>
                  <a:cubicBezTo>
                    <a:pt x="138" y="0"/>
                    <a:pt x="138" y="0"/>
                    <a:pt x="138" y="0"/>
                  </a:cubicBezTo>
                  <a:cubicBezTo>
                    <a:pt x="138" y="20"/>
                    <a:pt x="138" y="20"/>
                    <a:pt x="138" y="20"/>
                  </a:cubicBezTo>
                  <a:cubicBezTo>
                    <a:pt x="130" y="20"/>
                    <a:pt x="130" y="20"/>
                    <a:pt x="130"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2" y="20"/>
                    <a:pt x="122" y="20"/>
                    <a:pt x="122" y="20"/>
                  </a:cubicBezTo>
                  <a:cubicBezTo>
                    <a:pt x="122" y="20"/>
                    <a:pt x="122" y="20"/>
                    <a:pt x="122" y="20"/>
                  </a:cubicBezTo>
                  <a:cubicBezTo>
                    <a:pt x="122" y="0"/>
                    <a:pt x="122" y="0"/>
                    <a:pt x="122" y="0"/>
                  </a:cubicBezTo>
                  <a:close/>
                  <a:moveTo>
                    <a:pt x="138" y="480"/>
                  </a:moveTo>
                  <a:cubicBezTo>
                    <a:pt x="122" y="480"/>
                    <a:pt x="122" y="480"/>
                    <a:pt x="122" y="480"/>
                  </a:cubicBezTo>
                  <a:cubicBezTo>
                    <a:pt x="122" y="458"/>
                    <a:pt x="122" y="458"/>
                    <a:pt x="122" y="458"/>
                  </a:cubicBezTo>
                  <a:cubicBezTo>
                    <a:pt x="130" y="458"/>
                    <a:pt x="130" y="458"/>
                    <a:pt x="130" y="458"/>
                  </a:cubicBezTo>
                  <a:cubicBezTo>
                    <a:pt x="138" y="458"/>
                    <a:pt x="138" y="458"/>
                    <a:pt x="138" y="458"/>
                  </a:cubicBezTo>
                  <a:cubicBezTo>
                    <a:pt x="138" y="480"/>
                    <a:pt x="138" y="480"/>
                    <a:pt x="138" y="480"/>
                  </a:cubicBezTo>
                  <a:close/>
                  <a:moveTo>
                    <a:pt x="138" y="55"/>
                  </a:moveTo>
                  <a:cubicBezTo>
                    <a:pt x="138" y="121"/>
                    <a:pt x="138" y="121"/>
                    <a:pt x="138" y="121"/>
                  </a:cubicBezTo>
                  <a:cubicBezTo>
                    <a:pt x="130" y="121"/>
                    <a:pt x="130" y="121"/>
                    <a:pt x="130"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2" y="121"/>
                    <a:pt x="122" y="121"/>
                    <a:pt x="122" y="121"/>
                  </a:cubicBezTo>
                  <a:cubicBezTo>
                    <a:pt x="122" y="105"/>
                    <a:pt x="122" y="105"/>
                    <a:pt x="122" y="105"/>
                  </a:cubicBezTo>
                  <a:cubicBezTo>
                    <a:pt x="130" y="105"/>
                    <a:pt x="130" y="105"/>
                    <a:pt x="130" y="105"/>
                  </a:cubicBezTo>
                  <a:cubicBezTo>
                    <a:pt x="130" y="94"/>
                    <a:pt x="130" y="82"/>
                    <a:pt x="130" y="70"/>
                  </a:cubicBezTo>
                  <a:cubicBezTo>
                    <a:pt x="122" y="70"/>
                    <a:pt x="122" y="70"/>
                    <a:pt x="122" y="70"/>
                  </a:cubicBezTo>
                  <a:cubicBezTo>
                    <a:pt x="122" y="55"/>
                    <a:pt x="122" y="55"/>
                    <a:pt x="122" y="55"/>
                  </a:cubicBezTo>
                  <a:cubicBezTo>
                    <a:pt x="122" y="55"/>
                    <a:pt x="122" y="55"/>
                    <a:pt x="122"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30" y="55"/>
                    <a:pt x="130" y="55"/>
                    <a:pt x="130" y="55"/>
                  </a:cubicBezTo>
                  <a:cubicBezTo>
                    <a:pt x="138" y="55"/>
                    <a:pt x="138" y="55"/>
                    <a:pt x="138" y="55"/>
                  </a:cubicBezTo>
                  <a:close/>
                  <a:moveTo>
                    <a:pt x="138" y="156"/>
                  </a:moveTo>
                  <a:cubicBezTo>
                    <a:pt x="138" y="221"/>
                    <a:pt x="138" y="221"/>
                    <a:pt x="138" y="221"/>
                  </a:cubicBezTo>
                  <a:cubicBezTo>
                    <a:pt x="130" y="221"/>
                    <a:pt x="130" y="221"/>
                    <a:pt x="130"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2" y="221"/>
                    <a:pt x="122" y="221"/>
                    <a:pt x="122" y="221"/>
                  </a:cubicBezTo>
                  <a:cubicBezTo>
                    <a:pt x="122" y="221"/>
                    <a:pt x="122" y="221"/>
                    <a:pt x="122" y="221"/>
                  </a:cubicBezTo>
                  <a:cubicBezTo>
                    <a:pt x="122" y="206"/>
                    <a:pt x="122" y="206"/>
                    <a:pt x="122"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4" y="206"/>
                    <a:pt x="124" y="206"/>
                    <a:pt x="124" y="206"/>
                  </a:cubicBezTo>
                  <a:cubicBezTo>
                    <a:pt x="124" y="206"/>
                    <a:pt x="124" y="206"/>
                    <a:pt x="124" y="206"/>
                  </a:cubicBezTo>
                  <a:cubicBezTo>
                    <a:pt x="124" y="206"/>
                    <a:pt x="124" y="206"/>
                    <a:pt x="124" y="206"/>
                  </a:cubicBezTo>
                  <a:cubicBezTo>
                    <a:pt x="124" y="206"/>
                    <a:pt x="124" y="206"/>
                    <a:pt x="124"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6" y="206"/>
                    <a:pt x="126" y="206"/>
                    <a:pt x="126" y="206"/>
                  </a:cubicBezTo>
                  <a:cubicBezTo>
                    <a:pt x="126" y="206"/>
                    <a:pt x="126" y="206"/>
                    <a:pt x="126" y="206"/>
                  </a:cubicBezTo>
                  <a:cubicBezTo>
                    <a:pt x="126" y="206"/>
                    <a:pt x="126" y="206"/>
                    <a:pt x="126" y="206"/>
                  </a:cubicBezTo>
                  <a:cubicBezTo>
                    <a:pt x="126" y="206"/>
                    <a:pt x="126" y="206"/>
                    <a:pt x="126" y="206"/>
                  </a:cubicBezTo>
                  <a:cubicBezTo>
                    <a:pt x="127" y="206"/>
                    <a:pt x="127" y="206"/>
                    <a:pt x="127" y="206"/>
                  </a:cubicBezTo>
                  <a:cubicBezTo>
                    <a:pt x="127" y="206"/>
                    <a:pt x="127" y="206"/>
                    <a:pt x="127" y="206"/>
                  </a:cubicBezTo>
                  <a:cubicBezTo>
                    <a:pt x="127" y="206"/>
                    <a:pt x="127" y="206"/>
                    <a:pt x="127" y="206"/>
                  </a:cubicBezTo>
                  <a:cubicBezTo>
                    <a:pt x="127" y="206"/>
                    <a:pt x="127" y="206"/>
                    <a:pt x="127"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9" y="206"/>
                    <a:pt x="129" y="206"/>
                    <a:pt x="129" y="206"/>
                  </a:cubicBezTo>
                  <a:cubicBezTo>
                    <a:pt x="129" y="206"/>
                    <a:pt x="129" y="206"/>
                    <a:pt x="129" y="206"/>
                  </a:cubicBezTo>
                  <a:cubicBezTo>
                    <a:pt x="129" y="206"/>
                    <a:pt x="129" y="206"/>
                    <a:pt x="129" y="206"/>
                  </a:cubicBezTo>
                  <a:cubicBezTo>
                    <a:pt x="129" y="206"/>
                    <a:pt x="129" y="206"/>
                    <a:pt x="129" y="206"/>
                  </a:cubicBezTo>
                  <a:cubicBezTo>
                    <a:pt x="130" y="206"/>
                    <a:pt x="130" y="206"/>
                    <a:pt x="130" y="206"/>
                  </a:cubicBezTo>
                  <a:cubicBezTo>
                    <a:pt x="130" y="194"/>
                    <a:pt x="130" y="183"/>
                    <a:pt x="130" y="171"/>
                  </a:cubicBezTo>
                  <a:cubicBezTo>
                    <a:pt x="129" y="171"/>
                    <a:pt x="129" y="171"/>
                    <a:pt x="129" y="171"/>
                  </a:cubicBezTo>
                  <a:cubicBezTo>
                    <a:pt x="129" y="171"/>
                    <a:pt x="129" y="171"/>
                    <a:pt x="129" y="171"/>
                  </a:cubicBezTo>
                  <a:cubicBezTo>
                    <a:pt x="129" y="171"/>
                    <a:pt x="129" y="171"/>
                    <a:pt x="129" y="171"/>
                  </a:cubicBezTo>
                  <a:cubicBezTo>
                    <a:pt x="129" y="171"/>
                    <a:pt x="129" y="171"/>
                    <a:pt x="129"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7" y="171"/>
                    <a:pt x="127" y="171"/>
                    <a:pt x="127" y="171"/>
                  </a:cubicBezTo>
                  <a:cubicBezTo>
                    <a:pt x="127" y="171"/>
                    <a:pt x="127" y="171"/>
                    <a:pt x="127" y="171"/>
                  </a:cubicBezTo>
                  <a:cubicBezTo>
                    <a:pt x="127" y="171"/>
                    <a:pt x="127" y="171"/>
                    <a:pt x="127" y="171"/>
                  </a:cubicBezTo>
                  <a:cubicBezTo>
                    <a:pt x="127" y="171"/>
                    <a:pt x="127" y="171"/>
                    <a:pt x="127" y="171"/>
                  </a:cubicBezTo>
                  <a:cubicBezTo>
                    <a:pt x="126" y="171"/>
                    <a:pt x="126" y="171"/>
                    <a:pt x="126" y="171"/>
                  </a:cubicBezTo>
                  <a:cubicBezTo>
                    <a:pt x="126" y="171"/>
                    <a:pt x="126" y="171"/>
                    <a:pt x="126" y="171"/>
                  </a:cubicBezTo>
                  <a:cubicBezTo>
                    <a:pt x="126" y="171"/>
                    <a:pt x="126" y="171"/>
                    <a:pt x="126" y="171"/>
                  </a:cubicBezTo>
                  <a:cubicBezTo>
                    <a:pt x="126" y="171"/>
                    <a:pt x="126" y="171"/>
                    <a:pt x="126"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4" y="171"/>
                    <a:pt x="124" y="171"/>
                    <a:pt x="124" y="171"/>
                  </a:cubicBezTo>
                  <a:cubicBezTo>
                    <a:pt x="124" y="171"/>
                    <a:pt x="124" y="171"/>
                    <a:pt x="124" y="171"/>
                  </a:cubicBezTo>
                  <a:cubicBezTo>
                    <a:pt x="124" y="171"/>
                    <a:pt x="124" y="171"/>
                    <a:pt x="124" y="171"/>
                  </a:cubicBezTo>
                  <a:cubicBezTo>
                    <a:pt x="124" y="171"/>
                    <a:pt x="124" y="171"/>
                    <a:pt x="124"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2" y="171"/>
                    <a:pt x="122" y="171"/>
                    <a:pt x="122" y="171"/>
                  </a:cubicBezTo>
                  <a:cubicBezTo>
                    <a:pt x="122" y="156"/>
                    <a:pt x="122" y="156"/>
                    <a:pt x="122"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30" y="156"/>
                    <a:pt x="130" y="156"/>
                    <a:pt x="130" y="156"/>
                  </a:cubicBezTo>
                  <a:cubicBezTo>
                    <a:pt x="138" y="156"/>
                    <a:pt x="138" y="156"/>
                    <a:pt x="138" y="156"/>
                  </a:cubicBezTo>
                  <a:close/>
                  <a:moveTo>
                    <a:pt x="138" y="256"/>
                  </a:moveTo>
                  <a:cubicBezTo>
                    <a:pt x="138" y="322"/>
                    <a:pt x="138" y="322"/>
                    <a:pt x="138" y="322"/>
                  </a:cubicBezTo>
                  <a:cubicBezTo>
                    <a:pt x="130" y="322"/>
                    <a:pt x="130" y="322"/>
                    <a:pt x="130"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2" y="322"/>
                    <a:pt x="122" y="322"/>
                    <a:pt x="122" y="322"/>
                  </a:cubicBezTo>
                  <a:cubicBezTo>
                    <a:pt x="122" y="307"/>
                    <a:pt x="122" y="307"/>
                    <a:pt x="122" y="307"/>
                  </a:cubicBezTo>
                  <a:cubicBezTo>
                    <a:pt x="130" y="307"/>
                    <a:pt x="130" y="307"/>
                    <a:pt x="130" y="307"/>
                  </a:cubicBezTo>
                  <a:cubicBezTo>
                    <a:pt x="130" y="295"/>
                    <a:pt x="130" y="283"/>
                    <a:pt x="130" y="272"/>
                  </a:cubicBezTo>
                  <a:cubicBezTo>
                    <a:pt x="122" y="272"/>
                    <a:pt x="122" y="272"/>
                    <a:pt x="122" y="272"/>
                  </a:cubicBezTo>
                  <a:cubicBezTo>
                    <a:pt x="122" y="256"/>
                    <a:pt x="122" y="256"/>
                    <a:pt x="122" y="256"/>
                  </a:cubicBezTo>
                  <a:cubicBezTo>
                    <a:pt x="122" y="256"/>
                    <a:pt x="122" y="256"/>
                    <a:pt x="122"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30" y="256"/>
                    <a:pt x="130" y="256"/>
                    <a:pt x="130" y="256"/>
                  </a:cubicBezTo>
                  <a:cubicBezTo>
                    <a:pt x="138" y="256"/>
                    <a:pt x="138" y="256"/>
                    <a:pt x="138" y="256"/>
                  </a:cubicBezTo>
                  <a:close/>
                  <a:moveTo>
                    <a:pt x="138" y="357"/>
                  </a:moveTo>
                  <a:cubicBezTo>
                    <a:pt x="138" y="423"/>
                    <a:pt x="138" y="423"/>
                    <a:pt x="138" y="423"/>
                  </a:cubicBezTo>
                  <a:cubicBezTo>
                    <a:pt x="130" y="423"/>
                    <a:pt x="130" y="423"/>
                    <a:pt x="130" y="423"/>
                  </a:cubicBezTo>
                  <a:cubicBezTo>
                    <a:pt x="122" y="423"/>
                    <a:pt x="122" y="423"/>
                    <a:pt x="122" y="423"/>
                  </a:cubicBezTo>
                  <a:cubicBezTo>
                    <a:pt x="122" y="407"/>
                    <a:pt x="122" y="407"/>
                    <a:pt x="122" y="407"/>
                  </a:cubicBezTo>
                  <a:cubicBezTo>
                    <a:pt x="130" y="407"/>
                    <a:pt x="130" y="407"/>
                    <a:pt x="130" y="407"/>
                  </a:cubicBezTo>
                  <a:cubicBezTo>
                    <a:pt x="130" y="396"/>
                    <a:pt x="130" y="384"/>
                    <a:pt x="130" y="372"/>
                  </a:cubicBezTo>
                  <a:cubicBezTo>
                    <a:pt x="122" y="372"/>
                    <a:pt x="122" y="372"/>
                    <a:pt x="122" y="372"/>
                  </a:cubicBezTo>
                  <a:cubicBezTo>
                    <a:pt x="122" y="357"/>
                    <a:pt x="122" y="357"/>
                    <a:pt x="122"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30" y="357"/>
                    <a:pt x="130" y="357"/>
                    <a:pt x="130" y="357"/>
                  </a:cubicBezTo>
                  <a:lnTo>
                    <a:pt x="138" y="357"/>
                  </a:lnTo>
                  <a:close/>
                  <a:moveTo>
                    <a:pt x="107" y="0"/>
                  </a:moveTo>
                  <a:cubicBezTo>
                    <a:pt x="122" y="0"/>
                    <a:pt x="122" y="0"/>
                    <a:pt x="122" y="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5" y="20"/>
                    <a:pt x="115" y="20"/>
                    <a:pt x="115" y="20"/>
                  </a:cubicBezTo>
                  <a:cubicBezTo>
                    <a:pt x="115" y="20"/>
                    <a:pt x="115" y="20"/>
                    <a:pt x="115" y="20"/>
                  </a:cubicBezTo>
                  <a:cubicBezTo>
                    <a:pt x="107" y="20"/>
                    <a:pt x="107" y="20"/>
                    <a:pt x="107" y="20"/>
                  </a:cubicBezTo>
                  <a:cubicBezTo>
                    <a:pt x="107" y="0"/>
                    <a:pt x="107" y="0"/>
                    <a:pt x="107" y="0"/>
                  </a:cubicBezTo>
                  <a:close/>
                  <a:moveTo>
                    <a:pt x="122" y="480"/>
                  </a:moveTo>
                  <a:cubicBezTo>
                    <a:pt x="107" y="480"/>
                    <a:pt x="107" y="480"/>
                    <a:pt x="107" y="480"/>
                  </a:cubicBezTo>
                  <a:cubicBezTo>
                    <a:pt x="107" y="458"/>
                    <a:pt x="107" y="458"/>
                    <a:pt x="107" y="458"/>
                  </a:cubicBezTo>
                  <a:cubicBezTo>
                    <a:pt x="115" y="458"/>
                    <a:pt x="115" y="458"/>
                    <a:pt x="115" y="458"/>
                  </a:cubicBezTo>
                  <a:cubicBezTo>
                    <a:pt x="122" y="458"/>
                    <a:pt x="122" y="458"/>
                    <a:pt x="122" y="458"/>
                  </a:cubicBezTo>
                  <a:cubicBezTo>
                    <a:pt x="122" y="480"/>
                    <a:pt x="122" y="480"/>
                    <a:pt x="122" y="480"/>
                  </a:cubicBezTo>
                  <a:close/>
                  <a:moveTo>
                    <a:pt x="122" y="55"/>
                  </a:moveTo>
                  <a:cubicBezTo>
                    <a:pt x="122" y="70"/>
                    <a:pt x="122" y="70"/>
                    <a:pt x="122" y="70"/>
                  </a:cubicBezTo>
                  <a:cubicBezTo>
                    <a:pt x="107" y="70"/>
                    <a:pt x="107" y="70"/>
                    <a:pt x="107" y="70"/>
                  </a:cubicBezTo>
                  <a:cubicBezTo>
                    <a:pt x="107" y="55"/>
                    <a:pt x="107" y="55"/>
                    <a:pt x="107" y="55"/>
                  </a:cubicBezTo>
                  <a:cubicBezTo>
                    <a:pt x="115" y="55"/>
                    <a:pt x="115" y="55"/>
                    <a:pt x="115" y="55"/>
                  </a:cubicBezTo>
                  <a:cubicBezTo>
                    <a:pt x="115" y="55"/>
                    <a:pt x="115" y="55"/>
                    <a:pt x="115"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2" y="55"/>
                    <a:pt x="122" y="55"/>
                    <a:pt x="122" y="55"/>
                  </a:cubicBezTo>
                  <a:cubicBezTo>
                    <a:pt x="122" y="55"/>
                    <a:pt x="122" y="55"/>
                    <a:pt x="122" y="55"/>
                  </a:cubicBezTo>
                  <a:cubicBezTo>
                    <a:pt x="122" y="55"/>
                    <a:pt x="122" y="55"/>
                    <a:pt x="122" y="55"/>
                  </a:cubicBezTo>
                  <a:cubicBezTo>
                    <a:pt x="122" y="55"/>
                    <a:pt x="122" y="55"/>
                    <a:pt x="122" y="55"/>
                  </a:cubicBezTo>
                  <a:cubicBezTo>
                    <a:pt x="122" y="55"/>
                    <a:pt x="122" y="55"/>
                    <a:pt x="122" y="55"/>
                  </a:cubicBezTo>
                  <a:close/>
                  <a:moveTo>
                    <a:pt x="122" y="105"/>
                  </a:move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5" y="121"/>
                    <a:pt x="115" y="121"/>
                    <a:pt x="115" y="121"/>
                  </a:cubicBezTo>
                  <a:cubicBezTo>
                    <a:pt x="115" y="121"/>
                    <a:pt x="115" y="121"/>
                    <a:pt x="115" y="121"/>
                  </a:cubicBezTo>
                  <a:cubicBezTo>
                    <a:pt x="115" y="132"/>
                    <a:pt x="115" y="144"/>
                    <a:pt x="115" y="156"/>
                  </a:cubicBezTo>
                  <a:cubicBezTo>
                    <a:pt x="115" y="156"/>
                    <a:pt x="115" y="156"/>
                    <a:pt x="115"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0" y="171"/>
                    <a:pt x="120" y="171"/>
                    <a:pt x="120" y="171"/>
                  </a:cubicBezTo>
                  <a:cubicBezTo>
                    <a:pt x="120" y="171"/>
                    <a:pt x="120" y="171"/>
                    <a:pt x="120" y="171"/>
                  </a:cubicBezTo>
                  <a:cubicBezTo>
                    <a:pt x="120" y="171"/>
                    <a:pt x="120" y="171"/>
                    <a:pt x="120" y="171"/>
                  </a:cubicBezTo>
                  <a:cubicBezTo>
                    <a:pt x="120" y="171"/>
                    <a:pt x="120" y="171"/>
                    <a:pt x="120"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8" y="171"/>
                    <a:pt x="118" y="171"/>
                    <a:pt x="118" y="171"/>
                  </a:cubicBezTo>
                  <a:cubicBezTo>
                    <a:pt x="118" y="171"/>
                    <a:pt x="118" y="171"/>
                    <a:pt x="118" y="171"/>
                  </a:cubicBezTo>
                  <a:cubicBezTo>
                    <a:pt x="118" y="171"/>
                    <a:pt x="118" y="171"/>
                    <a:pt x="118" y="171"/>
                  </a:cubicBezTo>
                  <a:cubicBezTo>
                    <a:pt x="118" y="171"/>
                    <a:pt x="118" y="171"/>
                    <a:pt x="118"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6" y="171"/>
                    <a:pt x="116" y="171"/>
                    <a:pt x="116" y="171"/>
                  </a:cubicBezTo>
                  <a:cubicBezTo>
                    <a:pt x="116" y="171"/>
                    <a:pt x="116" y="171"/>
                    <a:pt x="116" y="171"/>
                  </a:cubicBezTo>
                  <a:cubicBezTo>
                    <a:pt x="116" y="171"/>
                    <a:pt x="116" y="171"/>
                    <a:pt x="116" y="171"/>
                  </a:cubicBezTo>
                  <a:cubicBezTo>
                    <a:pt x="116" y="171"/>
                    <a:pt x="116" y="171"/>
                    <a:pt x="116" y="171"/>
                  </a:cubicBezTo>
                  <a:cubicBezTo>
                    <a:pt x="115" y="171"/>
                    <a:pt x="115" y="171"/>
                    <a:pt x="115" y="171"/>
                  </a:cubicBezTo>
                  <a:cubicBezTo>
                    <a:pt x="115" y="171"/>
                    <a:pt x="115" y="171"/>
                    <a:pt x="115" y="171"/>
                  </a:cubicBezTo>
                  <a:cubicBezTo>
                    <a:pt x="107" y="171"/>
                    <a:pt x="107" y="171"/>
                    <a:pt x="107" y="171"/>
                  </a:cubicBezTo>
                  <a:cubicBezTo>
                    <a:pt x="107" y="105"/>
                    <a:pt x="107" y="105"/>
                    <a:pt x="107" y="105"/>
                  </a:cubicBezTo>
                  <a:cubicBezTo>
                    <a:pt x="122" y="105"/>
                    <a:pt x="122" y="105"/>
                    <a:pt x="122" y="105"/>
                  </a:cubicBezTo>
                  <a:close/>
                  <a:moveTo>
                    <a:pt x="122" y="206"/>
                  </a:move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5" y="221"/>
                    <a:pt x="115" y="221"/>
                    <a:pt x="115" y="221"/>
                  </a:cubicBezTo>
                  <a:cubicBezTo>
                    <a:pt x="115" y="221"/>
                    <a:pt x="115" y="221"/>
                    <a:pt x="115" y="221"/>
                  </a:cubicBezTo>
                  <a:cubicBezTo>
                    <a:pt x="107" y="221"/>
                    <a:pt x="107" y="221"/>
                    <a:pt x="107" y="221"/>
                  </a:cubicBezTo>
                  <a:cubicBezTo>
                    <a:pt x="107" y="206"/>
                    <a:pt x="107" y="206"/>
                    <a:pt x="107" y="206"/>
                  </a:cubicBezTo>
                  <a:cubicBezTo>
                    <a:pt x="115" y="206"/>
                    <a:pt x="115" y="206"/>
                    <a:pt x="115" y="206"/>
                  </a:cubicBezTo>
                  <a:cubicBezTo>
                    <a:pt x="115" y="206"/>
                    <a:pt x="115" y="206"/>
                    <a:pt x="115" y="206"/>
                  </a:cubicBezTo>
                  <a:cubicBezTo>
                    <a:pt x="116" y="206"/>
                    <a:pt x="116" y="206"/>
                    <a:pt x="116" y="206"/>
                  </a:cubicBezTo>
                  <a:cubicBezTo>
                    <a:pt x="116" y="206"/>
                    <a:pt x="116" y="206"/>
                    <a:pt x="116" y="206"/>
                  </a:cubicBezTo>
                  <a:cubicBezTo>
                    <a:pt x="116" y="206"/>
                    <a:pt x="116" y="206"/>
                    <a:pt x="116" y="206"/>
                  </a:cubicBezTo>
                  <a:cubicBezTo>
                    <a:pt x="116" y="206"/>
                    <a:pt x="116" y="206"/>
                    <a:pt x="116"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8" y="206"/>
                    <a:pt x="118" y="206"/>
                    <a:pt x="118" y="206"/>
                  </a:cubicBezTo>
                  <a:cubicBezTo>
                    <a:pt x="118" y="206"/>
                    <a:pt x="118" y="206"/>
                    <a:pt x="118" y="206"/>
                  </a:cubicBezTo>
                  <a:cubicBezTo>
                    <a:pt x="118" y="206"/>
                    <a:pt x="118" y="206"/>
                    <a:pt x="118" y="206"/>
                  </a:cubicBezTo>
                  <a:cubicBezTo>
                    <a:pt x="118" y="206"/>
                    <a:pt x="118" y="206"/>
                    <a:pt x="118"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20" y="206"/>
                    <a:pt x="120" y="206"/>
                    <a:pt x="120" y="206"/>
                  </a:cubicBezTo>
                  <a:cubicBezTo>
                    <a:pt x="120" y="206"/>
                    <a:pt x="120" y="206"/>
                    <a:pt x="120" y="206"/>
                  </a:cubicBezTo>
                  <a:cubicBezTo>
                    <a:pt x="120" y="206"/>
                    <a:pt x="120" y="206"/>
                    <a:pt x="120" y="206"/>
                  </a:cubicBezTo>
                  <a:cubicBezTo>
                    <a:pt x="120" y="206"/>
                    <a:pt x="120" y="206"/>
                    <a:pt x="120"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lose/>
                  <a:moveTo>
                    <a:pt x="122" y="256"/>
                  </a:moveTo>
                  <a:cubicBezTo>
                    <a:pt x="122" y="272"/>
                    <a:pt x="122" y="272"/>
                    <a:pt x="122" y="272"/>
                  </a:cubicBezTo>
                  <a:cubicBezTo>
                    <a:pt x="107" y="272"/>
                    <a:pt x="107" y="272"/>
                    <a:pt x="107" y="272"/>
                  </a:cubicBezTo>
                  <a:cubicBezTo>
                    <a:pt x="107" y="256"/>
                    <a:pt x="107" y="256"/>
                    <a:pt x="107" y="256"/>
                  </a:cubicBezTo>
                  <a:cubicBezTo>
                    <a:pt x="115" y="256"/>
                    <a:pt x="115" y="256"/>
                    <a:pt x="115" y="256"/>
                  </a:cubicBezTo>
                  <a:cubicBezTo>
                    <a:pt x="115" y="256"/>
                    <a:pt x="115" y="256"/>
                    <a:pt x="115"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lose/>
                  <a:moveTo>
                    <a:pt x="122" y="307"/>
                  </a:move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5" y="322"/>
                    <a:pt x="115" y="322"/>
                    <a:pt x="115" y="322"/>
                  </a:cubicBezTo>
                  <a:cubicBezTo>
                    <a:pt x="115" y="322"/>
                    <a:pt x="115" y="322"/>
                    <a:pt x="115" y="322"/>
                  </a:cubicBezTo>
                  <a:cubicBezTo>
                    <a:pt x="115" y="334"/>
                    <a:pt x="115" y="345"/>
                    <a:pt x="115" y="357"/>
                  </a:cubicBezTo>
                  <a:cubicBezTo>
                    <a:pt x="115" y="357"/>
                    <a:pt x="115" y="357"/>
                    <a:pt x="115"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72"/>
                    <a:pt x="122" y="372"/>
                    <a:pt x="122" y="372"/>
                  </a:cubicBezTo>
                  <a:cubicBezTo>
                    <a:pt x="115" y="372"/>
                    <a:pt x="115" y="372"/>
                    <a:pt x="115" y="372"/>
                  </a:cubicBezTo>
                  <a:cubicBezTo>
                    <a:pt x="115" y="384"/>
                    <a:pt x="115" y="396"/>
                    <a:pt x="115" y="407"/>
                  </a:cubicBezTo>
                  <a:cubicBezTo>
                    <a:pt x="122" y="407"/>
                    <a:pt x="122" y="407"/>
                    <a:pt x="122" y="407"/>
                  </a:cubicBezTo>
                  <a:cubicBezTo>
                    <a:pt x="122" y="423"/>
                    <a:pt x="122" y="423"/>
                    <a:pt x="122" y="423"/>
                  </a:cubicBezTo>
                  <a:cubicBezTo>
                    <a:pt x="115" y="423"/>
                    <a:pt x="115" y="423"/>
                    <a:pt x="115" y="423"/>
                  </a:cubicBezTo>
                  <a:cubicBezTo>
                    <a:pt x="107" y="423"/>
                    <a:pt x="107" y="423"/>
                    <a:pt x="107" y="423"/>
                  </a:cubicBezTo>
                  <a:cubicBezTo>
                    <a:pt x="107" y="307"/>
                    <a:pt x="107" y="307"/>
                    <a:pt x="107" y="307"/>
                  </a:cubicBezTo>
                  <a:lnTo>
                    <a:pt x="122" y="307"/>
                  </a:lnTo>
                  <a:close/>
                  <a:moveTo>
                    <a:pt x="90" y="0"/>
                  </a:moveTo>
                  <a:cubicBezTo>
                    <a:pt x="107" y="0"/>
                    <a:pt x="107" y="0"/>
                    <a:pt x="107" y="0"/>
                  </a:cubicBezTo>
                  <a:cubicBezTo>
                    <a:pt x="107" y="20"/>
                    <a:pt x="107" y="20"/>
                    <a:pt x="107" y="20"/>
                  </a:cubicBezTo>
                  <a:cubicBezTo>
                    <a:pt x="98" y="20"/>
                    <a:pt x="98" y="20"/>
                    <a:pt x="98"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6" y="20"/>
                    <a:pt x="96" y="20"/>
                    <a:pt x="96" y="20"/>
                  </a:cubicBezTo>
                  <a:cubicBezTo>
                    <a:pt x="96" y="20"/>
                    <a:pt x="96" y="20"/>
                    <a:pt x="96" y="20"/>
                  </a:cubicBezTo>
                  <a:cubicBezTo>
                    <a:pt x="96" y="20"/>
                    <a:pt x="96" y="20"/>
                    <a:pt x="96" y="20"/>
                  </a:cubicBezTo>
                  <a:cubicBezTo>
                    <a:pt x="96" y="20"/>
                    <a:pt x="96" y="20"/>
                    <a:pt x="96" y="20"/>
                  </a:cubicBezTo>
                  <a:cubicBezTo>
                    <a:pt x="96" y="20"/>
                    <a:pt x="96" y="20"/>
                    <a:pt x="96" y="20"/>
                  </a:cubicBezTo>
                  <a:cubicBezTo>
                    <a:pt x="95" y="20"/>
                    <a:pt x="95" y="20"/>
                    <a:pt x="95" y="20"/>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3" y="20"/>
                    <a:pt x="93" y="20"/>
                  </a:cubicBezTo>
                  <a:cubicBezTo>
                    <a:pt x="93" y="20"/>
                    <a:pt x="93" y="20"/>
                    <a:pt x="93" y="20"/>
                  </a:cubicBezTo>
                  <a:cubicBezTo>
                    <a:pt x="93" y="20"/>
                    <a:pt x="93" y="20"/>
                    <a:pt x="93"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0" y="20"/>
                    <a:pt x="90" y="20"/>
                    <a:pt x="90" y="20"/>
                  </a:cubicBezTo>
                  <a:cubicBezTo>
                    <a:pt x="90" y="0"/>
                    <a:pt x="90" y="0"/>
                    <a:pt x="90" y="0"/>
                  </a:cubicBezTo>
                  <a:close/>
                  <a:moveTo>
                    <a:pt x="107" y="480"/>
                  </a:moveTo>
                  <a:cubicBezTo>
                    <a:pt x="90" y="480"/>
                    <a:pt x="90" y="480"/>
                    <a:pt x="90" y="480"/>
                  </a:cubicBezTo>
                  <a:cubicBezTo>
                    <a:pt x="90" y="458"/>
                    <a:pt x="90" y="458"/>
                    <a:pt x="90" y="458"/>
                  </a:cubicBezTo>
                  <a:cubicBezTo>
                    <a:pt x="98" y="458"/>
                    <a:pt x="98" y="458"/>
                    <a:pt x="98" y="458"/>
                  </a:cubicBezTo>
                  <a:cubicBezTo>
                    <a:pt x="107" y="458"/>
                    <a:pt x="107" y="458"/>
                    <a:pt x="107" y="458"/>
                  </a:cubicBezTo>
                  <a:cubicBezTo>
                    <a:pt x="107" y="480"/>
                    <a:pt x="107" y="480"/>
                    <a:pt x="107" y="480"/>
                  </a:cubicBezTo>
                  <a:close/>
                  <a:moveTo>
                    <a:pt x="107" y="55"/>
                  </a:moveTo>
                  <a:cubicBezTo>
                    <a:pt x="107" y="70"/>
                    <a:pt x="107" y="70"/>
                    <a:pt x="107" y="70"/>
                  </a:cubicBezTo>
                  <a:cubicBezTo>
                    <a:pt x="98" y="70"/>
                    <a:pt x="98" y="70"/>
                    <a:pt x="98"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6" y="70"/>
                    <a:pt x="96" y="70"/>
                    <a:pt x="96" y="70"/>
                  </a:cubicBezTo>
                  <a:cubicBezTo>
                    <a:pt x="96" y="70"/>
                    <a:pt x="96" y="70"/>
                    <a:pt x="96" y="70"/>
                  </a:cubicBezTo>
                  <a:cubicBezTo>
                    <a:pt x="96" y="70"/>
                    <a:pt x="96" y="70"/>
                    <a:pt x="96" y="70"/>
                  </a:cubicBezTo>
                  <a:cubicBezTo>
                    <a:pt x="96" y="70"/>
                    <a:pt x="96" y="70"/>
                    <a:pt x="96" y="70"/>
                  </a:cubicBezTo>
                  <a:cubicBezTo>
                    <a:pt x="95" y="70"/>
                    <a:pt x="95" y="70"/>
                    <a:pt x="95" y="70"/>
                  </a:cubicBezTo>
                  <a:cubicBezTo>
                    <a:pt x="95" y="70"/>
                    <a:pt x="95" y="70"/>
                    <a:pt x="95" y="70"/>
                  </a:cubicBezTo>
                  <a:cubicBezTo>
                    <a:pt x="95" y="70"/>
                    <a:pt x="95" y="70"/>
                    <a:pt x="95" y="70"/>
                  </a:cubicBezTo>
                  <a:cubicBezTo>
                    <a:pt x="95" y="70"/>
                    <a:pt x="95" y="70"/>
                    <a:pt x="95" y="70"/>
                  </a:cubicBezTo>
                  <a:cubicBezTo>
                    <a:pt x="95" y="70"/>
                    <a:pt x="95" y="70"/>
                    <a:pt x="95"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3" y="70"/>
                    <a:pt x="93" y="70"/>
                    <a:pt x="93" y="70"/>
                  </a:cubicBezTo>
                  <a:cubicBezTo>
                    <a:pt x="93" y="70"/>
                    <a:pt x="93" y="70"/>
                    <a:pt x="93" y="70"/>
                  </a:cubicBezTo>
                  <a:cubicBezTo>
                    <a:pt x="93" y="70"/>
                    <a:pt x="93" y="70"/>
                    <a:pt x="93" y="70"/>
                  </a:cubicBezTo>
                  <a:cubicBezTo>
                    <a:pt x="93" y="70"/>
                    <a:pt x="93" y="70"/>
                    <a:pt x="93" y="70"/>
                  </a:cubicBezTo>
                  <a:cubicBezTo>
                    <a:pt x="93" y="70"/>
                    <a:pt x="93" y="70"/>
                    <a:pt x="93"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1" y="70"/>
                    <a:pt x="91" y="70"/>
                    <a:pt x="91" y="70"/>
                  </a:cubicBezTo>
                  <a:cubicBezTo>
                    <a:pt x="91" y="70"/>
                    <a:pt x="91" y="70"/>
                    <a:pt x="91" y="70"/>
                  </a:cubicBezTo>
                  <a:cubicBezTo>
                    <a:pt x="91" y="70"/>
                    <a:pt x="91" y="70"/>
                    <a:pt x="91" y="70"/>
                  </a:cubicBezTo>
                  <a:cubicBezTo>
                    <a:pt x="91" y="70"/>
                    <a:pt x="91" y="70"/>
                    <a:pt x="91" y="70"/>
                  </a:cubicBezTo>
                  <a:cubicBezTo>
                    <a:pt x="91" y="70"/>
                    <a:pt x="91" y="70"/>
                    <a:pt x="91" y="70"/>
                  </a:cubicBezTo>
                  <a:cubicBezTo>
                    <a:pt x="90" y="70"/>
                    <a:pt x="90" y="70"/>
                    <a:pt x="90" y="70"/>
                  </a:cubicBezTo>
                  <a:cubicBezTo>
                    <a:pt x="90" y="55"/>
                    <a:pt x="90" y="55"/>
                    <a:pt x="90" y="55"/>
                  </a:cubicBezTo>
                  <a:cubicBezTo>
                    <a:pt x="91" y="55"/>
                    <a:pt x="91" y="55"/>
                    <a:pt x="91" y="55"/>
                  </a:cubicBezTo>
                  <a:cubicBezTo>
                    <a:pt x="91" y="55"/>
                    <a:pt x="91" y="55"/>
                    <a:pt x="91" y="55"/>
                  </a:cubicBezTo>
                  <a:cubicBezTo>
                    <a:pt x="91" y="55"/>
                    <a:pt x="91" y="55"/>
                    <a:pt x="91" y="55"/>
                  </a:cubicBezTo>
                  <a:cubicBezTo>
                    <a:pt x="91" y="55"/>
                    <a:pt x="91" y="55"/>
                    <a:pt x="91" y="55"/>
                  </a:cubicBezTo>
                  <a:cubicBezTo>
                    <a:pt x="91" y="55"/>
                    <a:pt x="91" y="55"/>
                    <a:pt x="91"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3" y="55"/>
                    <a:pt x="93" y="55"/>
                    <a:pt x="93" y="55"/>
                  </a:cubicBezTo>
                  <a:cubicBezTo>
                    <a:pt x="93" y="55"/>
                    <a:pt x="93" y="55"/>
                    <a:pt x="93" y="55"/>
                  </a:cubicBezTo>
                  <a:cubicBezTo>
                    <a:pt x="93" y="55"/>
                    <a:pt x="93" y="55"/>
                    <a:pt x="93" y="55"/>
                  </a:cubicBezTo>
                  <a:cubicBezTo>
                    <a:pt x="93" y="55"/>
                    <a:pt x="93" y="55"/>
                    <a:pt x="93" y="55"/>
                  </a:cubicBezTo>
                  <a:cubicBezTo>
                    <a:pt x="93" y="55"/>
                    <a:pt x="93" y="55"/>
                    <a:pt x="93"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5" y="55"/>
                    <a:pt x="95" y="55"/>
                    <a:pt x="95" y="55"/>
                  </a:cubicBezTo>
                  <a:cubicBezTo>
                    <a:pt x="95" y="55"/>
                    <a:pt x="95" y="55"/>
                    <a:pt x="95" y="55"/>
                  </a:cubicBezTo>
                  <a:cubicBezTo>
                    <a:pt x="95" y="55"/>
                    <a:pt x="95" y="55"/>
                    <a:pt x="95" y="55"/>
                  </a:cubicBezTo>
                  <a:cubicBezTo>
                    <a:pt x="95" y="55"/>
                    <a:pt x="95" y="55"/>
                    <a:pt x="95" y="55"/>
                  </a:cubicBezTo>
                  <a:cubicBezTo>
                    <a:pt x="96" y="55"/>
                    <a:pt x="96" y="55"/>
                    <a:pt x="96" y="55"/>
                  </a:cubicBezTo>
                  <a:cubicBezTo>
                    <a:pt x="96" y="55"/>
                    <a:pt x="96" y="55"/>
                    <a:pt x="96" y="55"/>
                  </a:cubicBezTo>
                  <a:cubicBezTo>
                    <a:pt x="96" y="55"/>
                    <a:pt x="96" y="55"/>
                    <a:pt x="96" y="55"/>
                  </a:cubicBezTo>
                  <a:cubicBezTo>
                    <a:pt x="96" y="55"/>
                    <a:pt x="96" y="55"/>
                    <a:pt x="96" y="55"/>
                  </a:cubicBezTo>
                  <a:cubicBezTo>
                    <a:pt x="96" y="55"/>
                    <a:pt x="96" y="55"/>
                    <a:pt x="96"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8" y="55"/>
                    <a:pt x="98" y="55"/>
                    <a:pt x="98" y="55"/>
                  </a:cubicBezTo>
                  <a:cubicBezTo>
                    <a:pt x="107" y="55"/>
                    <a:pt x="107" y="55"/>
                    <a:pt x="107" y="55"/>
                  </a:cubicBezTo>
                  <a:close/>
                  <a:moveTo>
                    <a:pt x="107" y="105"/>
                  </a:moveTo>
                  <a:cubicBezTo>
                    <a:pt x="107" y="171"/>
                    <a:pt x="107" y="171"/>
                    <a:pt x="107" y="171"/>
                  </a:cubicBezTo>
                  <a:cubicBezTo>
                    <a:pt x="98" y="171"/>
                    <a:pt x="98" y="171"/>
                    <a:pt x="98" y="171"/>
                  </a:cubicBezTo>
                  <a:cubicBezTo>
                    <a:pt x="90" y="171"/>
                    <a:pt x="90" y="171"/>
                    <a:pt x="90" y="171"/>
                  </a:cubicBezTo>
                  <a:cubicBezTo>
                    <a:pt x="90" y="156"/>
                    <a:pt x="90" y="156"/>
                    <a:pt x="90" y="156"/>
                  </a:cubicBezTo>
                  <a:cubicBezTo>
                    <a:pt x="98" y="156"/>
                    <a:pt x="98" y="156"/>
                    <a:pt x="98" y="156"/>
                  </a:cubicBezTo>
                  <a:cubicBezTo>
                    <a:pt x="98" y="144"/>
                    <a:pt x="98" y="132"/>
                    <a:pt x="98" y="121"/>
                  </a:cubicBezTo>
                  <a:cubicBezTo>
                    <a:pt x="90" y="121"/>
                    <a:pt x="90" y="121"/>
                    <a:pt x="90" y="121"/>
                  </a:cubicBezTo>
                  <a:cubicBezTo>
                    <a:pt x="90" y="105"/>
                    <a:pt x="90" y="105"/>
                    <a:pt x="90"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6" y="105"/>
                    <a:pt x="96" y="105"/>
                    <a:pt x="96" y="105"/>
                  </a:cubicBezTo>
                  <a:cubicBezTo>
                    <a:pt x="96" y="105"/>
                    <a:pt x="96" y="105"/>
                    <a:pt x="96" y="105"/>
                  </a:cubicBezTo>
                  <a:cubicBezTo>
                    <a:pt x="96" y="105"/>
                    <a:pt x="96" y="105"/>
                    <a:pt x="96" y="105"/>
                  </a:cubicBezTo>
                  <a:cubicBezTo>
                    <a:pt x="96" y="105"/>
                    <a:pt x="96" y="105"/>
                    <a:pt x="96"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8" y="105"/>
                    <a:pt x="98" y="105"/>
                    <a:pt x="98" y="105"/>
                  </a:cubicBezTo>
                  <a:cubicBezTo>
                    <a:pt x="107" y="105"/>
                    <a:pt x="107" y="105"/>
                    <a:pt x="107" y="105"/>
                  </a:cubicBezTo>
                  <a:close/>
                  <a:moveTo>
                    <a:pt x="107" y="206"/>
                  </a:moveTo>
                  <a:cubicBezTo>
                    <a:pt x="107" y="221"/>
                    <a:pt x="107" y="221"/>
                    <a:pt x="107" y="221"/>
                  </a:cubicBezTo>
                  <a:cubicBezTo>
                    <a:pt x="98" y="221"/>
                    <a:pt x="98" y="221"/>
                    <a:pt x="98"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5" y="221"/>
                    <a:pt x="95" y="221"/>
                    <a:pt x="95" y="221"/>
                  </a:cubicBezTo>
                  <a:cubicBezTo>
                    <a:pt x="95" y="221"/>
                    <a:pt x="95" y="221"/>
                    <a:pt x="95" y="221"/>
                  </a:cubicBezTo>
                  <a:cubicBezTo>
                    <a:pt x="95" y="221"/>
                    <a:pt x="95" y="221"/>
                    <a:pt x="95" y="221"/>
                  </a:cubicBezTo>
                  <a:cubicBezTo>
                    <a:pt x="95" y="221"/>
                    <a:pt x="95" y="221"/>
                    <a:pt x="95"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0" y="221"/>
                    <a:pt x="90" y="221"/>
                    <a:pt x="90" y="221"/>
                  </a:cubicBezTo>
                  <a:cubicBezTo>
                    <a:pt x="90" y="206"/>
                    <a:pt x="90" y="206"/>
                    <a:pt x="90" y="206"/>
                  </a:cubicBezTo>
                  <a:cubicBezTo>
                    <a:pt x="98" y="206"/>
                    <a:pt x="98" y="206"/>
                    <a:pt x="98" y="206"/>
                  </a:cubicBezTo>
                  <a:cubicBezTo>
                    <a:pt x="107" y="206"/>
                    <a:pt x="107" y="206"/>
                    <a:pt x="107" y="206"/>
                  </a:cubicBezTo>
                  <a:close/>
                  <a:moveTo>
                    <a:pt x="107" y="256"/>
                  </a:moveTo>
                  <a:cubicBezTo>
                    <a:pt x="107" y="272"/>
                    <a:pt x="107" y="272"/>
                    <a:pt x="107" y="272"/>
                  </a:cubicBezTo>
                  <a:cubicBezTo>
                    <a:pt x="98" y="272"/>
                    <a:pt x="98" y="272"/>
                    <a:pt x="98"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6" y="272"/>
                    <a:pt x="96" y="272"/>
                    <a:pt x="96" y="272"/>
                  </a:cubicBezTo>
                  <a:cubicBezTo>
                    <a:pt x="96" y="272"/>
                    <a:pt x="96" y="272"/>
                    <a:pt x="96" y="272"/>
                  </a:cubicBezTo>
                  <a:cubicBezTo>
                    <a:pt x="96" y="272"/>
                    <a:pt x="96" y="272"/>
                    <a:pt x="96" y="272"/>
                  </a:cubicBezTo>
                  <a:cubicBezTo>
                    <a:pt x="96" y="272"/>
                    <a:pt x="96" y="272"/>
                    <a:pt x="96"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0" y="272"/>
                    <a:pt x="90" y="272"/>
                    <a:pt x="90" y="272"/>
                  </a:cubicBezTo>
                  <a:cubicBezTo>
                    <a:pt x="90" y="256"/>
                    <a:pt x="90" y="256"/>
                    <a:pt x="90"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5" y="256"/>
                    <a:pt x="95" y="256"/>
                    <a:pt x="95" y="256"/>
                  </a:cubicBezTo>
                  <a:cubicBezTo>
                    <a:pt x="95" y="256"/>
                    <a:pt x="95" y="256"/>
                    <a:pt x="95" y="256"/>
                  </a:cubicBezTo>
                  <a:cubicBezTo>
                    <a:pt x="95" y="256"/>
                    <a:pt x="95" y="256"/>
                    <a:pt x="95" y="256"/>
                  </a:cubicBezTo>
                  <a:cubicBezTo>
                    <a:pt x="95" y="256"/>
                    <a:pt x="95" y="256"/>
                    <a:pt x="95"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8" y="256"/>
                    <a:pt x="98" y="256"/>
                    <a:pt x="98" y="256"/>
                  </a:cubicBezTo>
                  <a:cubicBezTo>
                    <a:pt x="107" y="256"/>
                    <a:pt x="107" y="256"/>
                    <a:pt x="107" y="256"/>
                  </a:cubicBezTo>
                  <a:close/>
                  <a:moveTo>
                    <a:pt x="107" y="307"/>
                  </a:moveTo>
                  <a:cubicBezTo>
                    <a:pt x="107" y="423"/>
                    <a:pt x="107" y="423"/>
                    <a:pt x="107" y="423"/>
                  </a:cubicBezTo>
                  <a:cubicBezTo>
                    <a:pt x="98" y="423"/>
                    <a:pt x="98" y="423"/>
                    <a:pt x="98" y="423"/>
                  </a:cubicBezTo>
                  <a:cubicBezTo>
                    <a:pt x="90" y="423"/>
                    <a:pt x="90" y="423"/>
                    <a:pt x="90" y="423"/>
                  </a:cubicBezTo>
                  <a:cubicBezTo>
                    <a:pt x="90" y="407"/>
                    <a:pt x="90" y="407"/>
                    <a:pt x="90" y="407"/>
                  </a:cubicBezTo>
                  <a:cubicBezTo>
                    <a:pt x="91" y="407"/>
                    <a:pt x="91" y="407"/>
                    <a:pt x="91" y="407"/>
                  </a:cubicBezTo>
                  <a:cubicBezTo>
                    <a:pt x="91" y="407"/>
                    <a:pt x="91" y="407"/>
                    <a:pt x="91" y="407"/>
                  </a:cubicBezTo>
                  <a:cubicBezTo>
                    <a:pt x="91" y="407"/>
                    <a:pt x="91" y="407"/>
                    <a:pt x="91" y="407"/>
                  </a:cubicBezTo>
                  <a:cubicBezTo>
                    <a:pt x="91" y="407"/>
                    <a:pt x="91" y="407"/>
                    <a:pt x="91"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3" y="407"/>
                    <a:pt x="93" y="407"/>
                    <a:pt x="93" y="407"/>
                  </a:cubicBezTo>
                  <a:cubicBezTo>
                    <a:pt x="93" y="407"/>
                    <a:pt x="93" y="407"/>
                    <a:pt x="93" y="407"/>
                  </a:cubicBezTo>
                  <a:cubicBezTo>
                    <a:pt x="93" y="407"/>
                    <a:pt x="93" y="407"/>
                    <a:pt x="93" y="407"/>
                  </a:cubicBezTo>
                  <a:cubicBezTo>
                    <a:pt x="93" y="407"/>
                    <a:pt x="93" y="407"/>
                    <a:pt x="93"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5" y="407"/>
                    <a:pt x="95" y="407"/>
                    <a:pt x="95" y="407"/>
                  </a:cubicBezTo>
                  <a:cubicBezTo>
                    <a:pt x="95" y="407"/>
                    <a:pt x="95" y="407"/>
                    <a:pt x="95" y="407"/>
                  </a:cubicBezTo>
                  <a:cubicBezTo>
                    <a:pt x="95" y="407"/>
                    <a:pt x="95" y="407"/>
                    <a:pt x="95" y="407"/>
                  </a:cubicBezTo>
                  <a:cubicBezTo>
                    <a:pt x="95" y="407"/>
                    <a:pt x="95" y="407"/>
                    <a:pt x="95" y="407"/>
                  </a:cubicBezTo>
                  <a:cubicBezTo>
                    <a:pt x="96" y="407"/>
                    <a:pt x="96" y="407"/>
                    <a:pt x="96" y="407"/>
                  </a:cubicBezTo>
                  <a:cubicBezTo>
                    <a:pt x="96" y="407"/>
                    <a:pt x="96" y="407"/>
                    <a:pt x="96" y="407"/>
                  </a:cubicBezTo>
                  <a:cubicBezTo>
                    <a:pt x="96" y="407"/>
                    <a:pt x="96" y="407"/>
                    <a:pt x="96" y="407"/>
                  </a:cubicBezTo>
                  <a:cubicBezTo>
                    <a:pt x="96" y="407"/>
                    <a:pt x="96" y="407"/>
                    <a:pt x="96"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8" y="407"/>
                    <a:pt x="98" y="407"/>
                    <a:pt x="98" y="407"/>
                  </a:cubicBezTo>
                  <a:cubicBezTo>
                    <a:pt x="98" y="396"/>
                    <a:pt x="98" y="384"/>
                    <a:pt x="98"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6" y="372"/>
                    <a:pt x="96" y="372"/>
                    <a:pt x="96" y="372"/>
                  </a:cubicBezTo>
                  <a:cubicBezTo>
                    <a:pt x="96" y="372"/>
                    <a:pt x="96" y="372"/>
                    <a:pt x="96" y="372"/>
                  </a:cubicBezTo>
                  <a:cubicBezTo>
                    <a:pt x="96" y="372"/>
                    <a:pt x="96" y="372"/>
                    <a:pt x="96" y="372"/>
                  </a:cubicBezTo>
                  <a:cubicBezTo>
                    <a:pt x="96" y="372"/>
                    <a:pt x="96" y="372"/>
                    <a:pt x="96" y="372"/>
                  </a:cubicBezTo>
                  <a:cubicBezTo>
                    <a:pt x="95" y="372"/>
                    <a:pt x="95" y="372"/>
                    <a:pt x="95" y="372"/>
                  </a:cubicBezTo>
                  <a:cubicBezTo>
                    <a:pt x="95" y="372"/>
                    <a:pt x="95" y="372"/>
                    <a:pt x="95" y="372"/>
                  </a:cubicBezTo>
                  <a:cubicBezTo>
                    <a:pt x="95" y="372"/>
                    <a:pt x="95" y="372"/>
                    <a:pt x="95" y="372"/>
                  </a:cubicBezTo>
                  <a:cubicBezTo>
                    <a:pt x="95" y="372"/>
                    <a:pt x="95" y="372"/>
                    <a:pt x="95"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3" y="372"/>
                    <a:pt x="93" y="372"/>
                    <a:pt x="93" y="372"/>
                  </a:cubicBezTo>
                  <a:cubicBezTo>
                    <a:pt x="93" y="372"/>
                    <a:pt x="93" y="372"/>
                    <a:pt x="93" y="372"/>
                  </a:cubicBezTo>
                  <a:cubicBezTo>
                    <a:pt x="93" y="372"/>
                    <a:pt x="93" y="372"/>
                    <a:pt x="93" y="372"/>
                  </a:cubicBezTo>
                  <a:cubicBezTo>
                    <a:pt x="93" y="372"/>
                    <a:pt x="93" y="372"/>
                    <a:pt x="93"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1" y="372"/>
                    <a:pt x="91" y="372"/>
                    <a:pt x="91" y="372"/>
                  </a:cubicBezTo>
                  <a:cubicBezTo>
                    <a:pt x="91" y="372"/>
                    <a:pt x="91" y="372"/>
                    <a:pt x="91" y="372"/>
                  </a:cubicBezTo>
                  <a:cubicBezTo>
                    <a:pt x="91" y="372"/>
                    <a:pt x="91" y="372"/>
                    <a:pt x="91" y="372"/>
                  </a:cubicBezTo>
                  <a:cubicBezTo>
                    <a:pt x="91" y="372"/>
                    <a:pt x="91" y="372"/>
                    <a:pt x="91" y="372"/>
                  </a:cubicBezTo>
                  <a:cubicBezTo>
                    <a:pt x="90" y="372"/>
                    <a:pt x="90" y="372"/>
                    <a:pt x="90" y="372"/>
                  </a:cubicBezTo>
                  <a:cubicBezTo>
                    <a:pt x="90" y="357"/>
                    <a:pt x="90" y="357"/>
                    <a:pt x="90" y="357"/>
                  </a:cubicBezTo>
                  <a:cubicBezTo>
                    <a:pt x="98" y="357"/>
                    <a:pt x="98" y="357"/>
                    <a:pt x="98" y="357"/>
                  </a:cubicBezTo>
                  <a:cubicBezTo>
                    <a:pt x="98" y="345"/>
                    <a:pt x="98" y="334"/>
                    <a:pt x="98" y="322"/>
                  </a:cubicBezTo>
                  <a:cubicBezTo>
                    <a:pt x="90" y="322"/>
                    <a:pt x="90" y="322"/>
                    <a:pt x="90" y="322"/>
                  </a:cubicBezTo>
                  <a:cubicBezTo>
                    <a:pt x="90" y="307"/>
                    <a:pt x="90" y="307"/>
                    <a:pt x="90"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6" y="307"/>
                    <a:pt x="96" y="307"/>
                    <a:pt x="96" y="307"/>
                  </a:cubicBezTo>
                  <a:cubicBezTo>
                    <a:pt x="96" y="307"/>
                    <a:pt x="96" y="307"/>
                    <a:pt x="96" y="307"/>
                  </a:cubicBezTo>
                  <a:cubicBezTo>
                    <a:pt x="96" y="307"/>
                    <a:pt x="96" y="307"/>
                    <a:pt x="96" y="307"/>
                  </a:cubicBezTo>
                  <a:cubicBezTo>
                    <a:pt x="96" y="307"/>
                    <a:pt x="96" y="307"/>
                    <a:pt x="96"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8" y="307"/>
                    <a:pt x="98" y="307"/>
                    <a:pt x="98" y="307"/>
                  </a:cubicBezTo>
                  <a:lnTo>
                    <a:pt x="107" y="307"/>
                  </a:lnTo>
                  <a:close/>
                  <a:moveTo>
                    <a:pt x="59" y="0"/>
                  </a:moveTo>
                  <a:cubicBezTo>
                    <a:pt x="90" y="0"/>
                    <a:pt x="90" y="0"/>
                    <a:pt x="90" y="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8" y="20"/>
                    <a:pt x="88" y="20"/>
                    <a:pt x="88" y="20"/>
                  </a:cubicBezTo>
                  <a:cubicBezTo>
                    <a:pt x="88" y="20"/>
                    <a:pt x="88" y="20"/>
                    <a:pt x="88" y="20"/>
                  </a:cubicBezTo>
                  <a:cubicBezTo>
                    <a:pt x="88" y="20"/>
                    <a:pt x="88" y="20"/>
                    <a:pt x="88" y="20"/>
                  </a:cubicBezTo>
                  <a:cubicBezTo>
                    <a:pt x="88" y="20"/>
                    <a:pt x="88" y="20"/>
                    <a:pt x="88" y="20"/>
                  </a:cubicBezTo>
                  <a:cubicBezTo>
                    <a:pt x="88" y="20"/>
                    <a:pt x="88" y="20"/>
                    <a:pt x="88"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6" y="20"/>
                    <a:pt x="86" y="20"/>
                    <a:pt x="86" y="20"/>
                  </a:cubicBezTo>
                  <a:cubicBezTo>
                    <a:pt x="86" y="20"/>
                    <a:pt x="86" y="20"/>
                    <a:pt x="86" y="20"/>
                  </a:cubicBezTo>
                  <a:cubicBezTo>
                    <a:pt x="86" y="20"/>
                    <a:pt x="86" y="20"/>
                    <a:pt x="86" y="20"/>
                  </a:cubicBezTo>
                  <a:cubicBezTo>
                    <a:pt x="86" y="20"/>
                    <a:pt x="86" y="20"/>
                    <a:pt x="86" y="20"/>
                  </a:cubicBezTo>
                  <a:cubicBezTo>
                    <a:pt x="86" y="20"/>
                    <a:pt x="86" y="20"/>
                    <a:pt x="86" y="20"/>
                  </a:cubicBezTo>
                  <a:cubicBezTo>
                    <a:pt x="85" y="20"/>
                    <a:pt x="85" y="20"/>
                    <a:pt x="85" y="20"/>
                  </a:cubicBezTo>
                  <a:cubicBezTo>
                    <a:pt x="85" y="20"/>
                    <a:pt x="85" y="20"/>
                    <a:pt x="85" y="20"/>
                  </a:cubicBezTo>
                  <a:cubicBezTo>
                    <a:pt x="85" y="20"/>
                    <a:pt x="85" y="20"/>
                    <a:pt x="85" y="20"/>
                  </a:cubicBezTo>
                  <a:cubicBezTo>
                    <a:pt x="85" y="20"/>
                    <a:pt x="85" y="20"/>
                    <a:pt x="85" y="20"/>
                  </a:cubicBezTo>
                  <a:cubicBezTo>
                    <a:pt x="85" y="20"/>
                    <a:pt x="85" y="20"/>
                    <a:pt x="85" y="20"/>
                  </a:cubicBezTo>
                  <a:cubicBezTo>
                    <a:pt x="84" y="20"/>
                    <a:pt x="84" y="20"/>
                    <a:pt x="84" y="20"/>
                  </a:cubicBezTo>
                  <a:cubicBezTo>
                    <a:pt x="84" y="20"/>
                    <a:pt x="84" y="20"/>
                    <a:pt x="84" y="20"/>
                  </a:cubicBezTo>
                  <a:cubicBezTo>
                    <a:pt x="84" y="20"/>
                    <a:pt x="84" y="20"/>
                    <a:pt x="84" y="20"/>
                  </a:cubicBezTo>
                  <a:cubicBezTo>
                    <a:pt x="84" y="20"/>
                    <a:pt x="84" y="20"/>
                    <a:pt x="84" y="20"/>
                  </a:cubicBezTo>
                  <a:cubicBezTo>
                    <a:pt x="84" y="20"/>
                    <a:pt x="84" y="20"/>
                    <a:pt x="84" y="20"/>
                  </a:cubicBezTo>
                  <a:cubicBezTo>
                    <a:pt x="83" y="20"/>
                    <a:pt x="83" y="20"/>
                    <a:pt x="83" y="20"/>
                  </a:cubicBezTo>
                  <a:cubicBezTo>
                    <a:pt x="83" y="20"/>
                    <a:pt x="83" y="20"/>
                    <a:pt x="83" y="20"/>
                  </a:cubicBezTo>
                  <a:cubicBezTo>
                    <a:pt x="83" y="32"/>
                    <a:pt x="83" y="43"/>
                    <a:pt x="83" y="55"/>
                  </a:cubicBezTo>
                  <a:cubicBezTo>
                    <a:pt x="83" y="55"/>
                    <a:pt x="83" y="55"/>
                    <a:pt x="83" y="55"/>
                  </a:cubicBezTo>
                  <a:cubicBezTo>
                    <a:pt x="84" y="55"/>
                    <a:pt x="84" y="55"/>
                    <a:pt x="84" y="55"/>
                  </a:cubicBezTo>
                  <a:cubicBezTo>
                    <a:pt x="84" y="55"/>
                    <a:pt x="84" y="55"/>
                    <a:pt x="84" y="55"/>
                  </a:cubicBezTo>
                  <a:cubicBezTo>
                    <a:pt x="84" y="55"/>
                    <a:pt x="84" y="55"/>
                    <a:pt x="84" y="55"/>
                  </a:cubicBezTo>
                  <a:cubicBezTo>
                    <a:pt x="84" y="55"/>
                    <a:pt x="84" y="55"/>
                    <a:pt x="84" y="55"/>
                  </a:cubicBezTo>
                  <a:cubicBezTo>
                    <a:pt x="84" y="55"/>
                    <a:pt x="84" y="55"/>
                    <a:pt x="84"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6" y="55"/>
                    <a:pt x="86" y="55"/>
                    <a:pt x="86" y="55"/>
                  </a:cubicBezTo>
                  <a:cubicBezTo>
                    <a:pt x="86" y="55"/>
                    <a:pt x="86" y="55"/>
                    <a:pt x="86" y="55"/>
                  </a:cubicBezTo>
                  <a:cubicBezTo>
                    <a:pt x="86" y="55"/>
                    <a:pt x="86" y="55"/>
                    <a:pt x="86" y="55"/>
                  </a:cubicBezTo>
                  <a:cubicBezTo>
                    <a:pt x="86" y="55"/>
                    <a:pt x="86" y="55"/>
                    <a:pt x="86" y="55"/>
                  </a:cubicBezTo>
                  <a:cubicBezTo>
                    <a:pt x="86" y="55"/>
                    <a:pt x="86" y="55"/>
                    <a:pt x="86"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8" y="55"/>
                    <a:pt x="88" y="55"/>
                    <a:pt x="88" y="55"/>
                  </a:cubicBezTo>
                  <a:cubicBezTo>
                    <a:pt x="88" y="55"/>
                    <a:pt x="88" y="55"/>
                    <a:pt x="88" y="55"/>
                  </a:cubicBezTo>
                  <a:cubicBezTo>
                    <a:pt x="88" y="55"/>
                    <a:pt x="88" y="55"/>
                    <a:pt x="88" y="55"/>
                  </a:cubicBezTo>
                  <a:cubicBezTo>
                    <a:pt x="88" y="55"/>
                    <a:pt x="88" y="55"/>
                    <a:pt x="88" y="55"/>
                  </a:cubicBezTo>
                  <a:cubicBezTo>
                    <a:pt x="88" y="55"/>
                    <a:pt x="88" y="55"/>
                    <a:pt x="88"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90" y="55"/>
                    <a:pt x="90" y="55"/>
                    <a:pt x="90" y="55"/>
                  </a:cubicBezTo>
                  <a:cubicBezTo>
                    <a:pt x="90" y="55"/>
                    <a:pt x="90" y="55"/>
                    <a:pt x="90" y="55"/>
                  </a:cubicBezTo>
                  <a:cubicBezTo>
                    <a:pt x="90" y="55"/>
                    <a:pt x="90" y="55"/>
                    <a:pt x="90" y="55"/>
                  </a:cubicBezTo>
                  <a:cubicBezTo>
                    <a:pt x="90" y="55"/>
                    <a:pt x="90" y="55"/>
                    <a:pt x="90" y="55"/>
                  </a:cubicBezTo>
                  <a:cubicBezTo>
                    <a:pt x="90" y="55"/>
                    <a:pt x="90" y="55"/>
                    <a:pt x="90" y="55"/>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8" y="70"/>
                    <a:pt x="88" y="70"/>
                    <a:pt x="88" y="70"/>
                  </a:cubicBezTo>
                  <a:cubicBezTo>
                    <a:pt x="88" y="70"/>
                    <a:pt x="88" y="70"/>
                    <a:pt x="88" y="70"/>
                  </a:cubicBezTo>
                  <a:cubicBezTo>
                    <a:pt x="88" y="70"/>
                    <a:pt x="88" y="70"/>
                    <a:pt x="88" y="70"/>
                  </a:cubicBezTo>
                  <a:cubicBezTo>
                    <a:pt x="88" y="70"/>
                    <a:pt x="88" y="70"/>
                    <a:pt x="88" y="70"/>
                  </a:cubicBezTo>
                  <a:cubicBezTo>
                    <a:pt x="88" y="70"/>
                    <a:pt x="88" y="70"/>
                    <a:pt x="88"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6" y="70"/>
                    <a:pt x="86" y="70"/>
                    <a:pt x="86" y="70"/>
                  </a:cubicBezTo>
                  <a:cubicBezTo>
                    <a:pt x="86" y="70"/>
                    <a:pt x="86" y="70"/>
                    <a:pt x="86" y="70"/>
                  </a:cubicBezTo>
                  <a:cubicBezTo>
                    <a:pt x="86" y="70"/>
                    <a:pt x="86" y="70"/>
                    <a:pt x="86" y="70"/>
                  </a:cubicBezTo>
                  <a:cubicBezTo>
                    <a:pt x="86" y="70"/>
                    <a:pt x="86" y="70"/>
                    <a:pt x="86" y="70"/>
                  </a:cubicBezTo>
                  <a:cubicBezTo>
                    <a:pt x="86" y="70"/>
                    <a:pt x="86" y="70"/>
                    <a:pt x="86" y="70"/>
                  </a:cubicBezTo>
                  <a:cubicBezTo>
                    <a:pt x="85" y="70"/>
                    <a:pt x="85" y="70"/>
                    <a:pt x="85" y="70"/>
                  </a:cubicBezTo>
                  <a:cubicBezTo>
                    <a:pt x="85" y="70"/>
                    <a:pt x="85" y="70"/>
                    <a:pt x="85" y="70"/>
                  </a:cubicBezTo>
                  <a:cubicBezTo>
                    <a:pt x="85" y="70"/>
                    <a:pt x="85" y="70"/>
                    <a:pt x="85" y="70"/>
                  </a:cubicBezTo>
                  <a:cubicBezTo>
                    <a:pt x="85" y="70"/>
                    <a:pt x="85" y="70"/>
                    <a:pt x="85" y="70"/>
                  </a:cubicBezTo>
                  <a:cubicBezTo>
                    <a:pt x="85" y="70"/>
                    <a:pt x="85" y="70"/>
                    <a:pt x="85" y="70"/>
                  </a:cubicBezTo>
                  <a:cubicBezTo>
                    <a:pt x="84" y="70"/>
                    <a:pt x="84" y="70"/>
                    <a:pt x="84" y="70"/>
                  </a:cubicBezTo>
                  <a:cubicBezTo>
                    <a:pt x="84" y="70"/>
                    <a:pt x="84" y="70"/>
                    <a:pt x="84" y="70"/>
                  </a:cubicBezTo>
                  <a:cubicBezTo>
                    <a:pt x="84" y="70"/>
                    <a:pt x="84" y="70"/>
                    <a:pt x="84" y="70"/>
                  </a:cubicBezTo>
                  <a:cubicBezTo>
                    <a:pt x="84" y="70"/>
                    <a:pt x="84" y="70"/>
                    <a:pt x="84" y="70"/>
                  </a:cubicBezTo>
                  <a:cubicBezTo>
                    <a:pt x="84" y="70"/>
                    <a:pt x="84" y="70"/>
                    <a:pt x="84" y="70"/>
                  </a:cubicBezTo>
                  <a:cubicBezTo>
                    <a:pt x="83" y="70"/>
                    <a:pt x="83" y="70"/>
                    <a:pt x="83" y="70"/>
                  </a:cubicBezTo>
                  <a:cubicBezTo>
                    <a:pt x="83" y="70"/>
                    <a:pt x="83" y="70"/>
                    <a:pt x="83" y="70"/>
                  </a:cubicBezTo>
                  <a:cubicBezTo>
                    <a:pt x="66" y="70"/>
                    <a:pt x="66" y="70"/>
                    <a:pt x="66" y="70"/>
                  </a:cubicBezTo>
                  <a:cubicBezTo>
                    <a:pt x="66" y="70"/>
                    <a:pt x="66" y="70"/>
                    <a:pt x="66"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4" y="70"/>
                    <a:pt x="64" y="70"/>
                    <a:pt x="64" y="70"/>
                  </a:cubicBezTo>
                  <a:cubicBezTo>
                    <a:pt x="64" y="70"/>
                    <a:pt x="64" y="70"/>
                    <a:pt x="64" y="70"/>
                  </a:cubicBezTo>
                  <a:cubicBezTo>
                    <a:pt x="64" y="70"/>
                    <a:pt x="64" y="70"/>
                    <a:pt x="64" y="70"/>
                  </a:cubicBezTo>
                  <a:cubicBezTo>
                    <a:pt x="64" y="70"/>
                    <a:pt x="64" y="70"/>
                    <a:pt x="64" y="70"/>
                  </a:cubicBezTo>
                  <a:cubicBezTo>
                    <a:pt x="64" y="70"/>
                    <a:pt x="64" y="70"/>
                    <a:pt x="64" y="70"/>
                  </a:cubicBezTo>
                  <a:cubicBezTo>
                    <a:pt x="63" y="70"/>
                    <a:pt x="63" y="70"/>
                    <a:pt x="63" y="70"/>
                  </a:cubicBezTo>
                  <a:cubicBezTo>
                    <a:pt x="63" y="70"/>
                    <a:pt x="63" y="70"/>
                    <a:pt x="63" y="70"/>
                  </a:cubicBezTo>
                  <a:cubicBezTo>
                    <a:pt x="63" y="70"/>
                    <a:pt x="63" y="70"/>
                    <a:pt x="63" y="70"/>
                  </a:cubicBezTo>
                  <a:cubicBezTo>
                    <a:pt x="63" y="70"/>
                    <a:pt x="63" y="70"/>
                    <a:pt x="63" y="70"/>
                  </a:cubicBezTo>
                  <a:cubicBezTo>
                    <a:pt x="63" y="70"/>
                    <a:pt x="63" y="70"/>
                    <a:pt x="63" y="70"/>
                  </a:cubicBezTo>
                  <a:cubicBezTo>
                    <a:pt x="62" y="70"/>
                    <a:pt x="62" y="70"/>
                    <a:pt x="62" y="70"/>
                  </a:cubicBezTo>
                  <a:cubicBezTo>
                    <a:pt x="62" y="70"/>
                    <a:pt x="62" y="70"/>
                    <a:pt x="62" y="70"/>
                  </a:cubicBezTo>
                  <a:cubicBezTo>
                    <a:pt x="62" y="70"/>
                    <a:pt x="62" y="70"/>
                    <a:pt x="62" y="70"/>
                  </a:cubicBezTo>
                  <a:cubicBezTo>
                    <a:pt x="62" y="70"/>
                    <a:pt x="62" y="70"/>
                    <a:pt x="62" y="70"/>
                  </a:cubicBezTo>
                  <a:cubicBezTo>
                    <a:pt x="62" y="70"/>
                    <a:pt x="62" y="70"/>
                    <a:pt x="62" y="70"/>
                  </a:cubicBezTo>
                  <a:cubicBezTo>
                    <a:pt x="61" y="70"/>
                    <a:pt x="61" y="70"/>
                    <a:pt x="61" y="70"/>
                  </a:cubicBezTo>
                  <a:cubicBezTo>
                    <a:pt x="61" y="70"/>
                    <a:pt x="61" y="70"/>
                    <a:pt x="61" y="70"/>
                  </a:cubicBezTo>
                  <a:cubicBezTo>
                    <a:pt x="61" y="70"/>
                    <a:pt x="61" y="70"/>
                    <a:pt x="61" y="70"/>
                  </a:cubicBezTo>
                  <a:cubicBezTo>
                    <a:pt x="61" y="70"/>
                    <a:pt x="61" y="70"/>
                    <a:pt x="61" y="70"/>
                  </a:cubicBezTo>
                  <a:cubicBezTo>
                    <a:pt x="61" y="70"/>
                    <a:pt x="61" y="70"/>
                    <a:pt x="61"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59" y="70"/>
                    <a:pt x="59" y="70"/>
                    <a:pt x="59" y="70"/>
                  </a:cubicBezTo>
                  <a:cubicBezTo>
                    <a:pt x="59" y="70"/>
                    <a:pt x="59" y="70"/>
                    <a:pt x="59" y="70"/>
                  </a:cubicBezTo>
                  <a:cubicBezTo>
                    <a:pt x="59" y="70"/>
                    <a:pt x="59" y="70"/>
                    <a:pt x="59" y="70"/>
                  </a:cubicBezTo>
                  <a:cubicBezTo>
                    <a:pt x="59" y="70"/>
                    <a:pt x="59" y="70"/>
                    <a:pt x="59" y="70"/>
                  </a:cubicBezTo>
                  <a:cubicBezTo>
                    <a:pt x="59" y="70"/>
                    <a:pt x="59" y="70"/>
                    <a:pt x="59" y="70"/>
                  </a:cubicBezTo>
                  <a:cubicBezTo>
                    <a:pt x="59" y="55"/>
                    <a:pt x="59" y="55"/>
                    <a:pt x="59" y="55"/>
                  </a:cubicBezTo>
                  <a:cubicBezTo>
                    <a:pt x="66" y="55"/>
                    <a:pt x="66" y="55"/>
                    <a:pt x="66" y="55"/>
                  </a:cubicBezTo>
                  <a:cubicBezTo>
                    <a:pt x="66" y="43"/>
                    <a:pt x="66" y="32"/>
                    <a:pt x="66" y="20"/>
                  </a:cubicBezTo>
                  <a:cubicBezTo>
                    <a:pt x="59" y="20"/>
                    <a:pt x="59" y="20"/>
                    <a:pt x="59" y="20"/>
                  </a:cubicBezTo>
                  <a:cubicBezTo>
                    <a:pt x="59" y="0"/>
                    <a:pt x="59" y="0"/>
                    <a:pt x="59" y="0"/>
                  </a:cubicBezTo>
                  <a:close/>
                  <a:moveTo>
                    <a:pt x="90" y="480"/>
                  </a:moveTo>
                  <a:cubicBezTo>
                    <a:pt x="59" y="480"/>
                    <a:pt x="59" y="480"/>
                    <a:pt x="59" y="480"/>
                  </a:cubicBezTo>
                  <a:cubicBezTo>
                    <a:pt x="59" y="458"/>
                    <a:pt x="59" y="458"/>
                    <a:pt x="59" y="458"/>
                  </a:cubicBezTo>
                  <a:cubicBezTo>
                    <a:pt x="59" y="458"/>
                    <a:pt x="59" y="458"/>
                    <a:pt x="59" y="458"/>
                  </a:cubicBezTo>
                  <a:cubicBezTo>
                    <a:pt x="59" y="458"/>
                    <a:pt x="59" y="458"/>
                    <a:pt x="59" y="458"/>
                  </a:cubicBezTo>
                  <a:cubicBezTo>
                    <a:pt x="59" y="458"/>
                    <a:pt x="59" y="458"/>
                    <a:pt x="59"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1" y="458"/>
                    <a:pt x="61" y="458"/>
                    <a:pt x="61" y="458"/>
                  </a:cubicBezTo>
                  <a:cubicBezTo>
                    <a:pt x="61" y="458"/>
                    <a:pt x="61" y="458"/>
                    <a:pt x="61" y="458"/>
                  </a:cubicBezTo>
                  <a:cubicBezTo>
                    <a:pt x="61" y="458"/>
                    <a:pt x="61" y="458"/>
                    <a:pt x="61" y="458"/>
                  </a:cubicBezTo>
                  <a:cubicBezTo>
                    <a:pt x="61" y="458"/>
                    <a:pt x="61" y="458"/>
                    <a:pt x="61"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6" y="458"/>
                    <a:pt x="66" y="458"/>
                    <a:pt x="66" y="458"/>
                  </a:cubicBezTo>
                  <a:cubicBezTo>
                    <a:pt x="66" y="458"/>
                    <a:pt x="66" y="458"/>
                    <a:pt x="66" y="458"/>
                  </a:cubicBezTo>
                  <a:cubicBezTo>
                    <a:pt x="83" y="458"/>
                    <a:pt x="83" y="458"/>
                    <a:pt x="83" y="458"/>
                  </a:cubicBezTo>
                  <a:cubicBezTo>
                    <a:pt x="90" y="458"/>
                    <a:pt x="90" y="458"/>
                    <a:pt x="90" y="458"/>
                  </a:cubicBezTo>
                  <a:cubicBezTo>
                    <a:pt x="90" y="480"/>
                    <a:pt x="90" y="480"/>
                    <a:pt x="90" y="480"/>
                  </a:cubicBezTo>
                  <a:close/>
                  <a:moveTo>
                    <a:pt x="90" y="105"/>
                  </a:moveTo>
                  <a:cubicBezTo>
                    <a:pt x="90" y="121"/>
                    <a:pt x="90" y="121"/>
                    <a:pt x="90" y="121"/>
                  </a:cubicBezTo>
                  <a:cubicBezTo>
                    <a:pt x="83" y="121"/>
                    <a:pt x="83" y="121"/>
                    <a:pt x="83" y="121"/>
                  </a:cubicBezTo>
                  <a:cubicBezTo>
                    <a:pt x="83" y="132"/>
                    <a:pt x="83" y="144"/>
                    <a:pt x="83" y="156"/>
                  </a:cubicBezTo>
                  <a:cubicBezTo>
                    <a:pt x="90" y="156"/>
                    <a:pt x="90" y="156"/>
                    <a:pt x="90" y="156"/>
                  </a:cubicBezTo>
                  <a:cubicBezTo>
                    <a:pt x="90" y="171"/>
                    <a:pt x="90" y="171"/>
                    <a:pt x="90" y="171"/>
                  </a:cubicBezTo>
                  <a:cubicBezTo>
                    <a:pt x="83" y="171"/>
                    <a:pt x="83" y="171"/>
                    <a:pt x="83" y="171"/>
                  </a:cubicBezTo>
                  <a:cubicBezTo>
                    <a:pt x="66" y="171"/>
                    <a:pt x="66" y="171"/>
                    <a:pt x="66" y="171"/>
                  </a:cubicBezTo>
                  <a:cubicBezTo>
                    <a:pt x="66" y="171"/>
                    <a:pt x="66" y="171"/>
                    <a:pt x="66"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2" y="171"/>
                    <a:pt x="62" y="171"/>
                    <a:pt x="62" y="171"/>
                  </a:cubicBezTo>
                  <a:cubicBezTo>
                    <a:pt x="62" y="171"/>
                    <a:pt x="62" y="171"/>
                    <a:pt x="62" y="171"/>
                  </a:cubicBezTo>
                  <a:cubicBezTo>
                    <a:pt x="62" y="171"/>
                    <a:pt x="62" y="171"/>
                    <a:pt x="62" y="171"/>
                  </a:cubicBezTo>
                  <a:cubicBezTo>
                    <a:pt x="62" y="171"/>
                    <a:pt x="62" y="171"/>
                    <a:pt x="62"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56"/>
                    <a:pt x="59" y="156"/>
                    <a:pt x="59" y="156"/>
                  </a:cubicBezTo>
                  <a:cubicBezTo>
                    <a:pt x="66" y="156"/>
                    <a:pt x="66" y="156"/>
                    <a:pt x="66" y="156"/>
                  </a:cubicBezTo>
                  <a:cubicBezTo>
                    <a:pt x="66" y="144"/>
                    <a:pt x="66" y="132"/>
                    <a:pt x="66" y="121"/>
                  </a:cubicBezTo>
                  <a:cubicBezTo>
                    <a:pt x="59" y="121"/>
                    <a:pt x="59" y="121"/>
                    <a:pt x="59" y="121"/>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6" y="105"/>
                    <a:pt x="66" y="105"/>
                    <a:pt x="66" y="105"/>
                  </a:cubicBezTo>
                  <a:cubicBezTo>
                    <a:pt x="66" y="105"/>
                    <a:pt x="66" y="105"/>
                    <a:pt x="66" y="105"/>
                  </a:cubicBezTo>
                  <a:cubicBezTo>
                    <a:pt x="83" y="105"/>
                    <a:pt x="83" y="105"/>
                    <a:pt x="83" y="105"/>
                  </a:cubicBezTo>
                  <a:cubicBezTo>
                    <a:pt x="83" y="105"/>
                    <a:pt x="83" y="105"/>
                    <a:pt x="83"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90" y="105"/>
                    <a:pt x="90" y="105"/>
                    <a:pt x="90" y="105"/>
                  </a:cubicBezTo>
                  <a:cubicBezTo>
                    <a:pt x="90" y="105"/>
                    <a:pt x="90" y="105"/>
                    <a:pt x="90" y="105"/>
                  </a:cubicBezTo>
                  <a:cubicBezTo>
                    <a:pt x="90" y="105"/>
                    <a:pt x="90" y="105"/>
                    <a:pt x="90" y="105"/>
                  </a:cubicBezTo>
                  <a:cubicBezTo>
                    <a:pt x="90" y="105"/>
                    <a:pt x="90" y="105"/>
                    <a:pt x="90" y="105"/>
                  </a:cubicBezTo>
                  <a:cubicBezTo>
                    <a:pt x="90" y="105"/>
                    <a:pt x="90" y="105"/>
                    <a:pt x="90" y="105"/>
                  </a:cubicBezTo>
                  <a:close/>
                  <a:moveTo>
                    <a:pt x="90" y="206"/>
                  </a:moveTo>
                  <a:cubicBezTo>
                    <a:pt x="90" y="221"/>
                    <a:pt x="90" y="221"/>
                    <a:pt x="90" y="221"/>
                  </a:cubicBezTo>
                  <a:cubicBezTo>
                    <a:pt x="90" y="221"/>
                    <a:pt x="90" y="221"/>
                    <a:pt x="90" y="221"/>
                  </a:cubicBezTo>
                  <a:cubicBezTo>
                    <a:pt x="90" y="221"/>
                    <a:pt x="90" y="221"/>
                    <a:pt x="90" y="221"/>
                  </a:cubicBezTo>
                  <a:cubicBezTo>
                    <a:pt x="90" y="221"/>
                    <a:pt x="90" y="221"/>
                    <a:pt x="90" y="221"/>
                  </a:cubicBezTo>
                  <a:cubicBezTo>
                    <a:pt x="90" y="221"/>
                    <a:pt x="90" y="221"/>
                    <a:pt x="90"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3" y="221"/>
                    <a:pt x="83" y="221"/>
                    <a:pt x="83" y="221"/>
                  </a:cubicBezTo>
                  <a:cubicBezTo>
                    <a:pt x="83" y="221"/>
                    <a:pt x="83" y="221"/>
                    <a:pt x="83" y="221"/>
                  </a:cubicBezTo>
                  <a:cubicBezTo>
                    <a:pt x="83" y="233"/>
                    <a:pt x="83" y="245"/>
                    <a:pt x="83" y="256"/>
                  </a:cubicBezTo>
                  <a:cubicBezTo>
                    <a:pt x="83" y="256"/>
                    <a:pt x="83" y="256"/>
                    <a:pt x="83"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3" y="272"/>
                    <a:pt x="83" y="272"/>
                    <a:pt x="83" y="272"/>
                  </a:cubicBezTo>
                  <a:cubicBezTo>
                    <a:pt x="83" y="272"/>
                    <a:pt x="83" y="272"/>
                    <a:pt x="83" y="272"/>
                  </a:cubicBezTo>
                  <a:cubicBezTo>
                    <a:pt x="66" y="272"/>
                    <a:pt x="66" y="272"/>
                    <a:pt x="66" y="272"/>
                  </a:cubicBezTo>
                  <a:cubicBezTo>
                    <a:pt x="66" y="272"/>
                    <a:pt x="66" y="272"/>
                    <a:pt x="66"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56"/>
                    <a:pt x="59" y="256"/>
                    <a:pt x="59" y="256"/>
                  </a:cubicBezTo>
                  <a:cubicBezTo>
                    <a:pt x="66" y="256"/>
                    <a:pt x="66" y="256"/>
                    <a:pt x="66" y="256"/>
                  </a:cubicBezTo>
                  <a:cubicBezTo>
                    <a:pt x="66" y="245"/>
                    <a:pt x="66" y="233"/>
                    <a:pt x="66" y="221"/>
                  </a:cubicBezTo>
                  <a:cubicBezTo>
                    <a:pt x="59" y="221"/>
                    <a:pt x="59" y="221"/>
                    <a:pt x="59" y="221"/>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2" y="206"/>
                    <a:pt x="62" y="206"/>
                    <a:pt x="62" y="206"/>
                  </a:cubicBezTo>
                  <a:cubicBezTo>
                    <a:pt x="62" y="206"/>
                    <a:pt x="62" y="206"/>
                    <a:pt x="62" y="206"/>
                  </a:cubicBezTo>
                  <a:cubicBezTo>
                    <a:pt x="62" y="206"/>
                    <a:pt x="62" y="206"/>
                    <a:pt x="62" y="206"/>
                  </a:cubicBezTo>
                  <a:cubicBezTo>
                    <a:pt x="62" y="206"/>
                    <a:pt x="62" y="206"/>
                    <a:pt x="62"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6" y="206"/>
                    <a:pt x="66" y="206"/>
                    <a:pt x="66" y="206"/>
                  </a:cubicBezTo>
                  <a:cubicBezTo>
                    <a:pt x="66" y="206"/>
                    <a:pt x="66" y="206"/>
                    <a:pt x="66" y="206"/>
                  </a:cubicBezTo>
                  <a:cubicBezTo>
                    <a:pt x="83" y="206"/>
                    <a:pt x="83" y="206"/>
                    <a:pt x="83" y="206"/>
                  </a:cubicBezTo>
                  <a:cubicBezTo>
                    <a:pt x="90" y="206"/>
                    <a:pt x="90" y="206"/>
                    <a:pt x="90" y="206"/>
                  </a:cubicBezTo>
                  <a:close/>
                  <a:moveTo>
                    <a:pt x="90" y="307"/>
                  </a:moveTo>
                  <a:cubicBezTo>
                    <a:pt x="90" y="322"/>
                    <a:pt x="90" y="322"/>
                    <a:pt x="90" y="322"/>
                  </a:cubicBezTo>
                  <a:cubicBezTo>
                    <a:pt x="83" y="322"/>
                    <a:pt x="83" y="322"/>
                    <a:pt x="83" y="322"/>
                  </a:cubicBezTo>
                  <a:cubicBezTo>
                    <a:pt x="83" y="334"/>
                    <a:pt x="83" y="345"/>
                    <a:pt x="83" y="357"/>
                  </a:cubicBezTo>
                  <a:cubicBezTo>
                    <a:pt x="90" y="357"/>
                    <a:pt x="90" y="357"/>
                    <a:pt x="90" y="357"/>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8" y="372"/>
                    <a:pt x="88" y="372"/>
                    <a:pt x="88" y="372"/>
                  </a:cubicBezTo>
                  <a:cubicBezTo>
                    <a:pt x="88" y="372"/>
                    <a:pt x="88" y="372"/>
                    <a:pt x="88" y="372"/>
                  </a:cubicBezTo>
                  <a:cubicBezTo>
                    <a:pt x="88" y="372"/>
                    <a:pt x="88" y="372"/>
                    <a:pt x="88" y="372"/>
                  </a:cubicBezTo>
                  <a:cubicBezTo>
                    <a:pt x="88" y="372"/>
                    <a:pt x="88" y="372"/>
                    <a:pt x="88"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6" y="372"/>
                    <a:pt x="86" y="372"/>
                    <a:pt x="86" y="372"/>
                  </a:cubicBezTo>
                  <a:cubicBezTo>
                    <a:pt x="86" y="372"/>
                    <a:pt x="86" y="372"/>
                    <a:pt x="86" y="372"/>
                  </a:cubicBezTo>
                  <a:cubicBezTo>
                    <a:pt x="86" y="372"/>
                    <a:pt x="86" y="372"/>
                    <a:pt x="86" y="372"/>
                  </a:cubicBezTo>
                  <a:cubicBezTo>
                    <a:pt x="86" y="372"/>
                    <a:pt x="86" y="372"/>
                    <a:pt x="86"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4" y="372"/>
                    <a:pt x="84" y="372"/>
                    <a:pt x="84" y="372"/>
                  </a:cubicBezTo>
                  <a:cubicBezTo>
                    <a:pt x="84" y="372"/>
                    <a:pt x="84" y="372"/>
                    <a:pt x="84" y="372"/>
                  </a:cubicBezTo>
                  <a:cubicBezTo>
                    <a:pt x="84" y="372"/>
                    <a:pt x="84" y="372"/>
                    <a:pt x="84" y="372"/>
                  </a:cubicBezTo>
                  <a:cubicBezTo>
                    <a:pt x="84" y="372"/>
                    <a:pt x="84" y="372"/>
                    <a:pt x="84" y="372"/>
                  </a:cubicBezTo>
                  <a:cubicBezTo>
                    <a:pt x="83" y="372"/>
                    <a:pt x="83" y="372"/>
                    <a:pt x="83" y="372"/>
                  </a:cubicBezTo>
                  <a:cubicBezTo>
                    <a:pt x="83" y="372"/>
                    <a:pt x="83" y="372"/>
                    <a:pt x="83" y="372"/>
                  </a:cubicBezTo>
                  <a:cubicBezTo>
                    <a:pt x="66" y="372"/>
                    <a:pt x="66" y="372"/>
                    <a:pt x="66" y="372"/>
                  </a:cubicBezTo>
                  <a:cubicBezTo>
                    <a:pt x="66" y="372"/>
                    <a:pt x="66" y="372"/>
                    <a:pt x="66" y="372"/>
                  </a:cubicBezTo>
                  <a:cubicBezTo>
                    <a:pt x="66" y="372"/>
                    <a:pt x="66" y="372"/>
                    <a:pt x="66"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4" y="372"/>
                    <a:pt x="64" y="372"/>
                    <a:pt x="64" y="372"/>
                  </a:cubicBezTo>
                  <a:cubicBezTo>
                    <a:pt x="64" y="372"/>
                    <a:pt x="64" y="372"/>
                    <a:pt x="64" y="372"/>
                  </a:cubicBezTo>
                  <a:cubicBezTo>
                    <a:pt x="64" y="372"/>
                    <a:pt x="64" y="372"/>
                    <a:pt x="64" y="372"/>
                  </a:cubicBezTo>
                  <a:cubicBezTo>
                    <a:pt x="64" y="372"/>
                    <a:pt x="64" y="372"/>
                    <a:pt x="64"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59" y="372"/>
                    <a:pt x="59" y="372"/>
                    <a:pt x="59" y="372"/>
                  </a:cubicBezTo>
                  <a:cubicBezTo>
                    <a:pt x="59" y="372"/>
                    <a:pt x="59" y="372"/>
                    <a:pt x="59" y="372"/>
                  </a:cubicBezTo>
                  <a:cubicBezTo>
                    <a:pt x="59" y="372"/>
                    <a:pt x="59" y="372"/>
                    <a:pt x="59" y="372"/>
                  </a:cubicBezTo>
                  <a:cubicBezTo>
                    <a:pt x="59" y="372"/>
                    <a:pt x="59" y="372"/>
                    <a:pt x="59" y="372"/>
                  </a:cubicBezTo>
                  <a:cubicBezTo>
                    <a:pt x="59" y="357"/>
                    <a:pt x="59" y="357"/>
                    <a:pt x="59" y="357"/>
                  </a:cubicBezTo>
                  <a:cubicBezTo>
                    <a:pt x="66" y="357"/>
                    <a:pt x="66" y="357"/>
                    <a:pt x="66" y="357"/>
                  </a:cubicBezTo>
                  <a:cubicBezTo>
                    <a:pt x="66" y="345"/>
                    <a:pt x="66" y="334"/>
                    <a:pt x="66" y="322"/>
                  </a:cubicBezTo>
                  <a:cubicBezTo>
                    <a:pt x="59" y="322"/>
                    <a:pt x="59" y="322"/>
                    <a:pt x="59" y="322"/>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7"/>
                    <a:pt x="66" y="307"/>
                    <a:pt x="66" y="307"/>
                  </a:cubicBezTo>
                  <a:cubicBezTo>
                    <a:pt x="66" y="307"/>
                    <a:pt x="66" y="307"/>
                    <a:pt x="66" y="307"/>
                  </a:cubicBezTo>
                  <a:cubicBezTo>
                    <a:pt x="83" y="307"/>
                    <a:pt x="83" y="307"/>
                    <a:pt x="83" y="307"/>
                  </a:cubicBezTo>
                  <a:cubicBezTo>
                    <a:pt x="83" y="307"/>
                    <a:pt x="83" y="307"/>
                    <a:pt x="83"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90" y="307"/>
                    <a:pt x="90" y="307"/>
                    <a:pt x="90" y="307"/>
                  </a:cubicBezTo>
                  <a:cubicBezTo>
                    <a:pt x="90" y="307"/>
                    <a:pt x="90" y="307"/>
                    <a:pt x="90" y="307"/>
                  </a:cubicBezTo>
                  <a:cubicBezTo>
                    <a:pt x="90" y="307"/>
                    <a:pt x="90" y="307"/>
                    <a:pt x="90" y="307"/>
                  </a:cubicBezTo>
                  <a:cubicBezTo>
                    <a:pt x="90" y="307"/>
                    <a:pt x="90" y="307"/>
                    <a:pt x="90" y="307"/>
                  </a:cubicBezTo>
                  <a:cubicBezTo>
                    <a:pt x="90" y="307"/>
                    <a:pt x="90" y="307"/>
                    <a:pt x="90" y="307"/>
                  </a:cubicBezTo>
                  <a:close/>
                  <a:moveTo>
                    <a:pt x="90" y="407"/>
                  </a:moveTo>
                  <a:cubicBezTo>
                    <a:pt x="90" y="423"/>
                    <a:pt x="90" y="423"/>
                    <a:pt x="90" y="423"/>
                  </a:cubicBezTo>
                  <a:cubicBezTo>
                    <a:pt x="83" y="423"/>
                    <a:pt x="83" y="423"/>
                    <a:pt x="83" y="423"/>
                  </a:cubicBezTo>
                  <a:cubicBezTo>
                    <a:pt x="66" y="423"/>
                    <a:pt x="66" y="423"/>
                    <a:pt x="66" y="423"/>
                  </a:cubicBezTo>
                  <a:cubicBezTo>
                    <a:pt x="66" y="423"/>
                    <a:pt x="66" y="423"/>
                    <a:pt x="66"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1" y="423"/>
                    <a:pt x="61" y="423"/>
                    <a:pt x="61" y="423"/>
                  </a:cubicBezTo>
                  <a:cubicBezTo>
                    <a:pt x="61" y="423"/>
                    <a:pt x="61" y="423"/>
                    <a:pt x="61" y="423"/>
                  </a:cubicBezTo>
                  <a:cubicBezTo>
                    <a:pt x="61" y="423"/>
                    <a:pt x="61" y="423"/>
                    <a:pt x="61" y="423"/>
                  </a:cubicBezTo>
                  <a:cubicBezTo>
                    <a:pt x="61" y="423"/>
                    <a:pt x="61" y="423"/>
                    <a:pt x="61"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59" y="423"/>
                    <a:pt x="59" y="423"/>
                    <a:pt x="59" y="423"/>
                  </a:cubicBezTo>
                  <a:cubicBezTo>
                    <a:pt x="59" y="423"/>
                    <a:pt x="59" y="423"/>
                    <a:pt x="59" y="423"/>
                  </a:cubicBezTo>
                  <a:cubicBezTo>
                    <a:pt x="59" y="423"/>
                    <a:pt x="59" y="423"/>
                    <a:pt x="59" y="423"/>
                  </a:cubicBezTo>
                  <a:cubicBezTo>
                    <a:pt x="59" y="423"/>
                    <a:pt x="59" y="423"/>
                    <a:pt x="59" y="423"/>
                  </a:cubicBezTo>
                  <a:cubicBezTo>
                    <a:pt x="59" y="407"/>
                    <a:pt x="59" y="407"/>
                    <a:pt x="59" y="407"/>
                  </a:cubicBezTo>
                  <a:cubicBezTo>
                    <a:pt x="59" y="407"/>
                    <a:pt x="59" y="407"/>
                    <a:pt x="59" y="407"/>
                  </a:cubicBezTo>
                  <a:cubicBezTo>
                    <a:pt x="59" y="407"/>
                    <a:pt x="59" y="407"/>
                    <a:pt x="59" y="407"/>
                  </a:cubicBezTo>
                  <a:cubicBezTo>
                    <a:pt x="59" y="407"/>
                    <a:pt x="59" y="407"/>
                    <a:pt x="59"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4" y="407"/>
                    <a:pt x="64" y="407"/>
                    <a:pt x="64" y="407"/>
                  </a:cubicBezTo>
                  <a:cubicBezTo>
                    <a:pt x="64" y="407"/>
                    <a:pt x="64" y="407"/>
                    <a:pt x="64" y="407"/>
                  </a:cubicBezTo>
                  <a:cubicBezTo>
                    <a:pt x="64" y="407"/>
                    <a:pt x="64" y="407"/>
                    <a:pt x="64" y="407"/>
                  </a:cubicBezTo>
                  <a:cubicBezTo>
                    <a:pt x="64" y="407"/>
                    <a:pt x="64" y="407"/>
                    <a:pt x="64"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6" y="407"/>
                    <a:pt x="66" y="407"/>
                    <a:pt x="66" y="407"/>
                  </a:cubicBezTo>
                  <a:cubicBezTo>
                    <a:pt x="66" y="407"/>
                    <a:pt x="66" y="407"/>
                    <a:pt x="66" y="407"/>
                  </a:cubicBezTo>
                  <a:cubicBezTo>
                    <a:pt x="66" y="407"/>
                    <a:pt x="66" y="407"/>
                    <a:pt x="66" y="407"/>
                  </a:cubicBezTo>
                  <a:cubicBezTo>
                    <a:pt x="83" y="407"/>
                    <a:pt x="83" y="407"/>
                    <a:pt x="83" y="407"/>
                  </a:cubicBezTo>
                  <a:cubicBezTo>
                    <a:pt x="83" y="407"/>
                    <a:pt x="83" y="407"/>
                    <a:pt x="83" y="407"/>
                  </a:cubicBezTo>
                  <a:cubicBezTo>
                    <a:pt x="84" y="407"/>
                    <a:pt x="84" y="407"/>
                    <a:pt x="84" y="407"/>
                  </a:cubicBezTo>
                  <a:cubicBezTo>
                    <a:pt x="84" y="407"/>
                    <a:pt x="84" y="407"/>
                    <a:pt x="84" y="407"/>
                  </a:cubicBezTo>
                  <a:cubicBezTo>
                    <a:pt x="84" y="407"/>
                    <a:pt x="84" y="407"/>
                    <a:pt x="84" y="407"/>
                  </a:cubicBezTo>
                  <a:cubicBezTo>
                    <a:pt x="84" y="407"/>
                    <a:pt x="84" y="407"/>
                    <a:pt x="84"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6" y="407"/>
                    <a:pt x="86" y="407"/>
                    <a:pt x="86" y="407"/>
                  </a:cubicBezTo>
                  <a:cubicBezTo>
                    <a:pt x="86" y="407"/>
                    <a:pt x="86" y="407"/>
                    <a:pt x="86" y="407"/>
                  </a:cubicBezTo>
                  <a:cubicBezTo>
                    <a:pt x="86" y="407"/>
                    <a:pt x="86" y="407"/>
                    <a:pt x="86" y="407"/>
                  </a:cubicBezTo>
                  <a:cubicBezTo>
                    <a:pt x="86" y="407"/>
                    <a:pt x="86" y="407"/>
                    <a:pt x="86"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8" y="407"/>
                    <a:pt x="88" y="407"/>
                    <a:pt x="88" y="407"/>
                  </a:cubicBezTo>
                  <a:cubicBezTo>
                    <a:pt x="88" y="407"/>
                    <a:pt x="88" y="407"/>
                    <a:pt x="88" y="407"/>
                  </a:cubicBezTo>
                  <a:cubicBezTo>
                    <a:pt x="88" y="407"/>
                    <a:pt x="88" y="407"/>
                    <a:pt x="88" y="407"/>
                  </a:cubicBezTo>
                  <a:cubicBezTo>
                    <a:pt x="88" y="407"/>
                    <a:pt x="88" y="407"/>
                    <a:pt x="88"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90" y="407"/>
                    <a:pt x="90" y="407"/>
                    <a:pt x="90" y="407"/>
                  </a:cubicBezTo>
                  <a:cubicBezTo>
                    <a:pt x="90" y="407"/>
                    <a:pt x="90" y="407"/>
                    <a:pt x="90" y="407"/>
                  </a:cubicBezTo>
                  <a:cubicBezTo>
                    <a:pt x="90" y="407"/>
                    <a:pt x="90" y="407"/>
                    <a:pt x="90" y="407"/>
                  </a:cubicBezTo>
                  <a:cubicBezTo>
                    <a:pt x="90" y="407"/>
                    <a:pt x="90" y="407"/>
                    <a:pt x="90" y="407"/>
                  </a:cubicBezTo>
                  <a:close/>
                  <a:moveTo>
                    <a:pt x="27" y="0"/>
                  </a:moveTo>
                  <a:cubicBezTo>
                    <a:pt x="59" y="0"/>
                    <a:pt x="59" y="0"/>
                    <a:pt x="59" y="0"/>
                  </a:cubicBezTo>
                  <a:cubicBezTo>
                    <a:pt x="59" y="20"/>
                    <a:pt x="59" y="20"/>
                    <a:pt x="59" y="20"/>
                  </a:cubicBezTo>
                  <a:cubicBezTo>
                    <a:pt x="52" y="20"/>
                    <a:pt x="52" y="20"/>
                    <a:pt x="52" y="20"/>
                  </a:cubicBezTo>
                  <a:cubicBezTo>
                    <a:pt x="52" y="32"/>
                    <a:pt x="52" y="43"/>
                    <a:pt x="52" y="55"/>
                  </a:cubicBezTo>
                  <a:cubicBezTo>
                    <a:pt x="59" y="55"/>
                    <a:pt x="59" y="55"/>
                    <a:pt x="59" y="55"/>
                  </a:cubicBezTo>
                  <a:cubicBezTo>
                    <a:pt x="59" y="70"/>
                    <a:pt x="59" y="70"/>
                    <a:pt x="59" y="70"/>
                  </a:cubicBezTo>
                  <a:cubicBezTo>
                    <a:pt x="59" y="70"/>
                    <a:pt x="59" y="70"/>
                    <a:pt x="59"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7" y="70"/>
                    <a:pt x="57" y="70"/>
                    <a:pt x="57" y="70"/>
                  </a:cubicBezTo>
                  <a:cubicBezTo>
                    <a:pt x="57" y="70"/>
                    <a:pt x="57" y="70"/>
                    <a:pt x="57" y="70"/>
                  </a:cubicBezTo>
                  <a:cubicBezTo>
                    <a:pt x="57" y="70"/>
                    <a:pt x="57" y="70"/>
                    <a:pt x="57" y="70"/>
                  </a:cubicBezTo>
                  <a:cubicBezTo>
                    <a:pt x="57" y="70"/>
                    <a:pt x="57" y="70"/>
                    <a:pt x="57"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5" y="70"/>
                    <a:pt x="55" y="70"/>
                    <a:pt x="55" y="70"/>
                  </a:cubicBezTo>
                  <a:cubicBezTo>
                    <a:pt x="55" y="70"/>
                    <a:pt x="55" y="70"/>
                    <a:pt x="55" y="70"/>
                  </a:cubicBezTo>
                  <a:cubicBezTo>
                    <a:pt x="55" y="70"/>
                    <a:pt x="55" y="70"/>
                    <a:pt x="55" y="70"/>
                  </a:cubicBezTo>
                  <a:cubicBezTo>
                    <a:pt x="55" y="70"/>
                    <a:pt x="55" y="70"/>
                    <a:pt x="55" y="70"/>
                  </a:cubicBezTo>
                  <a:cubicBezTo>
                    <a:pt x="55" y="70"/>
                    <a:pt x="55" y="70"/>
                    <a:pt x="55"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3" y="70"/>
                    <a:pt x="53" y="70"/>
                    <a:pt x="53" y="70"/>
                  </a:cubicBezTo>
                  <a:cubicBezTo>
                    <a:pt x="53" y="70"/>
                    <a:pt x="53" y="70"/>
                    <a:pt x="53" y="70"/>
                  </a:cubicBezTo>
                  <a:cubicBezTo>
                    <a:pt x="53" y="70"/>
                    <a:pt x="53" y="70"/>
                    <a:pt x="53" y="70"/>
                  </a:cubicBezTo>
                  <a:cubicBezTo>
                    <a:pt x="53" y="70"/>
                    <a:pt x="53" y="70"/>
                    <a:pt x="53" y="70"/>
                  </a:cubicBezTo>
                  <a:cubicBezTo>
                    <a:pt x="53" y="70"/>
                    <a:pt x="53" y="70"/>
                    <a:pt x="53" y="70"/>
                  </a:cubicBezTo>
                  <a:cubicBezTo>
                    <a:pt x="52" y="70"/>
                    <a:pt x="52" y="70"/>
                    <a:pt x="52" y="70"/>
                  </a:cubicBezTo>
                  <a:cubicBezTo>
                    <a:pt x="52" y="70"/>
                    <a:pt x="52" y="70"/>
                    <a:pt x="52" y="70"/>
                  </a:cubicBezTo>
                  <a:cubicBezTo>
                    <a:pt x="52" y="70"/>
                    <a:pt x="52" y="70"/>
                    <a:pt x="52" y="70"/>
                  </a:cubicBezTo>
                  <a:cubicBezTo>
                    <a:pt x="52" y="70"/>
                    <a:pt x="52" y="70"/>
                    <a:pt x="52" y="70"/>
                  </a:cubicBezTo>
                  <a:cubicBezTo>
                    <a:pt x="52" y="70"/>
                    <a:pt x="52" y="70"/>
                    <a:pt x="52" y="70"/>
                  </a:cubicBezTo>
                  <a:cubicBezTo>
                    <a:pt x="52" y="82"/>
                    <a:pt x="52" y="94"/>
                    <a:pt x="52" y="105"/>
                  </a:cubicBezTo>
                  <a:cubicBezTo>
                    <a:pt x="52" y="105"/>
                    <a:pt x="52" y="105"/>
                    <a:pt x="52" y="105"/>
                  </a:cubicBezTo>
                  <a:cubicBezTo>
                    <a:pt x="52" y="105"/>
                    <a:pt x="52" y="105"/>
                    <a:pt x="52" y="105"/>
                  </a:cubicBezTo>
                  <a:cubicBezTo>
                    <a:pt x="52" y="105"/>
                    <a:pt x="52" y="105"/>
                    <a:pt x="52" y="105"/>
                  </a:cubicBezTo>
                  <a:cubicBezTo>
                    <a:pt x="52" y="105"/>
                    <a:pt x="52" y="105"/>
                    <a:pt x="52"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7" y="105"/>
                    <a:pt x="57" y="105"/>
                    <a:pt x="57" y="105"/>
                  </a:cubicBezTo>
                  <a:cubicBezTo>
                    <a:pt x="57" y="105"/>
                    <a:pt x="57" y="105"/>
                    <a:pt x="57" y="105"/>
                  </a:cubicBezTo>
                  <a:cubicBezTo>
                    <a:pt x="57" y="105"/>
                    <a:pt x="57" y="105"/>
                    <a:pt x="57" y="105"/>
                  </a:cubicBezTo>
                  <a:cubicBezTo>
                    <a:pt x="57" y="105"/>
                    <a:pt x="57" y="105"/>
                    <a:pt x="57"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9" y="105"/>
                    <a:pt x="59" y="105"/>
                    <a:pt x="59" y="105"/>
                  </a:cubicBezTo>
                  <a:cubicBezTo>
                    <a:pt x="59" y="105"/>
                    <a:pt x="59" y="105"/>
                    <a:pt x="59" y="105"/>
                  </a:cubicBezTo>
                  <a:cubicBezTo>
                    <a:pt x="59" y="121"/>
                    <a:pt x="59" y="121"/>
                    <a:pt x="59" y="121"/>
                  </a:cubicBezTo>
                  <a:cubicBezTo>
                    <a:pt x="52" y="121"/>
                    <a:pt x="52" y="121"/>
                    <a:pt x="52" y="121"/>
                  </a:cubicBezTo>
                  <a:cubicBezTo>
                    <a:pt x="52" y="132"/>
                    <a:pt x="52" y="144"/>
                    <a:pt x="52" y="156"/>
                  </a:cubicBezTo>
                  <a:cubicBezTo>
                    <a:pt x="59" y="156"/>
                    <a:pt x="59" y="156"/>
                    <a:pt x="59" y="156"/>
                  </a:cubicBezTo>
                  <a:cubicBezTo>
                    <a:pt x="59" y="171"/>
                    <a:pt x="59" y="171"/>
                    <a:pt x="59" y="171"/>
                  </a:cubicBezTo>
                  <a:cubicBezTo>
                    <a:pt x="59" y="171"/>
                    <a:pt x="59" y="171"/>
                    <a:pt x="59"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5" y="171"/>
                    <a:pt x="55" y="171"/>
                    <a:pt x="55" y="171"/>
                  </a:cubicBezTo>
                  <a:cubicBezTo>
                    <a:pt x="55" y="171"/>
                    <a:pt x="55" y="171"/>
                    <a:pt x="55" y="171"/>
                  </a:cubicBezTo>
                  <a:cubicBezTo>
                    <a:pt x="55" y="171"/>
                    <a:pt x="55" y="171"/>
                    <a:pt x="55" y="171"/>
                  </a:cubicBezTo>
                  <a:cubicBezTo>
                    <a:pt x="55" y="171"/>
                    <a:pt x="55" y="171"/>
                    <a:pt x="55"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3" y="171"/>
                    <a:pt x="53" y="171"/>
                    <a:pt x="53" y="171"/>
                  </a:cubicBezTo>
                  <a:cubicBezTo>
                    <a:pt x="53" y="171"/>
                    <a:pt x="53" y="171"/>
                    <a:pt x="53" y="171"/>
                  </a:cubicBezTo>
                  <a:cubicBezTo>
                    <a:pt x="53" y="171"/>
                    <a:pt x="53" y="171"/>
                    <a:pt x="53" y="171"/>
                  </a:cubicBezTo>
                  <a:cubicBezTo>
                    <a:pt x="53" y="171"/>
                    <a:pt x="53" y="171"/>
                    <a:pt x="53"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27" y="171"/>
                    <a:pt x="27" y="171"/>
                    <a:pt x="27" y="171"/>
                  </a:cubicBezTo>
                  <a:cubicBezTo>
                    <a:pt x="27" y="156"/>
                    <a:pt x="27" y="156"/>
                    <a:pt x="27" y="156"/>
                  </a:cubicBezTo>
                  <a:cubicBezTo>
                    <a:pt x="34" y="156"/>
                    <a:pt x="34" y="156"/>
                    <a:pt x="34" y="156"/>
                  </a:cubicBezTo>
                  <a:cubicBezTo>
                    <a:pt x="34" y="144"/>
                    <a:pt x="34" y="132"/>
                    <a:pt x="34" y="121"/>
                  </a:cubicBezTo>
                  <a:cubicBezTo>
                    <a:pt x="27" y="121"/>
                    <a:pt x="27" y="121"/>
                    <a:pt x="27" y="121"/>
                  </a:cubicBezTo>
                  <a:cubicBezTo>
                    <a:pt x="27" y="105"/>
                    <a:pt x="27" y="105"/>
                    <a:pt x="27" y="105"/>
                  </a:cubicBezTo>
                  <a:cubicBezTo>
                    <a:pt x="34" y="105"/>
                    <a:pt x="34" y="105"/>
                    <a:pt x="34" y="105"/>
                  </a:cubicBezTo>
                  <a:cubicBezTo>
                    <a:pt x="34" y="94"/>
                    <a:pt x="34" y="82"/>
                    <a:pt x="34" y="70"/>
                  </a:cubicBezTo>
                  <a:cubicBezTo>
                    <a:pt x="27" y="70"/>
                    <a:pt x="27" y="70"/>
                    <a:pt x="27" y="70"/>
                  </a:cubicBezTo>
                  <a:cubicBezTo>
                    <a:pt x="27" y="55"/>
                    <a:pt x="27" y="55"/>
                    <a:pt x="27" y="55"/>
                  </a:cubicBezTo>
                  <a:cubicBezTo>
                    <a:pt x="34" y="55"/>
                    <a:pt x="34" y="55"/>
                    <a:pt x="34" y="55"/>
                  </a:cubicBezTo>
                  <a:cubicBezTo>
                    <a:pt x="34" y="43"/>
                    <a:pt x="34" y="32"/>
                    <a:pt x="34" y="20"/>
                  </a:cubicBezTo>
                  <a:cubicBezTo>
                    <a:pt x="27" y="20"/>
                    <a:pt x="27" y="20"/>
                    <a:pt x="27" y="20"/>
                  </a:cubicBezTo>
                  <a:cubicBezTo>
                    <a:pt x="27" y="0"/>
                    <a:pt x="27" y="0"/>
                    <a:pt x="27" y="0"/>
                  </a:cubicBezTo>
                  <a:close/>
                  <a:moveTo>
                    <a:pt x="59" y="480"/>
                  </a:moveTo>
                  <a:cubicBezTo>
                    <a:pt x="27" y="480"/>
                    <a:pt x="27" y="480"/>
                    <a:pt x="27" y="480"/>
                  </a:cubicBezTo>
                  <a:cubicBezTo>
                    <a:pt x="27" y="458"/>
                    <a:pt x="27" y="458"/>
                    <a:pt x="27" y="458"/>
                  </a:cubicBezTo>
                  <a:cubicBezTo>
                    <a:pt x="34" y="458"/>
                    <a:pt x="34" y="458"/>
                    <a:pt x="34" y="458"/>
                  </a:cubicBezTo>
                  <a:cubicBezTo>
                    <a:pt x="34" y="446"/>
                    <a:pt x="34" y="434"/>
                    <a:pt x="34" y="423"/>
                  </a:cubicBezTo>
                  <a:cubicBezTo>
                    <a:pt x="27" y="423"/>
                    <a:pt x="27" y="423"/>
                    <a:pt x="27" y="423"/>
                  </a:cubicBezTo>
                  <a:cubicBezTo>
                    <a:pt x="27" y="407"/>
                    <a:pt x="27" y="407"/>
                    <a:pt x="27"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3" y="407"/>
                    <a:pt x="53" y="407"/>
                    <a:pt x="53" y="407"/>
                  </a:cubicBezTo>
                  <a:cubicBezTo>
                    <a:pt x="53" y="407"/>
                    <a:pt x="53" y="407"/>
                    <a:pt x="53" y="407"/>
                  </a:cubicBezTo>
                  <a:cubicBezTo>
                    <a:pt x="53" y="407"/>
                    <a:pt x="53" y="407"/>
                    <a:pt x="53" y="407"/>
                  </a:cubicBezTo>
                  <a:cubicBezTo>
                    <a:pt x="53" y="407"/>
                    <a:pt x="53" y="407"/>
                    <a:pt x="53"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9" y="407"/>
                    <a:pt x="59" y="407"/>
                    <a:pt x="59" y="407"/>
                  </a:cubicBezTo>
                  <a:cubicBezTo>
                    <a:pt x="59" y="407"/>
                    <a:pt x="59" y="407"/>
                    <a:pt x="59" y="407"/>
                  </a:cubicBezTo>
                  <a:cubicBezTo>
                    <a:pt x="59" y="407"/>
                    <a:pt x="59" y="407"/>
                    <a:pt x="59" y="407"/>
                  </a:cubicBezTo>
                  <a:cubicBezTo>
                    <a:pt x="59" y="423"/>
                    <a:pt x="59" y="423"/>
                    <a:pt x="59" y="423"/>
                  </a:cubicBezTo>
                  <a:cubicBezTo>
                    <a:pt x="59" y="423"/>
                    <a:pt x="59" y="423"/>
                    <a:pt x="59"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34"/>
                    <a:pt x="52" y="446"/>
                    <a:pt x="52" y="458"/>
                  </a:cubicBezTo>
                  <a:cubicBezTo>
                    <a:pt x="52" y="458"/>
                    <a:pt x="52" y="458"/>
                    <a:pt x="52" y="458"/>
                  </a:cubicBezTo>
                  <a:cubicBezTo>
                    <a:pt x="52" y="458"/>
                    <a:pt x="52" y="458"/>
                    <a:pt x="52" y="458"/>
                  </a:cubicBezTo>
                  <a:cubicBezTo>
                    <a:pt x="52" y="458"/>
                    <a:pt x="52" y="458"/>
                    <a:pt x="52" y="458"/>
                  </a:cubicBezTo>
                  <a:cubicBezTo>
                    <a:pt x="52" y="458"/>
                    <a:pt x="52" y="458"/>
                    <a:pt x="52"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9" y="458"/>
                    <a:pt x="59" y="458"/>
                    <a:pt x="59" y="458"/>
                  </a:cubicBezTo>
                  <a:cubicBezTo>
                    <a:pt x="59" y="458"/>
                    <a:pt x="59" y="458"/>
                    <a:pt x="59" y="458"/>
                  </a:cubicBezTo>
                  <a:cubicBezTo>
                    <a:pt x="59" y="480"/>
                    <a:pt x="59" y="480"/>
                    <a:pt x="59" y="480"/>
                  </a:cubicBezTo>
                  <a:close/>
                  <a:moveTo>
                    <a:pt x="59" y="206"/>
                  </a:moveTo>
                  <a:cubicBezTo>
                    <a:pt x="59" y="221"/>
                    <a:pt x="59" y="221"/>
                    <a:pt x="59" y="221"/>
                  </a:cubicBezTo>
                  <a:cubicBezTo>
                    <a:pt x="52" y="221"/>
                    <a:pt x="52" y="221"/>
                    <a:pt x="52" y="221"/>
                  </a:cubicBezTo>
                  <a:cubicBezTo>
                    <a:pt x="52" y="233"/>
                    <a:pt x="52" y="245"/>
                    <a:pt x="52" y="256"/>
                  </a:cubicBezTo>
                  <a:cubicBezTo>
                    <a:pt x="59" y="256"/>
                    <a:pt x="59" y="256"/>
                    <a:pt x="59" y="256"/>
                  </a:cubicBezTo>
                  <a:cubicBezTo>
                    <a:pt x="59" y="272"/>
                    <a:pt x="59" y="272"/>
                    <a:pt x="59" y="272"/>
                  </a:cubicBezTo>
                  <a:cubicBezTo>
                    <a:pt x="59" y="272"/>
                    <a:pt x="59" y="272"/>
                    <a:pt x="59"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7" y="272"/>
                    <a:pt x="57" y="272"/>
                    <a:pt x="57" y="272"/>
                  </a:cubicBezTo>
                  <a:cubicBezTo>
                    <a:pt x="57" y="272"/>
                    <a:pt x="57" y="272"/>
                    <a:pt x="57" y="272"/>
                  </a:cubicBezTo>
                  <a:cubicBezTo>
                    <a:pt x="57" y="272"/>
                    <a:pt x="57" y="272"/>
                    <a:pt x="57" y="272"/>
                  </a:cubicBezTo>
                  <a:cubicBezTo>
                    <a:pt x="57" y="272"/>
                    <a:pt x="57" y="272"/>
                    <a:pt x="57"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83"/>
                    <a:pt x="52" y="295"/>
                    <a:pt x="52" y="307"/>
                  </a:cubicBezTo>
                  <a:cubicBezTo>
                    <a:pt x="52" y="307"/>
                    <a:pt x="52" y="307"/>
                    <a:pt x="52" y="307"/>
                  </a:cubicBezTo>
                  <a:cubicBezTo>
                    <a:pt x="52" y="307"/>
                    <a:pt x="52" y="307"/>
                    <a:pt x="52" y="307"/>
                  </a:cubicBezTo>
                  <a:cubicBezTo>
                    <a:pt x="52" y="307"/>
                    <a:pt x="52" y="307"/>
                    <a:pt x="52" y="307"/>
                  </a:cubicBezTo>
                  <a:cubicBezTo>
                    <a:pt x="52" y="307"/>
                    <a:pt x="52" y="307"/>
                    <a:pt x="52"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7" y="307"/>
                    <a:pt x="57" y="307"/>
                    <a:pt x="57" y="307"/>
                  </a:cubicBezTo>
                  <a:cubicBezTo>
                    <a:pt x="57" y="307"/>
                    <a:pt x="57" y="307"/>
                    <a:pt x="57" y="307"/>
                  </a:cubicBezTo>
                  <a:cubicBezTo>
                    <a:pt x="57" y="307"/>
                    <a:pt x="57" y="307"/>
                    <a:pt x="57" y="307"/>
                  </a:cubicBezTo>
                  <a:cubicBezTo>
                    <a:pt x="57" y="307"/>
                    <a:pt x="57" y="307"/>
                    <a:pt x="57"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9" y="307"/>
                    <a:pt x="59" y="307"/>
                    <a:pt x="59" y="307"/>
                  </a:cubicBezTo>
                  <a:cubicBezTo>
                    <a:pt x="59" y="307"/>
                    <a:pt x="59" y="307"/>
                    <a:pt x="59" y="307"/>
                  </a:cubicBezTo>
                  <a:cubicBezTo>
                    <a:pt x="59" y="322"/>
                    <a:pt x="59" y="322"/>
                    <a:pt x="59" y="322"/>
                  </a:cubicBezTo>
                  <a:cubicBezTo>
                    <a:pt x="52" y="322"/>
                    <a:pt x="52" y="322"/>
                    <a:pt x="52" y="322"/>
                  </a:cubicBezTo>
                  <a:cubicBezTo>
                    <a:pt x="52" y="334"/>
                    <a:pt x="52" y="345"/>
                    <a:pt x="52" y="357"/>
                  </a:cubicBezTo>
                  <a:cubicBezTo>
                    <a:pt x="59" y="357"/>
                    <a:pt x="59" y="357"/>
                    <a:pt x="59" y="357"/>
                  </a:cubicBezTo>
                  <a:cubicBezTo>
                    <a:pt x="59" y="372"/>
                    <a:pt x="59" y="372"/>
                    <a:pt x="59" y="372"/>
                  </a:cubicBezTo>
                  <a:cubicBezTo>
                    <a:pt x="59" y="372"/>
                    <a:pt x="59" y="372"/>
                    <a:pt x="59" y="372"/>
                  </a:cubicBezTo>
                  <a:cubicBezTo>
                    <a:pt x="59" y="372"/>
                    <a:pt x="59" y="372"/>
                    <a:pt x="59"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3" y="372"/>
                    <a:pt x="53" y="372"/>
                    <a:pt x="53" y="372"/>
                  </a:cubicBezTo>
                  <a:cubicBezTo>
                    <a:pt x="53" y="372"/>
                    <a:pt x="53" y="372"/>
                    <a:pt x="53" y="372"/>
                  </a:cubicBezTo>
                  <a:cubicBezTo>
                    <a:pt x="53" y="372"/>
                    <a:pt x="53" y="372"/>
                    <a:pt x="53" y="372"/>
                  </a:cubicBezTo>
                  <a:cubicBezTo>
                    <a:pt x="53" y="372"/>
                    <a:pt x="53" y="372"/>
                    <a:pt x="53"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27" y="372"/>
                    <a:pt x="27" y="372"/>
                    <a:pt x="27" y="372"/>
                  </a:cubicBezTo>
                  <a:cubicBezTo>
                    <a:pt x="27" y="357"/>
                    <a:pt x="27" y="357"/>
                    <a:pt x="27" y="357"/>
                  </a:cubicBezTo>
                  <a:cubicBezTo>
                    <a:pt x="34" y="357"/>
                    <a:pt x="34" y="357"/>
                    <a:pt x="34" y="357"/>
                  </a:cubicBezTo>
                  <a:cubicBezTo>
                    <a:pt x="34" y="345"/>
                    <a:pt x="34" y="334"/>
                    <a:pt x="34" y="322"/>
                  </a:cubicBezTo>
                  <a:cubicBezTo>
                    <a:pt x="27" y="322"/>
                    <a:pt x="27" y="322"/>
                    <a:pt x="27" y="322"/>
                  </a:cubicBezTo>
                  <a:cubicBezTo>
                    <a:pt x="27" y="307"/>
                    <a:pt x="27" y="307"/>
                    <a:pt x="27" y="307"/>
                  </a:cubicBezTo>
                  <a:cubicBezTo>
                    <a:pt x="34" y="307"/>
                    <a:pt x="34" y="307"/>
                    <a:pt x="34" y="307"/>
                  </a:cubicBezTo>
                  <a:cubicBezTo>
                    <a:pt x="34" y="295"/>
                    <a:pt x="34" y="283"/>
                    <a:pt x="34" y="272"/>
                  </a:cubicBezTo>
                  <a:cubicBezTo>
                    <a:pt x="27" y="272"/>
                    <a:pt x="27" y="272"/>
                    <a:pt x="27" y="272"/>
                  </a:cubicBezTo>
                  <a:cubicBezTo>
                    <a:pt x="27" y="256"/>
                    <a:pt x="27" y="256"/>
                    <a:pt x="27" y="256"/>
                  </a:cubicBezTo>
                  <a:cubicBezTo>
                    <a:pt x="34" y="256"/>
                    <a:pt x="34" y="256"/>
                    <a:pt x="34" y="256"/>
                  </a:cubicBezTo>
                  <a:cubicBezTo>
                    <a:pt x="34" y="245"/>
                    <a:pt x="34" y="233"/>
                    <a:pt x="34" y="221"/>
                  </a:cubicBezTo>
                  <a:cubicBezTo>
                    <a:pt x="27" y="221"/>
                    <a:pt x="27" y="221"/>
                    <a:pt x="27" y="221"/>
                  </a:cubicBezTo>
                  <a:cubicBezTo>
                    <a:pt x="27" y="206"/>
                    <a:pt x="27" y="206"/>
                    <a:pt x="27"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3" y="206"/>
                    <a:pt x="53" y="206"/>
                    <a:pt x="53" y="206"/>
                  </a:cubicBezTo>
                  <a:cubicBezTo>
                    <a:pt x="53" y="206"/>
                    <a:pt x="53" y="206"/>
                    <a:pt x="53" y="206"/>
                  </a:cubicBezTo>
                  <a:cubicBezTo>
                    <a:pt x="53" y="206"/>
                    <a:pt x="53" y="206"/>
                    <a:pt x="53" y="206"/>
                  </a:cubicBezTo>
                  <a:cubicBezTo>
                    <a:pt x="53" y="206"/>
                    <a:pt x="53" y="206"/>
                    <a:pt x="53"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5" y="206"/>
                    <a:pt x="55" y="206"/>
                    <a:pt x="55" y="206"/>
                  </a:cubicBezTo>
                  <a:cubicBezTo>
                    <a:pt x="55" y="206"/>
                    <a:pt x="55" y="206"/>
                    <a:pt x="55" y="206"/>
                  </a:cubicBezTo>
                  <a:cubicBezTo>
                    <a:pt x="55" y="206"/>
                    <a:pt x="55" y="206"/>
                    <a:pt x="55" y="206"/>
                  </a:cubicBezTo>
                  <a:cubicBezTo>
                    <a:pt x="55" y="206"/>
                    <a:pt x="55" y="206"/>
                    <a:pt x="55"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9" y="206"/>
                    <a:pt x="59" y="206"/>
                    <a:pt x="59" y="206"/>
                  </a:cubicBezTo>
                  <a:close/>
                  <a:moveTo>
                    <a:pt x="0" y="0"/>
                  </a:moveTo>
                  <a:cubicBezTo>
                    <a:pt x="27" y="0"/>
                    <a:pt x="27" y="0"/>
                    <a:pt x="27" y="0"/>
                  </a:cubicBezTo>
                  <a:cubicBezTo>
                    <a:pt x="27" y="20"/>
                    <a:pt x="27" y="20"/>
                    <a:pt x="27" y="20"/>
                  </a:cubicBezTo>
                  <a:cubicBezTo>
                    <a:pt x="20" y="20"/>
                    <a:pt x="20" y="20"/>
                    <a:pt x="20" y="20"/>
                  </a:cubicBezTo>
                  <a:cubicBezTo>
                    <a:pt x="20" y="32"/>
                    <a:pt x="20" y="43"/>
                    <a:pt x="20" y="55"/>
                  </a:cubicBezTo>
                  <a:cubicBezTo>
                    <a:pt x="27" y="55"/>
                    <a:pt x="27" y="55"/>
                    <a:pt x="27" y="55"/>
                  </a:cubicBezTo>
                  <a:cubicBezTo>
                    <a:pt x="27" y="70"/>
                    <a:pt x="27" y="70"/>
                    <a:pt x="27" y="70"/>
                  </a:cubicBezTo>
                  <a:cubicBezTo>
                    <a:pt x="20" y="70"/>
                    <a:pt x="20" y="70"/>
                    <a:pt x="20" y="70"/>
                  </a:cubicBezTo>
                  <a:cubicBezTo>
                    <a:pt x="20" y="82"/>
                    <a:pt x="20" y="94"/>
                    <a:pt x="20" y="105"/>
                  </a:cubicBezTo>
                  <a:cubicBezTo>
                    <a:pt x="27" y="105"/>
                    <a:pt x="27" y="105"/>
                    <a:pt x="27" y="105"/>
                  </a:cubicBezTo>
                  <a:cubicBezTo>
                    <a:pt x="27" y="121"/>
                    <a:pt x="27" y="121"/>
                    <a:pt x="27" y="121"/>
                  </a:cubicBezTo>
                  <a:cubicBezTo>
                    <a:pt x="20" y="121"/>
                    <a:pt x="20" y="121"/>
                    <a:pt x="20" y="121"/>
                  </a:cubicBezTo>
                  <a:cubicBezTo>
                    <a:pt x="20" y="132"/>
                    <a:pt x="20" y="144"/>
                    <a:pt x="20" y="156"/>
                  </a:cubicBezTo>
                  <a:cubicBezTo>
                    <a:pt x="27" y="156"/>
                    <a:pt x="27" y="156"/>
                    <a:pt x="27" y="156"/>
                  </a:cubicBezTo>
                  <a:cubicBezTo>
                    <a:pt x="27" y="171"/>
                    <a:pt x="27" y="171"/>
                    <a:pt x="27" y="171"/>
                  </a:cubicBezTo>
                  <a:cubicBezTo>
                    <a:pt x="20" y="171"/>
                    <a:pt x="20" y="171"/>
                    <a:pt x="20" y="171"/>
                  </a:cubicBezTo>
                  <a:cubicBezTo>
                    <a:pt x="20" y="183"/>
                    <a:pt x="20" y="194"/>
                    <a:pt x="20" y="206"/>
                  </a:cubicBezTo>
                  <a:cubicBezTo>
                    <a:pt x="27" y="206"/>
                    <a:pt x="27" y="206"/>
                    <a:pt x="27" y="206"/>
                  </a:cubicBezTo>
                  <a:cubicBezTo>
                    <a:pt x="27" y="221"/>
                    <a:pt x="27" y="221"/>
                    <a:pt x="27" y="221"/>
                  </a:cubicBezTo>
                  <a:cubicBezTo>
                    <a:pt x="20" y="221"/>
                    <a:pt x="20" y="221"/>
                    <a:pt x="20" y="221"/>
                  </a:cubicBezTo>
                  <a:cubicBezTo>
                    <a:pt x="20" y="233"/>
                    <a:pt x="20" y="245"/>
                    <a:pt x="20" y="256"/>
                  </a:cubicBezTo>
                  <a:cubicBezTo>
                    <a:pt x="27" y="256"/>
                    <a:pt x="27" y="256"/>
                    <a:pt x="27" y="256"/>
                  </a:cubicBezTo>
                  <a:cubicBezTo>
                    <a:pt x="27" y="272"/>
                    <a:pt x="27" y="272"/>
                    <a:pt x="27" y="272"/>
                  </a:cubicBezTo>
                  <a:cubicBezTo>
                    <a:pt x="20" y="272"/>
                    <a:pt x="20" y="272"/>
                    <a:pt x="20" y="272"/>
                  </a:cubicBezTo>
                  <a:cubicBezTo>
                    <a:pt x="20" y="283"/>
                    <a:pt x="20" y="295"/>
                    <a:pt x="20" y="307"/>
                  </a:cubicBezTo>
                  <a:cubicBezTo>
                    <a:pt x="27" y="307"/>
                    <a:pt x="27" y="307"/>
                    <a:pt x="27" y="307"/>
                  </a:cubicBezTo>
                  <a:cubicBezTo>
                    <a:pt x="27" y="322"/>
                    <a:pt x="27" y="322"/>
                    <a:pt x="27" y="322"/>
                  </a:cubicBezTo>
                  <a:cubicBezTo>
                    <a:pt x="20" y="322"/>
                    <a:pt x="20" y="322"/>
                    <a:pt x="20" y="322"/>
                  </a:cubicBezTo>
                  <a:cubicBezTo>
                    <a:pt x="20" y="334"/>
                    <a:pt x="20" y="345"/>
                    <a:pt x="20" y="357"/>
                  </a:cubicBezTo>
                  <a:cubicBezTo>
                    <a:pt x="27" y="357"/>
                    <a:pt x="27" y="357"/>
                    <a:pt x="27" y="357"/>
                  </a:cubicBezTo>
                  <a:cubicBezTo>
                    <a:pt x="27" y="372"/>
                    <a:pt x="27" y="372"/>
                    <a:pt x="27" y="372"/>
                  </a:cubicBezTo>
                  <a:cubicBezTo>
                    <a:pt x="20" y="372"/>
                    <a:pt x="20" y="372"/>
                    <a:pt x="20" y="372"/>
                  </a:cubicBezTo>
                  <a:cubicBezTo>
                    <a:pt x="20" y="384"/>
                    <a:pt x="20" y="396"/>
                    <a:pt x="20" y="407"/>
                  </a:cubicBezTo>
                  <a:cubicBezTo>
                    <a:pt x="27" y="407"/>
                    <a:pt x="27" y="407"/>
                    <a:pt x="27" y="407"/>
                  </a:cubicBezTo>
                  <a:cubicBezTo>
                    <a:pt x="27" y="423"/>
                    <a:pt x="27" y="423"/>
                    <a:pt x="27" y="423"/>
                  </a:cubicBezTo>
                  <a:cubicBezTo>
                    <a:pt x="20" y="423"/>
                    <a:pt x="20" y="423"/>
                    <a:pt x="20" y="423"/>
                  </a:cubicBezTo>
                  <a:cubicBezTo>
                    <a:pt x="20" y="434"/>
                    <a:pt x="20" y="446"/>
                    <a:pt x="20" y="458"/>
                  </a:cubicBezTo>
                  <a:cubicBezTo>
                    <a:pt x="27" y="458"/>
                    <a:pt x="27" y="458"/>
                    <a:pt x="27" y="458"/>
                  </a:cubicBezTo>
                  <a:cubicBezTo>
                    <a:pt x="27" y="480"/>
                    <a:pt x="27" y="480"/>
                    <a:pt x="27" y="480"/>
                  </a:cubicBezTo>
                  <a:cubicBezTo>
                    <a:pt x="0" y="480"/>
                    <a:pt x="0" y="480"/>
                    <a:pt x="0" y="480"/>
                  </a:cubicBezTo>
                  <a:cubicBezTo>
                    <a:pt x="0" y="400"/>
                    <a:pt x="0" y="320"/>
                    <a:pt x="0" y="240"/>
                  </a:cubicBezTo>
                  <a:cubicBezTo>
                    <a:pt x="0" y="160"/>
                    <a:pt x="0" y="80"/>
                    <a:pt x="0" y="0"/>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iṣḷiḋè">
              <a:extLst>
                <a:ext uri="{FF2B5EF4-FFF2-40B4-BE49-F238E27FC236}">
                  <a16:creationId xmlns:a16="http://schemas.microsoft.com/office/drawing/2014/main" id="{AC50D8D6-E2DA-4FF9-B016-5F1299B77468}"/>
                </a:ext>
              </a:extLst>
            </p:cNvPr>
            <p:cNvSpPr/>
            <p:nvPr/>
          </p:nvSpPr>
          <p:spPr bwMode="auto">
            <a:xfrm flipH="1">
              <a:off x="1898922" y="2659319"/>
              <a:ext cx="621118" cy="603075"/>
            </a:xfrm>
            <a:custGeom>
              <a:avLst/>
              <a:gdLst>
                <a:gd name="T0" fmla="*/ 316 w 371"/>
                <a:gd name="T1" fmla="*/ 101 h 369"/>
                <a:gd name="T2" fmla="*/ 319 w 371"/>
                <a:gd name="T3" fmla="*/ 74 h 369"/>
                <a:gd name="T4" fmla="*/ 309 w 371"/>
                <a:gd name="T5" fmla="*/ 242 h 369"/>
                <a:gd name="T6" fmla="*/ 309 w 371"/>
                <a:gd name="T7" fmla="*/ 175 h 369"/>
                <a:gd name="T8" fmla="*/ 292 w 371"/>
                <a:gd name="T9" fmla="*/ 77 h 369"/>
                <a:gd name="T10" fmla="*/ 276 w 371"/>
                <a:gd name="T11" fmla="*/ 235 h 369"/>
                <a:gd name="T12" fmla="*/ 260 w 371"/>
                <a:gd name="T13" fmla="*/ 182 h 369"/>
                <a:gd name="T14" fmla="*/ 260 w 371"/>
                <a:gd name="T15" fmla="*/ 248 h 369"/>
                <a:gd name="T16" fmla="*/ 247 w 371"/>
                <a:gd name="T17" fmla="*/ 29 h 369"/>
                <a:gd name="T18" fmla="*/ 247 w 371"/>
                <a:gd name="T19" fmla="*/ 139 h 369"/>
                <a:gd name="T20" fmla="*/ 260 w 371"/>
                <a:gd name="T21" fmla="*/ 188 h 369"/>
                <a:gd name="T22" fmla="*/ 232 w 371"/>
                <a:gd name="T23" fmla="*/ 316 h 369"/>
                <a:gd name="T24" fmla="*/ 232 w 371"/>
                <a:gd name="T25" fmla="*/ 152 h 369"/>
                <a:gd name="T26" fmla="*/ 228 w 371"/>
                <a:gd name="T27" fmla="*/ 10 h 369"/>
                <a:gd name="T28" fmla="*/ 232 w 371"/>
                <a:gd name="T29" fmla="*/ 92 h 369"/>
                <a:gd name="T30" fmla="*/ 228 w 371"/>
                <a:gd name="T31" fmla="*/ 191 h 369"/>
                <a:gd name="T32" fmla="*/ 232 w 371"/>
                <a:gd name="T33" fmla="*/ 198 h 369"/>
                <a:gd name="T34" fmla="*/ 226 w 371"/>
                <a:gd name="T35" fmla="*/ 279 h 369"/>
                <a:gd name="T36" fmla="*/ 228 w 371"/>
                <a:gd name="T37" fmla="*/ 191 h 369"/>
                <a:gd name="T38" fmla="*/ 226 w 371"/>
                <a:gd name="T39" fmla="*/ 221 h 369"/>
                <a:gd name="T40" fmla="*/ 216 w 371"/>
                <a:gd name="T41" fmla="*/ 331 h 369"/>
                <a:gd name="T42" fmla="*/ 226 w 371"/>
                <a:gd name="T43" fmla="*/ 159 h 369"/>
                <a:gd name="T44" fmla="*/ 216 w 371"/>
                <a:gd name="T45" fmla="*/ 269 h 369"/>
                <a:gd name="T46" fmla="*/ 200 w 371"/>
                <a:gd name="T47" fmla="*/ 298 h 369"/>
                <a:gd name="T48" fmla="*/ 200 w 371"/>
                <a:gd name="T49" fmla="*/ 98 h 369"/>
                <a:gd name="T50" fmla="*/ 216 w 371"/>
                <a:gd name="T51" fmla="*/ 230 h 369"/>
                <a:gd name="T52" fmla="*/ 200 w 371"/>
                <a:gd name="T53" fmla="*/ 94 h 369"/>
                <a:gd name="T54" fmla="*/ 200 w 371"/>
                <a:gd name="T55" fmla="*/ 347 h 369"/>
                <a:gd name="T56" fmla="*/ 199 w 371"/>
                <a:gd name="T57" fmla="*/ 185 h 369"/>
                <a:gd name="T58" fmla="*/ 197 w 371"/>
                <a:gd name="T59" fmla="*/ 19 h 369"/>
                <a:gd name="T60" fmla="*/ 197 w 371"/>
                <a:gd name="T61" fmla="*/ 295 h 369"/>
                <a:gd name="T62" fmla="*/ 197 w 371"/>
                <a:gd name="T63" fmla="*/ 186 h 369"/>
                <a:gd name="T64" fmla="*/ 193 w 371"/>
                <a:gd name="T65" fmla="*/ 111 h 369"/>
                <a:gd name="T66" fmla="*/ 193 w 371"/>
                <a:gd name="T67" fmla="*/ 129 h 369"/>
                <a:gd name="T68" fmla="*/ 193 w 371"/>
                <a:gd name="T69" fmla="*/ 311 h 369"/>
                <a:gd name="T70" fmla="*/ 183 w 371"/>
                <a:gd name="T71" fmla="*/ 362 h 369"/>
                <a:gd name="T72" fmla="*/ 183 w 371"/>
                <a:gd name="T73" fmla="*/ 172 h 369"/>
                <a:gd name="T74" fmla="*/ 176 w 371"/>
                <a:gd name="T75" fmla="*/ 207 h 369"/>
                <a:gd name="T76" fmla="*/ 164 w 371"/>
                <a:gd name="T77" fmla="*/ 82 h 369"/>
                <a:gd name="T78" fmla="*/ 168 w 371"/>
                <a:gd name="T79" fmla="*/ 198 h 369"/>
                <a:gd name="T80" fmla="*/ 161 w 371"/>
                <a:gd name="T81" fmla="*/ 323 h 369"/>
                <a:gd name="T82" fmla="*/ 162 w 371"/>
                <a:gd name="T83" fmla="*/ 192 h 369"/>
                <a:gd name="T84" fmla="*/ 164 w 371"/>
                <a:gd name="T85" fmla="*/ 280 h 369"/>
                <a:gd name="T86" fmla="*/ 161 w 371"/>
                <a:gd name="T87" fmla="*/ 323 h 369"/>
                <a:gd name="T88" fmla="*/ 152 w 371"/>
                <a:gd name="T89" fmla="*/ 202 h 369"/>
                <a:gd name="T90" fmla="*/ 132 w 371"/>
                <a:gd name="T91" fmla="*/ 323 h 369"/>
                <a:gd name="T92" fmla="*/ 152 w 371"/>
                <a:gd name="T93" fmla="*/ 106 h 369"/>
                <a:gd name="T94" fmla="*/ 132 w 371"/>
                <a:gd name="T95" fmla="*/ 283 h 369"/>
                <a:gd name="T96" fmla="*/ 132 w 371"/>
                <a:gd name="T97" fmla="*/ 249 h 369"/>
                <a:gd name="T98" fmla="*/ 117 w 371"/>
                <a:gd name="T99" fmla="*/ 74 h 369"/>
                <a:gd name="T100" fmla="*/ 117 w 371"/>
                <a:gd name="T101" fmla="*/ 307 h 369"/>
                <a:gd name="T102" fmla="*/ 101 w 371"/>
                <a:gd name="T103" fmla="*/ 155 h 369"/>
                <a:gd name="T104" fmla="*/ 101 w 371"/>
                <a:gd name="T105" fmla="*/ 290 h 369"/>
                <a:gd name="T106" fmla="*/ 101 w 371"/>
                <a:gd name="T107" fmla="*/ 290 h 369"/>
                <a:gd name="T108" fmla="*/ 69 w 371"/>
                <a:gd name="T109" fmla="*/ 186 h 369"/>
                <a:gd name="T110" fmla="*/ 69 w 371"/>
                <a:gd name="T111" fmla="*/ 157 h 369"/>
                <a:gd name="T112" fmla="*/ 67 w 371"/>
                <a:gd name="T113" fmla="*/ 159 h 369"/>
                <a:gd name="T114" fmla="*/ 34 w 371"/>
                <a:gd name="T115" fmla="*/ 19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1" h="369">
                  <a:moveTo>
                    <a:pt x="309" y="35"/>
                  </a:moveTo>
                  <a:cubicBezTo>
                    <a:pt x="316" y="35"/>
                    <a:pt x="324" y="37"/>
                    <a:pt x="330" y="42"/>
                  </a:cubicBezTo>
                  <a:cubicBezTo>
                    <a:pt x="341" y="32"/>
                    <a:pt x="341" y="32"/>
                    <a:pt x="341" y="32"/>
                  </a:cubicBezTo>
                  <a:cubicBezTo>
                    <a:pt x="340" y="29"/>
                    <a:pt x="340" y="26"/>
                    <a:pt x="342" y="24"/>
                  </a:cubicBezTo>
                  <a:cubicBezTo>
                    <a:pt x="345" y="22"/>
                    <a:pt x="350" y="22"/>
                    <a:pt x="352" y="24"/>
                  </a:cubicBezTo>
                  <a:cubicBezTo>
                    <a:pt x="355" y="27"/>
                    <a:pt x="355" y="32"/>
                    <a:pt x="352" y="34"/>
                  </a:cubicBezTo>
                  <a:cubicBezTo>
                    <a:pt x="350" y="36"/>
                    <a:pt x="347" y="37"/>
                    <a:pt x="344" y="35"/>
                  </a:cubicBezTo>
                  <a:cubicBezTo>
                    <a:pt x="333" y="46"/>
                    <a:pt x="333" y="46"/>
                    <a:pt x="333" y="46"/>
                  </a:cubicBezTo>
                  <a:cubicBezTo>
                    <a:pt x="343" y="58"/>
                    <a:pt x="342" y="76"/>
                    <a:pt x="331" y="86"/>
                  </a:cubicBezTo>
                  <a:cubicBezTo>
                    <a:pt x="316" y="101"/>
                    <a:pt x="316" y="101"/>
                    <a:pt x="316" y="101"/>
                  </a:cubicBezTo>
                  <a:cubicBezTo>
                    <a:pt x="371" y="158"/>
                    <a:pt x="371" y="158"/>
                    <a:pt x="371" y="158"/>
                  </a:cubicBezTo>
                  <a:cubicBezTo>
                    <a:pt x="350" y="178"/>
                    <a:pt x="350" y="178"/>
                    <a:pt x="350" y="178"/>
                  </a:cubicBezTo>
                  <a:cubicBezTo>
                    <a:pt x="362" y="191"/>
                    <a:pt x="362" y="191"/>
                    <a:pt x="362" y="191"/>
                  </a:cubicBezTo>
                  <a:cubicBezTo>
                    <a:pt x="309" y="242"/>
                    <a:pt x="309" y="242"/>
                    <a:pt x="309" y="242"/>
                  </a:cubicBezTo>
                  <a:cubicBezTo>
                    <a:pt x="309" y="203"/>
                    <a:pt x="309" y="203"/>
                    <a:pt x="309" y="203"/>
                  </a:cubicBezTo>
                  <a:cubicBezTo>
                    <a:pt x="327" y="186"/>
                    <a:pt x="327" y="186"/>
                    <a:pt x="327" y="186"/>
                  </a:cubicBezTo>
                  <a:cubicBezTo>
                    <a:pt x="323" y="181"/>
                    <a:pt x="318" y="176"/>
                    <a:pt x="314" y="171"/>
                  </a:cubicBezTo>
                  <a:cubicBezTo>
                    <a:pt x="309" y="175"/>
                    <a:pt x="309" y="175"/>
                    <a:pt x="309" y="175"/>
                  </a:cubicBezTo>
                  <a:cubicBezTo>
                    <a:pt x="309" y="84"/>
                    <a:pt x="309" y="84"/>
                    <a:pt x="309" y="84"/>
                  </a:cubicBezTo>
                  <a:cubicBezTo>
                    <a:pt x="319" y="74"/>
                    <a:pt x="319" y="74"/>
                    <a:pt x="319" y="74"/>
                  </a:cubicBezTo>
                  <a:cubicBezTo>
                    <a:pt x="324" y="69"/>
                    <a:pt x="325" y="61"/>
                    <a:pt x="320" y="56"/>
                  </a:cubicBezTo>
                  <a:cubicBezTo>
                    <a:pt x="317" y="53"/>
                    <a:pt x="313" y="51"/>
                    <a:pt x="309" y="52"/>
                  </a:cubicBezTo>
                  <a:lnTo>
                    <a:pt x="309" y="35"/>
                  </a:lnTo>
                  <a:close/>
                  <a:moveTo>
                    <a:pt x="292" y="41"/>
                  </a:moveTo>
                  <a:cubicBezTo>
                    <a:pt x="297" y="37"/>
                    <a:pt x="303" y="35"/>
                    <a:pt x="309" y="35"/>
                  </a:cubicBezTo>
                  <a:cubicBezTo>
                    <a:pt x="309" y="52"/>
                    <a:pt x="309" y="52"/>
                    <a:pt x="309" y="52"/>
                  </a:cubicBezTo>
                  <a:cubicBezTo>
                    <a:pt x="306" y="52"/>
                    <a:pt x="303" y="53"/>
                    <a:pt x="301" y="55"/>
                  </a:cubicBezTo>
                  <a:cubicBezTo>
                    <a:pt x="292" y="63"/>
                    <a:pt x="292" y="63"/>
                    <a:pt x="292" y="63"/>
                  </a:cubicBezTo>
                  <a:cubicBezTo>
                    <a:pt x="292" y="41"/>
                    <a:pt x="292" y="41"/>
                    <a:pt x="292" y="41"/>
                  </a:cubicBezTo>
                  <a:close/>
                  <a:moveTo>
                    <a:pt x="309" y="242"/>
                  </a:moveTo>
                  <a:cubicBezTo>
                    <a:pt x="292" y="258"/>
                    <a:pt x="292" y="258"/>
                    <a:pt x="292" y="258"/>
                  </a:cubicBezTo>
                  <a:cubicBezTo>
                    <a:pt x="292" y="219"/>
                    <a:pt x="292" y="219"/>
                    <a:pt x="292" y="219"/>
                  </a:cubicBezTo>
                  <a:cubicBezTo>
                    <a:pt x="294" y="217"/>
                    <a:pt x="294" y="217"/>
                    <a:pt x="294" y="217"/>
                  </a:cubicBezTo>
                  <a:cubicBezTo>
                    <a:pt x="292" y="215"/>
                    <a:pt x="292" y="215"/>
                    <a:pt x="292" y="215"/>
                  </a:cubicBezTo>
                  <a:cubicBezTo>
                    <a:pt x="292" y="195"/>
                    <a:pt x="292" y="195"/>
                    <a:pt x="292" y="195"/>
                  </a:cubicBezTo>
                  <a:cubicBezTo>
                    <a:pt x="304" y="208"/>
                    <a:pt x="304" y="208"/>
                    <a:pt x="304" y="208"/>
                  </a:cubicBezTo>
                  <a:cubicBezTo>
                    <a:pt x="309" y="203"/>
                    <a:pt x="309" y="203"/>
                    <a:pt x="309" y="203"/>
                  </a:cubicBezTo>
                  <a:cubicBezTo>
                    <a:pt x="309" y="242"/>
                    <a:pt x="309" y="242"/>
                    <a:pt x="309" y="242"/>
                  </a:cubicBezTo>
                  <a:close/>
                  <a:moveTo>
                    <a:pt x="309" y="84"/>
                  </a:moveTo>
                  <a:cubicBezTo>
                    <a:pt x="309" y="175"/>
                    <a:pt x="309" y="175"/>
                    <a:pt x="309" y="175"/>
                  </a:cubicBezTo>
                  <a:cubicBezTo>
                    <a:pt x="292" y="191"/>
                    <a:pt x="292" y="191"/>
                    <a:pt x="292" y="191"/>
                  </a:cubicBezTo>
                  <a:cubicBezTo>
                    <a:pt x="292" y="77"/>
                    <a:pt x="292" y="77"/>
                    <a:pt x="292" y="77"/>
                  </a:cubicBezTo>
                  <a:cubicBezTo>
                    <a:pt x="304" y="89"/>
                    <a:pt x="304" y="89"/>
                    <a:pt x="304" y="89"/>
                  </a:cubicBezTo>
                  <a:lnTo>
                    <a:pt x="309" y="84"/>
                  </a:lnTo>
                  <a:close/>
                  <a:moveTo>
                    <a:pt x="276" y="56"/>
                  </a:moveTo>
                  <a:cubicBezTo>
                    <a:pt x="289" y="43"/>
                    <a:pt x="289" y="43"/>
                    <a:pt x="289" y="43"/>
                  </a:cubicBezTo>
                  <a:cubicBezTo>
                    <a:pt x="290" y="42"/>
                    <a:pt x="291" y="41"/>
                    <a:pt x="292" y="41"/>
                  </a:cubicBezTo>
                  <a:cubicBezTo>
                    <a:pt x="292" y="63"/>
                    <a:pt x="292" y="63"/>
                    <a:pt x="292" y="63"/>
                  </a:cubicBezTo>
                  <a:cubicBezTo>
                    <a:pt x="286" y="70"/>
                    <a:pt x="286" y="70"/>
                    <a:pt x="286" y="70"/>
                  </a:cubicBezTo>
                  <a:cubicBezTo>
                    <a:pt x="292" y="77"/>
                    <a:pt x="292" y="77"/>
                    <a:pt x="292" y="77"/>
                  </a:cubicBezTo>
                  <a:cubicBezTo>
                    <a:pt x="292" y="191"/>
                    <a:pt x="292" y="191"/>
                    <a:pt x="292" y="191"/>
                  </a:cubicBezTo>
                  <a:cubicBezTo>
                    <a:pt x="290" y="193"/>
                    <a:pt x="290" y="193"/>
                    <a:pt x="290" y="193"/>
                  </a:cubicBezTo>
                  <a:cubicBezTo>
                    <a:pt x="292" y="195"/>
                    <a:pt x="292" y="195"/>
                    <a:pt x="292" y="195"/>
                  </a:cubicBezTo>
                  <a:cubicBezTo>
                    <a:pt x="292" y="215"/>
                    <a:pt x="292" y="215"/>
                    <a:pt x="292" y="215"/>
                  </a:cubicBezTo>
                  <a:cubicBezTo>
                    <a:pt x="280" y="203"/>
                    <a:pt x="280" y="203"/>
                    <a:pt x="280" y="203"/>
                  </a:cubicBezTo>
                  <a:cubicBezTo>
                    <a:pt x="276" y="207"/>
                    <a:pt x="276" y="207"/>
                    <a:pt x="276" y="207"/>
                  </a:cubicBezTo>
                  <a:cubicBezTo>
                    <a:pt x="276" y="56"/>
                    <a:pt x="276" y="56"/>
                    <a:pt x="276" y="56"/>
                  </a:cubicBezTo>
                  <a:close/>
                  <a:moveTo>
                    <a:pt x="292" y="258"/>
                  </a:moveTo>
                  <a:cubicBezTo>
                    <a:pt x="276" y="274"/>
                    <a:pt x="276" y="274"/>
                    <a:pt x="276" y="274"/>
                  </a:cubicBezTo>
                  <a:cubicBezTo>
                    <a:pt x="276" y="235"/>
                    <a:pt x="276" y="235"/>
                    <a:pt x="276" y="235"/>
                  </a:cubicBezTo>
                  <a:cubicBezTo>
                    <a:pt x="292" y="219"/>
                    <a:pt x="292" y="219"/>
                    <a:pt x="292" y="219"/>
                  </a:cubicBezTo>
                  <a:lnTo>
                    <a:pt x="292" y="258"/>
                  </a:lnTo>
                  <a:close/>
                  <a:moveTo>
                    <a:pt x="260" y="43"/>
                  </a:moveTo>
                  <a:cubicBezTo>
                    <a:pt x="274" y="58"/>
                    <a:pt x="274" y="58"/>
                    <a:pt x="274" y="58"/>
                  </a:cubicBezTo>
                  <a:cubicBezTo>
                    <a:pt x="276" y="56"/>
                    <a:pt x="276" y="56"/>
                    <a:pt x="276" y="56"/>
                  </a:cubicBezTo>
                  <a:cubicBezTo>
                    <a:pt x="276" y="207"/>
                    <a:pt x="276" y="207"/>
                    <a:pt x="276" y="207"/>
                  </a:cubicBezTo>
                  <a:cubicBezTo>
                    <a:pt x="260" y="222"/>
                    <a:pt x="260" y="222"/>
                    <a:pt x="260" y="222"/>
                  </a:cubicBezTo>
                  <a:cubicBezTo>
                    <a:pt x="260" y="188"/>
                    <a:pt x="260" y="188"/>
                    <a:pt x="260" y="188"/>
                  </a:cubicBezTo>
                  <a:cubicBezTo>
                    <a:pt x="264" y="185"/>
                    <a:pt x="264" y="185"/>
                    <a:pt x="264" y="185"/>
                  </a:cubicBezTo>
                  <a:cubicBezTo>
                    <a:pt x="260" y="182"/>
                    <a:pt x="260" y="182"/>
                    <a:pt x="260" y="182"/>
                  </a:cubicBezTo>
                  <a:cubicBezTo>
                    <a:pt x="260" y="126"/>
                    <a:pt x="260" y="126"/>
                    <a:pt x="260" y="126"/>
                  </a:cubicBezTo>
                  <a:cubicBezTo>
                    <a:pt x="266" y="121"/>
                    <a:pt x="266" y="121"/>
                    <a:pt x="266" y="121"/>
                  </a:cubicBezTo>
                  <a:cubicBezTo>
                    <a:pt x="260" y="116"/>
                    <a:pt x="260" y="116"/>
                    <a:pt x="260" y="116"/>
                  </a:cubicBezTo>
                  <a:cubicBezTo>
                    <a:pt x="260" y="43"/>
                    <a:pt x="260" y="43"/>
                    <a:pt x="260" y="43"/>
                  </a:cubicBezTo>
                  <a:close/>
                  <a:moveTo>
                    <a:pt x="276" y="274"/>
                  </a:moveTo>
                  <a:cubicBezTo>
                    <a:pt x="269" y="280"/>
                    <a:pt x="269" y="280"/>
                    <a:pt x="269" y="280"/>
                  </a:cubicBezTo>
                  <a:cubicBezTo>
                    <a:pt x="260" y="288"/>
                    <a:pt x="260" y="288"/>
                    <a:pt x="260" y="288"/>
                  </a:cubicBezTo>
                  <a:cubicBezTo>
                    <a:pt x="260" y="250"/>
                    <a:pt x="260" y="250"/>
                    <a:pt x="260" y="250"/>
                  </a:cubicBezTo>
                  <a:cubicBezTo>
                    <a:pt x="261" y="249"/>
                    <a:pt x="261" y="249"/>
                    <a:pt x="261" y="249"/>
                  </a:cubicBezTo>
                  <a:cubicBezTo>
                    <a:pt x="260" y="248"/>
                    <a:pt x="260" y="248"/>
                    <a:pt x="260" y="248"/>
                  </a:cubicBezTo>
                  <a:cubicBezTo>
                    <a:pt x="260" y="228"/>
                    <a:pt x="260" y="228"/>
                    <a:pt x="260" y="228"/>
                  </a:cubicBezTo>
                  <a:cubicBezTo>
                    <a:pt x="271" y="240"/>
                    <a:pt x="271" y="240"/>
                    <a:pt x="271" y="240"/>
                  </a:cubicBezTo>
                  <a:cubicBezTo>
                    <a:pt x="276" y="235"/>
                    <a:pt x="276" y="235"/>
                    <a:pt x="276" y="235"/>
                  </a:cubicBezTo>
                  <a:lnTo>
                    <a:pt x="276" y="274"/>
                  </a:lnTo>
                  <a:close/>
                  <a:moveTo>
                    <a:pt x="247" y="29"/>
                  </a:moveTo>
                  <a:cubicBezTo>
                    <a:pt x="260" y="43"/>
                    <a:pt x="260" y="43"/>
                    <a:pt x="260" y="43"/>
                  </a:cubicBezTo>
                  <a:cubicBezTo>
                    <a:pt x="260" y="116"/>
                    <a:pt x="260" y="116"/>
                    <a:pt x="260" y="116"/>
                  </a:cubicBezTo>
                  <a:cubicBezTo>
                    <a:pt x="252" y="107"/>
                    <a:pt x="252" y="107"/>
                    <a:pt x="252" y="107"/>
                  </a:cubicBezTo>
                  <a:cubicBezTo>
                    <a:pt x="247" y="111"/>
                    <a:pt x="247" y="111"/>
                    <a:pt x="247" y="111"/>
                  </a:cubicBezTo>
                  <a:cubicBezTo>
                    <a:pt x="247" y="29"/>
                    <a:pt x="247" y="29"/>
                    <a:pt x="247" y="29"/>
                  </a:cubicBezTo>
                  <a:close/>
                  <a:moveTo>
                    <a:pt x="260" y="288"/>
                  </a:moveTo>
                  <a:cubicBezTo>
                    <a:pt x="247" y="301"/>
                    <a:pt x="247" y="301"/>
                    <a:pt x="247" y="301"/>
                  </a:cubicBezTo>
                  <a:cubicBezTo>
                    <a:pt x="247" y="262"/>
                    <a:pt x="247" y="262"/>
                    <a:pt x="247" y="262"/>
                  </a:cubicBezTo>
                  <a:cubicBezTo>
                    <a:pt x="260" y="250"/>
                    <a:pt x="260" y="250"/>
                    <a:pt x="260" y="250"/>
                  </a:cubicBezTo>
                  <a:cubicBezTo>
                    <a:pt x="260" y="288"/>
                    <a:pt x="260" y="288"/>
                    <a:pt x="260" y="288"/>
                  </a:cubicBezTo>
                  <a:close/>
                  <a:moveTo>
                    <a:pt x="260" y="126"/>
                  </a:moveTo>
                  <a:cubicBezTo>
                    <a:pt x="260" y="182"/>
                    <a:pt x="260" y="182"/>
                    <a:pt x="260" y="182"/>
                  </a:cubicBezTo>
                  <a:cubicBezTo>
                    <a:pt x="249" y="171"/>
                    <a:pt x="249" y="171"/>
                    <a:pt x="249" y="171"/>
                  </a:cubicBezTo>
                  <a:cubicBezTo>
                    <a:pt x="247" y="173"/>
                    <a:pt x="247" y="173"/>
                    <a:pt x="247" y="173"/>
                  </a:cubicBezTo>
                  <a:cubicBezTo>
                    <a:pt x="247" y="139"/>
                    <a:pt x="247" y="139"/>
                    <a:pt x="247" y="139"/>
                  </a:cubicBezTo>
                  <a:cubicBezTo>
                    <a:pt x="260" y="126"/>
                    <a:pt x="260" y="126"/>
                    <a:pt x="260" y="126"/>
                  </a:cubicBezTo>
                  <a:close/>
                  <a:moveTo>
                    <a:pt x="260" y="188"/>
                  </a:moveTo>
                  <a:cubicBezTo>
                    <a:pt x="260" y="222"/>
                    <a:pt x="260" y="222"/>
                    <a:pt x="260" y="222"/>
                  </a:cubicBezTo>
                  <a:cubicBezTo>
                    <a:pt x="257" y="225"/>
                    <a:pt x="257" y="225"/>
                    <a:pt x="257" y="225"/>
                  </a:cubicBezTo>
                  <a:cubicBezTo>
                    <a:pt x="260" y="228"/>
                    <a:pt x="260" y="228"/>
                    <a:pt x="260" y="228"/>
                  </a:cubicBezTo>
                  <a:cubicBezTo>
                    <a:pt x="260" y="248"/>
                    <a:pt x="260" y="248"/>
                    <a:pt x="260" y="248"/>
                  </a:cubicBezTo>
                  <a:cubicBezTo>
                    <a:pt x="247" y="235"/>
                    <a:pt x="247" y="235"/>
                    <a:pt x="247" y="235"/>
                  </a:cubicBezTo>
                  <a:cubicBezTo>
                    <a:pt x="247" y="235"/>
                    <a:pt x="247" y="235"/>
                    <a:pt x="247" y="235"/>
                  </a:cubicBezTo>
                  <a:cubicBezTo>
                    <a:pt x="247" y="201"/>
                    <a:pt x="247" y="201"/>
                    <a:pt x="247" y="201"/>
                  </a:cubicBezTo>
                  <a:lnTo>
                    <a:pt x="260" y="188"/>
                  </a:lnTo>
                  <a:close/>
                  <a:moveTo>
                    <a:pt x="232" y="13"/>
                  </a:moveTo>
                  <a:cubicBezTo>
                    <a:pt x="247" y="29"/>
                    <a:pt x="247" y="29"/>
                    <a:pt x="247" y="29"/>
                  </a:cubicBezTo>
                  <a:cubicBezTo>
                    <a:pt x="247" y="111"/>
                    <a:pt x="247" y="111"/>
                    <a:pt x="247" y="111"/>
                  </a:cubicBezTo>
                  <a:cubicBezTo>
                    <a:pt x="232" y="126"/>
                    <a:pt x="232" y="126"/>
                    <a:pt x="232" y="126"/>
                  </a:cubicBezTo>
                  <a:cubicBezTo>
                    <a:pt x="232" y="92"/>
                    <a:pt x="232" y="92"/>
                    <a:pt x="232" y="92"/>
                  </a:cubicBezTo>
                  <a:cubicBezTo>
                    <a:pt x="235" y="89"/>
                    <a:pt x="235" y="89"/>
                    <a:pt x="235" y="89"/>
                  </a:cubicBezTo>
                  <a:cubicBezTo>
                    <a:pt x="232" y="86"/>
                    <a:pt x="232" y="86"/>
                    <a:pt x="232" y="86"/>
                  </a:cubicBezTo>
                  <a:cubicBezTo>
                    <a:pt x="232" y="13"/>
                    <a:pt x="232" y="13"/>
                    <a:pt x="232" y="13"/>
                  </a:cubicBezTo>
                  <a:close/>
                  <a:moveTo>
                    <a:pt x="247" y="301"/>
                  </a:moveTo>
                  <a:cubicBezTo>
                    <a:pt x="232" y="316"/>
                    <a:pt x="232" y="316"/>
                    <a:pt x="232" y="316"/>
                  </a:cubicBezTo>
                  <a:cubicBezTo>
                    <a:pt x="232" y="265"/>
                    <a:pt x="232" y="265"/>
                    <a:pt x="232" y="265"/>
                  </a:cubicBezTo>
                  <a:cubicBezTo>
                    <a:pt x="238" y="271"/>
                    <a:pt x="238" y="271"/>
                    <a:pt x="238" y="271"/>
                  </a:cubicBezTo>
                  <a:cubicBezTo>
                    <a:pt x="247" y="262"/>
                    <a:pt x="247" y="262"/>
                    <a:pt x="247" y="262"/>
                  </a:cubicBezTo>
                  <a:cubicBezTo>
                    <a:pt x="247" y="301"/>
                    <a:pt x="247" y="301"/>
                    <a:pt x="247" y="301"/>
                  </a:cubicBezTo>
                  <a:close/>
                  <a:moveTo>
                    <a:pt x="247" y="139"/>
                  </a:moveTo>
                  <a:cubicBezTo>
                    <a:pt x="247" y="173"/>
                    <a:pt x="247" y="173"/>
                    <a:pt x="247" y="173"/>
                  </a:cubicBezTo>
                  <a:cubicBezTo>
                    <a:pt x="232" y="187"/>
                    <a:pt x="232" y="187"/>
                    <a:pt x="232" y="187"/>
                  </a:cubicBezTo>
                  <a:cubicBezTo>
                    <a:pt x="232" y="154"/>
                    <a:pt x="232" y="154"/>
                    <a:pt x="232" y="154"/>
                  </a:cubicBezTo>
                  <a:cubicBezTo>
                    <a:pt x="233" y="153"/>
                    <a:pt x="233" y="153"/>
                    <a:pt x="233" y="153"/>
                  </a:cubicBezTo>
                  <a:cubicBezTo>
                    <a:pt x="232" y="152"/>
                    <a:pt x="232" y="152"/>
                    <a:pt x="232" y="152"/>
                  </a:cubicBezTo>
                  <a:cubicBezTo>
                    <a:pt x="232" y="132"/>
                    <a:pt x="232" y="132"/>
                    <a:pt x="232" y="132"/>
                  </a:cubicBezTo>
                  <a:cubicBezTo>
                    <a:pt x="243" y="143"/>
                    <a:pt x="243" y="143"/>
                    <a:pt x="243" y="143"/>
                  </a:cubicBezTo>
                  <a:cubicBezTo>
                    <a:pt x="247" y="139"/>
                    <a:pt x="247" y="139"/>
                    <a:pt x="247" y="139"/>
                  </a:cubicBezTo>
                  <a:close/>
                  <a:moveTo>
                    <a:pt x="247" y="201"/>
                  </a:moveTo>
                  <a:cubicBezTo>
                    <a:pt x="247" y="235"/>
                    <a:pt x="247" y="235"/>
                    <a:pt x="247" y="235"/>
                  </a:cubicBezTo>
                  <a:cubicBezTo>
                    <a:pt x="232" y="249"/>
                    <a:pt x="232" y="249"/>
                    <a:pt x="232" y="249"/>
                  </a:cubicBezTo>
                  <a:cubicBezTo>
                    <a:pt x="232" y="198"/>
                    <a:pt x="232" y="198"/>
                    <a:pt x="232" y="198"/>
                  </a:cubicBezTo>
                  <a:cubicBezTo>
                    <a:pt x="240" y="207"/>
                    <a:pt x="240" y="207"/>
                    <a:pt x="240" y="207"/>
                  </a:cubicBezTo>
                  <a:lnTo>
                    <a:pt x="247" y="201"/>
                  </a:lnTo>
                  <a:close/>
                  <a:moveTo>
                    <a:pt x="228" y="10"/>
                  </a:moveTo>
                  <a:cubicBezTo>
                    <a:pt x="232" y="13"/>
                    <a:pt x="232" y="13"/>
                    <a:pt x="232" y="13"/>
                  </a:cubicBezTo>
                  <a:cubicBezTo>
                    <a:pt x="232" y="86"/>
                    <a:pt x="232" y="86"/>
                    <a:pt x="232" y="86"/>
                  </a:cubicBezTo>
                  <a:cubicBezTo>
                    <a:pt x="228" y="82"/>
                    <a:pt x="228" y="82"/>
                    <a:pt x="228" y="82"/>
                  </a:cubicBezTo>
                  <a:cubicBezTo>
                    <a:pt x="228" y="10"/>
                    <a:pt x="228" y="10"/>
                    <a:pt x="228" y="10"/>
                  </a:cubicBezTo>
                  <a:close/>
                  <a:moveTo>
                    <a:pt x="232" y="316"/>
                  </a:moveTo>
                  <a:cubicBezTo>
                    <a:pt x="228" y="319"/>
                    <a:pt x="228" y="319"/>
                    <a:pt x="228" y="319"/>
                  </a:cubicBezTo>
                  <a:cubicBezTo>
                    <a:pt x="228" y="261"/>
                    <a:pt x="228" y="261"/>
                    <a:pt x="228" y="261"/>
                  </a:cubicBezTo>
                  <a:cubicBezTo>
                    <a:pt x="232" y="265"/>
                    <a:pt x="232" y="265"/>
                    <a:pt x="232" y="265"/>
                  </a:cubicBezTo>
                  <a:cubicBezTo>
                    <a:pt x="232" y="316"/>
                    <a:pt x="232" y="316"/>
                    <a:pt x="232" y="316"/>
                  </a:cubicBezTo>
                  <a:close/>
                  <a:moveTo>
                    <a:pt x="232" y="92"/>
                  </a:moveTo>
                  <a:cubicBezTo>
                    <a:pt x="232" y="126"/>
                    <a:pt x="232" y="126"/>
                    <a:pt x="232" y="126"/>
                  </a:cubicBezTo>
                  <a:cubicBezTo>
                    <a:pt x="229" y="129"/>
                    <a:pt x="229" y="129"/>
                    <a:pt x="229" y="129"/>
                  </a:cubicBezTo>
                  <a:cubicBezTo>
                    <a:pt x="232" y="132"/>
                    <a:pt x="232" y="132"/>
                    <a:pt x="232" y="132"/>
                  </a:cubicBezTo>
                  <a:cubicBezTo>
                    <a:pt x="232" y="152"/>
                    <a:pt x="232" y="152"/>
                    <a:pt x="232" y="152"/>
                  </a:cubicBezTo>
                  <a:cubicBezTo>
                    <a:pt x="228" y="148"/>
                    <a:pt x="228" y="148"/>
                    <a:pt x="228" y="148"/>
                  </a:cubicBezTo>
                  <a:cubicBezTo>
                    <a:pt x="228" y="95"/>
                    <a:pt x="228" y="95"/>
                    <a:pt x="228" y="95"/>
                  </a:cubicBezTo>
                  <a:cubicBezTo>
                    <a:pt x="232" y="92"/>
                    <a:pt x="232" y="92"/>
                    <a:pt x="232" y="92"/>
                  </a:cubicBezTo>
                  <a:close/>
                  <a:moveTo>
                    <a:pt x="232" y="154"/>
                  </a:moveTo>
                  <a:cubicBezTo>
                    <a:pt x="232" y="187"/>
                    <a:pt x="232" y="187"/>
                    <a:pt x="232" y="187"/>
                  </a:cubicBezTo>
                  <a:cubicBezTo>
                    <a:pt x="228" y="191"/>
                    <a:pt x="228" y="191"/>
                    <a:pt x="228" y="191"/>
                  </a:cubicBezTo>
                  <a:cubicBezTo>
                    <a:pt x="228" y="157"/>
                    <a:pt x="228" y="157"/>
                    <a:pt x="228" y="157"/>
                  </a:cubicBezTo>
                  <a:cubicBezTo>
                    <a:pt x="232" y="154"/>
                    <a:pt x="232" y="154"/>
                    <a:pt x="232" y="154"/>
                  </a:cubicBezTo>
                  <a:close/>
                  <a:moveTo>
                    <a:pt x="232" y="198"/>
                  </a:moveTo>
                  <a:cubicBezTo>
                    <a:pt x="232" y="249"/>
                    <a:pt x="232" y="249"/>
                    <a:pt x="232" y="249"/>
                  </a:cubicBezTo>
                  <a:cubicBezTo>
                    <a:pt x="228" y="253"/>
                    <a:pt x="228" y="253"/>
                    <a:pt x="228" y="253"/>
                  </a:cubicBezTo>
                  <a:cubicBezTo>
                    <a:pt x="228" y="219"/>
                    <a:pt x="228" y="219"/>
                    <a:pt x="228" y="219"/>
                  </a:cubicBezTo>
                  <a:cubicBezTo>
                    <a:pt x="230" y="217"/>
                    <a:pt x="230" y="217"/>
                    <a:pt x="230" y="217"/>
                  </a:cubicBezTo>
                  <a:cubicBezTo>
                    <a:pt x="228" y="215"/>
                    <a:pt x="228" y="215"/>
                    <a:pt x="228" y="215"/>
                  </a:cubicBezTo>
                  <a:cubicBezTo>
                    <a:pt x="228" y="195"/>
                    <a:pt x="228" y="195"/>
                    <a:pt x="228" y="195"/>
                  </a:cubicBezTo>
                  <a:lnTo>
                    <a:pt x="232" y="198"/>
                  </a:lnTo>
                  <a:close/>
                  <a:moveTo>
                    <a:pt x="226" y="7"/>
                  </a:moveTo>
                  <a:cubicBezTo>
                    <a:pt x="228" y="10"/>
                    <a:pt x="228" y="10"/>
                    <a:pt x="228" y="10"/>
                  </a:cubicBezTo>
                  <a:cubicBezTo>
                    <a:pt x="228" y="82"/>
                    <a:pt x="228" y="82"/>
                    <a:pt x="228" y="82"/>
                  </a:cubicBezTo>
                  <a:cubicBezTo>
                    <a:pt x="226" y="80"/>
                    <a:pt x="226" y="80"/>
                    <a:pt x="226" y="80"/>
                  </a:cubicBezTo>
                  <a:cubicBezTo>
                    <a:pt x="226" y="7"/>
                    <a:pt x="226" y="7"/>
                    <a:pt x="226" y="7"/>
                  </a:cubicBezTo>
                  <a:close/>
                  <a:moveTo>
                    <a:pt x="228" y="319"/>
                  </a:moveTo>
                  <a:cubicBezTo>
                    <a:pt x="226" y="321"/>
                    <a:pt x="226" y="321"/>
                    <a:pt x="226" y="321"/>
                  </a:cubicBezTo>
                  <a:cubicBezTo>
                    <a:pt x="226" y="283"/>
                    <a:pt x="226" y="283"/>
                    <a:pt x="226" y="283"/>
                  </a:cubicBezTo>
                  <a:cubicBezTo>
                    <a:pt x="228" y="281"/>
                    <a:pt x="228" y="281"/>
                    <a:pt x="228" y="281"/>
                  </a:cubicBezTo>
                  <a:cubicBezTo>
                    <a:pt x="226" y="279"/>
                    <a:pt x="226" y="279"/>
                    <a:pt x="226" y="279"/>
                  </a:cubicBezTo>
                  <a:cubicBezTo>
                    <a:pt x="226" y="259"/>
                    <a:pt x="226" y="259"/>
                    <a:pt x="226" y="259"/>
                  </a:cubicBezTo>
                  <a:cubicBezTo>
                    <a:pt x="228" y="261"/>
                    <a:pt x="228" y="261"/>
                    <a:pt x="228" y="261"/>
                  </a:cubicBezTo>
                  <a:cubicBezTo>
                    <a:pt x="228" y="319"/>
                    <a:pt x="228" y="319"/>
                    <a:pt x="228" y="319"/>
                  </a:cubicBezTo>
                  <a:close/>
                  <a:moveTo>
                    <a:pt x="228" y="95"/>
                  </a:moveTo>
                  <a:cubicBezTo>
                    <a:pt x="228" y="148"/>
                    <a:pt x="228" y="148"/>
                    <a:pt x="228" y="148"/>
                  </a:cubicBezTo>
                  <a:cubicBezTo>
                    <a:pt x="226" y="146"/>
                    <a:pt x="226" y="146"/>
                    <a:pt x="226" y="146"/>
                  </a:cubicBezTo>
                  <a:cubicBezTo>
                    <a:pt x="226" y="97"/>
                    <a:pt x="226" y="97"/>
                    <a:pt x="226" y="97"/>
                  </a:cubicBezTo>
                  <a:cubicBezTo>
                    <a:pt x="228" y="95"/>
                    <a:pt x="228" y="95"/>
                    <a:pt x="228" y="95"/>
                  </a:cubicBezTo>
                  <a:close/>
                  <a:moveTo>
                    <a:pt x="228" y="157"/>
                  </a:moveTo>
                  <a:cubicBezTo>
                    <a:pt x="228" y="191"/>
                    <a:pt x="228" y="191"/>
                    <a:pt x="228" y="191"/>
                  </a:cubicBezTo>
                  <a:cubicBezTo>
                    <a:pt x="226" y="193"/>
                    <a:pt x="226" y="193"/>
                    <a:pt x="226" y="193"/>
                  </a:cubicBezTo>
                  <a:cubicBezTo>
                    <a:pt x="228" y="195"/>
                    <a:pt x="228" y="195"/>
                    <a:pt x="228" y="195"/>
                  </a:cubicBezTo>
                  <a:cubicBezTo>
                    <a:pt x="228" y="215"/>
                    <a:pt x="228" y="215"/>
                    <a:pt x="228" y="215"/>
                  </a:cubicBezTo>
                  <a:cubicBezTo>
                    <a:pt x="226" y="212"/>
                    <a:pt x="226" y="212"/>
                    <a:pt x="226" y="212"/>
                  </a:cubicBezTo>
                  <a:cubicBezTo>
                    <a:pt x="226" y="159"/>
                    <a:pt x="226" y="159"/>
                    <a:pt x="226" y="159"/>
                  </a:cubicBezTo>
                  <a:cubicBezTo>
                    <a:pt x="228" y="157"/>
                    <a:pt x="228" y="157"/>
                    <a:pt x="228" y="157"/>
                  </a:cubicBezTo>
                  <a:close/>
                  <a:moveTo>
                    <a:pt x="228" y="219"/>
                  </a:moveTo>
                  <a:cubicBezTo>
                    <a:pt x="228" y="253"/>
                    <a:pt x="228" y="253"/>
                    <a:pt x="228" y="253"/>
                  </a:cubicBezTo>
                  <a:cubicBezTo>
                    <a:pt x="226" y="255"/>
                    <a:pt x="226" y="255"/>
                    <a:pt x="226" y="255"/>
                  </a:cubicBezTo>
                  <a:cubicBezTo>
                    <a:pt x="226" y="221"/>
                    <a:pt x="226" y="221"/>
                    <a:pt x="226" y="221"/>
                  </a:cubicBezTo>
                  <a:lnTo>
                    <a:pt x="228" y="219"/>
                  </a:lnTo>
                  <a:close/>
                  <a:moveTo>
                    <a:pt x="216" y="3"/>
                  </a:moveTo>
                  <a:cubicBezTo>
                    <a:pt x="219" y="0"/>
                    <a:pt x="219" y="0"/>
                    <a:pt x="219" y="0"/>
                  </a:cubicBezTo>
                  <a:cubicBezTo>
                    <a:pt x="226" y="7"/>
                    <a:pt x="226" y="7"/>
                    <a:pt x="226" y="7"/>
                  </a:cubicBezTo>
                  <a:cubicBezTo>
                    <a:pt x="226" y="80"/>
                    <a:pt x="226" y="80"/>
                    <a:pt x="226" y="80"/>
                  </a:cubicBezTo>
                  <a:cubicBezTo>
                    <a:pt x="221" y="74"/>
                    <a:pt x="221" y="74"/>
                    <a:pt x="221" y="74"/>
                  </a:cubicBezTo>
                  <a:cubicBezTo>
                    <a:pt x="216" y="79"/>
                    <a:pt x="216" y="79"/>
                    <a:pt x="216" y="79"/>
                  </a:cubicBezTo>
                  <a:cubicBezTo>
                    <a:pt x="216" y="3"/>
                    <a:pt x="216" y="3"/>
                    <a:pt x="216" y="3"/>
                  </a:cubicBezTo>
                  <a:close/>
                  <a:moveTo>
                    <a:pt x="226" y="321"/>
                  </a:moveTo>
                  <a:cubicBezTo>
                    <a:pt x="216" y="331"/>
                    <a:pt x="216" y="331"/>
                    <a:pt x="216" y="331"/>
                  </a:cubicBezTo>
                  <a:cubicBezTo>
                    <a:pt x="216" y="292"/>
                    <a:pt x="216" y="292"/>
                    <a:pt x="216" y="292"/>
                  </a:cubicBezTo>
                  <a:cubicBezTo>
                    <a:pt x="226" y="283"/>
                    <a:pt x="226" y="283"/>
                    <a:pt x="226" y="283"/>
                  </a:cubicBezTo>
                  <a:cubicBezTo>
                    <a:pt x="226" y="321"/>
                    <a:pt x="226" y="321"/>
                    <a:pt x="226" y="321"/>
                  </a:cubicBezTo>
                  <a:close/>
                  <a:moveTo>
                    <a:pt x="226" y="97"/>
                  </a:moveTo>
                  <a:cubicBezTo>
                    <a:pt x="226" y="146"/>
                    <a:pt x="226" y="146"/>
                    <a:pt x="226" y="146"/>
                  </a:cubicBezTo>
                  <a:cubicBezTo>
                    <a:pt x="219" y="138"/>
                    <a:pt x="219" y="138"/>
                    <a:pt x="219" y="138"/>
                  </a:cubicBezTo>
                  <a:cubicBezTo>
                    <a:pt x="216" y="141"/>
                    <a:pt x="216" y="141"/>
                    <a:pt x="216" y="141"/>
                  </a:cubicBezTo>
                  <a:cubicBezTo>
                    <a:pt x="216" y="107"/>
                    <a:pt x="216" y="107"/>
                    <a:pt x="216" y="107"/>
                  </a:cubicBezTo>
                  <a:cubicBezTo>
                    <a:pt x="226" y="97"/>
                    <a:pt x="226" y="97"/>
                    <a:pt x="226" y="97"/>
                  </a:cubicBezTo>
                  <a:close/>
                  <a:moveTo>
                    <a:pt x="226" y="159"/>
                  </a:moveTo>
                  <a:cubicBezTo>
                    <a:pt x="226" y="212"/>
                    <a:pt x="226" y="212"/>
                    <a:pt x="226" y="212"/>
                  </a:cubicBezTo>
                  <a:cubicBezTo>
                    <a:pt x="216" y="202"/>
                    <a:pt x="216" y="202"/>
                    <a:pt x="216" y="202"/>
                  </a:cubicBezTo>
                  <a:cubicBezTo>
                    <a:pt x="216" y="168"/>
                    <a:pt x="216" y="168"/>
                    <a:pt x="216" y="168"/>
                  </a:cubicBezTo>
                  <a:cubicBezTo>
                    <a:pt x="226" y="159"/>
                    <a:pt x="226" y="159"/>
                    <a:pt x="226" y="159"/>
                  </a:cubicBezTo>
                  <a:close/>
                  <a:moveTo>
                    <a:pt x="226" y="221"/>
                  </a:moveTo>
                  <a:cubicBezTo>
                    <a:pt x="226" y="255"/>
                    <a:pt x="226" y="255"/>
                    <a:pt x="226" y="255"/>
                  </a:cubicBezTo>
                  <a:cubicBezTo>
                    <a:pt x="224" y="257"/>
                    <a:pt x="224" y="257"/>
                    <a:pt x="224" y="257"/>
                  </a:cubicBezTo>
                  <a:cubicBezTo>
                    <a:pt x="226" y="259"/>
                    <a:pt x="226" y="259"/>
                    <a:pt x="226" y="259"/>
                  </a:cubicBezTo>
                  <a:cubicBezTo>
                    <a:pt x="226" y="279"/>
                    <a:pt x="226" y="279"/>
                    <a:pt x="226" y="279"/>
                  </a:cubicBezTo>
                  <a:cubicBezTo>
                    <a:pt x="216" y="269"/>
                    <a:pt x="216" y="269"/>
                    <a:pt x="216" y="269"/>
                  </a:cubicBezTo>
                  <a:cubicBezTo>
                    <a:pt x="216" y="230"/>
                    <a:pt x="216" y="230"/>
                    <a:pt x="216" y="230"/>
                  </a:cubicBezTo>
                  <a:lnTo>
                    <a:pt x="226" y="221"/>
                  </a:lnTo>
                  <a:close/>
                  <a:moveTo>
                    <a:pt x="200" y="19"/>
                  </a:moveTo>
                  <a:cubicBezTo>
                    <a:pt x="216" y="3"/>
                    <a:pt x="216" y="3"/>
                    <a:pt x="216" y="3"/>
                  </a:cubicBezTo>
                  <a:cubicBezTo>
                    <a:pt x="216" y="79"/>
                    <a:pt x="216" y="79"/>
                    <a:pt x="216" y="79"/>
                  </a:cubicBezTo>
                  <a:cubicBezTo>
                    <a:pt x="200" y="94"/>
                    <a:pt x="200" y="94"/>
                    <a:pt x="200" y="94"/>
                  </a:cubicBezTo>
                  <a:cubicBezTo>
                    <a:pt x="200" y="19"/>
                    <a:pt x="200" y="19"/>
                    <a:pt x="200" y="19"/>
                  </a:cubicBezTo>
                  <a:close/>
                  <a:moveTo>
                    <a:pt x="216" y="331"/>
                  </a:moveTo>
                  <a:cubicBezTo>
                    <a:pt x="200" y="347"/>
                    <a:pt x="200" y="347"/>
                    <a:pt x="200" y="347"/>
                  </a:cubicBezTo>
                  <a:cubicBezTo>
                    <a:pt x="200" y="298"/>
                    <a:pt x="200" y="298"/>
                    <a:pt x="200" y="298"/>
                  </a:cubicBezTo>
                  <a:cubicBezTo>
                    <a:pt x="205" y="303"/>
                    <a:pt x="205" y="303"/>
                    <a:pt x="205" y="303"/>
                  </a:cubicBezTo>
                  <a:cubicBezTo>
                    <a:pt x="216" y="292"/>
                    <a:pt x="216" y="292"/>
                    <a:pt x="216" y="292"/>
                  </a:cubicBezTo>
                  <a:cubicBezTo>
                    <a:pt x="216" y="331"/>
                    <a:pt x="216" y="331"/>
                    <a:pt x="216" y="331"/>
                  </a:cubicBezTo>
                  <a:close/>
                  <a:moveTo>
                    <a:pt x="216" y="107"/>
                  </a:moveTo>
                  <a:cubicBezTo>
                    <a:pt x="216" y="141"/>
                    <a:pt x="216" y="141"/>
                    <a:pt x="216" y="141"/>
                  </a:cubicBezTo>
                  <a:cubicBezTo>
                    <a:pt x="200" y="156"/>
                    <a:pt x="200" y="156"/>
                    <a:pt x="200" y="156"/>
                  </a:cubicBezTo>
                  <a:cubicBezTo>
                    <a:pt x="200" y="123"/>
                    <a:pt x="200" y="123"/>
                    <a:pt x="200" y="123"/>
                  </a:cubicBezTo>
                  <a:cubicBezTo>
                    <a:pt x="202" y="121"/>
                    <a:pt x="202" y="121"/>
                    <a:pt x="202" y="121"/>
                  </a:cubicBezTo>
                  <a:cubicBezTo>
                    <a:pt x="200" y="119"/>
                    <a:pt x="200" y="119"/>
                    <a:pt x="200" y="119"/>
                  </a:cubicBezTo>
                  <a:cubicBezTo>
                    <a:pt x="200" y="98"/>
                    <a:pt x="200" y="98"/>
                    <a:pt x="200" y="98"/>
                  </a:cubicBezTo>
                  <a:cubicBezTo>
                    <a:pt x="212" y="111"/>
                    <a:pt x="212" y="111"/>
                    <a:pt x="212" y="111"/>
                  </a:cubicBezTo>
                  <a:cubicBezTo>
                    <a:pt x="216" y="107"/>
                    <a:pt x="216" y="107"/>
                    <a:pt x="216" y="107"/>
                  </a:cubicBezTo>
                  <a:close/>
                  <a:moveTo>
                    <a:pt x="216" y="168"/>
                  </a:moveTo>
                  <a:cubicBezTo>
                    <a:pt x="216" y="202"/>
                    <a:pt x="216" y="202"/>
                    <a:pt x="216" y="202"/>
                  </a:cubicBezTo>
                  <a:cubicBezTo>
                    <a:pt x="216" y="202"/>
                    <a:pt x="216" y="202"/>
                    <a:pt x="216" y="202"/>
                  </a:cubicBezTo>
                  <a:cubicBezTo>
                    <a:pt x="200" y="218"/>
                    <a:pt x="200" y="218"/>
                    <a:pt x="200" y="218"/>
                  </a:cubicBezTo>
                  <a:cubicBezTo>
                    <a:pt x="200" y="165"/>
                    <a:pt x="200" y="165"/>
                    <a:pt x="200" y="165"/>
                  </a:cubicBezTo>
                  <a:cubicBezTo>
                    <a:pt x="209" y="175"/>
                    <a:pt x="209" y="175"/>
                    <a:pt x="209" y="175"/>
                  </a:cubicBezTo>
                  <a:cubicBezTo>
                    <a:pt x="216" y="168"/>
                    <a:pt x="216" y="168"/>
                    <a:pt x="216" y="168"/>
                  </a:cubicBezTo>
                  <a:close/>
                  <a:moveTo>
                    <a:pt x="216" y="230"/>
                  </a:moveTo>
                  <a:cubicBezTo>
                    <a:pt x="216" y="269"/>
                    <a:pt x="216" y="269"/>
                    <a:pt x="216" y="269"/>
                  </a:cubicBezTo>
                  <a:cubicBezTo>
                    <a:pt x="214" y="266"/>
                    <a:pt x="214" y="266"/>
                    <a:pt x="214" y="266"/>
                  </a:cubicBezTo>
                  <a:cubicBezTo>
                    <a:pt x="200" y="280"/>
                    <a:pt x="200" y="280"/>
                    <a:pt x="200" y="280"/>
                  </a:cubicBezTo>
                  <a:cubicBezTo>
                    <a:pt x="200" y="231"/>
                    <a:pt x="200" y="231"/>
                    <a:pt x="200" y="231"/>
                  </a:cubicBezTo>
                  <a:cubicBezTo>
                    <a:pt x="207" y="239"/>
                    <a:pt x="207" y="239"/>
                    <a:pt x="207" y="239"/>
                  </a:cubicBezTo>
                  <a:lnTo>
                    <a:pt x="216" y="230"/>
                  </a:lnTo>
                  <a:close/>
                  <a:moveTo>
                    <a:pt x="197" y="19"/>
                  </a:moveTo>
                  <a:cubicBezTo>
                    <a:pt x="198" y="20"/>
                    <a:pt x="198" y="20"/>
                    <a:pt x="198" y="20"/>
                  </a:cubicBezTo>
                  <a:cubicBezTo>
                    <a:pt x="200" y="19"/>
                    <a:pt x="200" y="19"/>
                    <a:pt x="200" y="19"/>
                  </a:cubicBezTo>
                  <a:cubicBezTo>
                    <a:pt x="200" y="94"/>
                    <a:pt x="200" y="94"/>
                    <a:pt x="200" y="94"/>
                  </a:cubicBezTo>
                  <a:cubicBezTo>
                    <a:pt x="198" y="96"/>
                    <a:pt x="198" y="96"/>
                    <a:pt x="198" y="96"/>
                  </a:cubicBezTo>
                  <a:cubicBezTo>
                    <a:pt x="200" y="98"/>
                    <a:pt x="200" y="98"/>
                    <a:pt x="200" y="98"/>
                  </a:cubicBezTo>
                  <a:cubicBezTo>
                    <a:pt x="200" y="119"/>
                    <a:pt x="200" y="119"/>
                    <a:pt x="200" y="119"/>
                  </a:cubicBezTo>
                  <a:cubicBezTo>
                    <a:pt x="197" y="116"/>
                    <a:pt x="197" y="116"/>
                    <a:pt x="197" y="116"/>
                  </a:cubicBezTo>
                  <a:cubicBezTo>
                    <a:pt x="197" y="19"/>
                    <a:pt x="197" y="19"/>
                    <a:pt x="197" y="19"/>
                  </a:cubicBezTo>
                  <a:close/>
                  <a:moveTo>
                    <a:pt x="200" y="347"/>
                  </a:moveTo>
                  <a:cubicBezTo>
                    <a:pt x="197" y="349"/>
                    <a:pt x="197" y="349"/>
                    <a:pt x="197" y="349"/>
                  </a:cubicBezTo>
                  <a:cubicBezTo>
                    <a:pt x="197" y="295"/>
                    <a:pt x="197" y="295"/>
                    <a:pt x="197" y="295"/>
                  </a:cubicBezTo>
                  <a:cubicBezTo>
                    <a:pt x="200" y="298"/>
                    <a:pt x="200" y="298"/>
                    <a:pt x="200" y="298"/>
                  </a:cubicBezTo>
                  <a:cubicBezTo>
                    <a:pt x="200" y="347"/>
                    <a:pt x="200" y="347"/>
                    <a:pt x="200" y="347"/>
                  </a:cubicBezTo>
                  <a:close/>
                  <a:moveTo>
                    <a:pt x="200" y="123"/>
                  </a:moveTo>
                  <a:cubicBezTo>
                    <a:pt x="200" y="156"/>
                    <a:pt x="200" y="156"/>
                    <a:pt x="200" y="156"/>
                  </a:cubicBezTo>
                  <a:cubicBezTo>
                    <a:pt x="197" y="159"/>
                    <a:pt x="197" y="159"/>
                    <a:pt x="197" y="159"/>
                  </a:cubicBezTo>
                  <a:cubicBezTo>
                    <a:pt x="197" y="125"/>
                    <a:pt x="197" y="125"/>
                    <a:pt x="197" y="125"/>
                  </a:cubicBezTo>
                  <a:cubicBezTo>
                    <a:pt x="200" y="123"/>
                    <a:pt x="200" y="123"/>
                    <a:pt x="200" y="123"/>
                  </a:cubicBezTo>
                  <a:close/>
                  <a:moveTo>
                    <a:pt x="200" y="165"/>
                  </a:moveTo>
                  <a:cubicBezTo>
                    <a:pt x="200" y="218"/>
                    <a:pt x="200" y="218"/>
                    <a:pt x="200" y="218"/>
                  </a:cubicBezTo>
                  <a:cubicBezTo>
                    <a:pt x="197" y="220"/>
                    <a:pt x="197" y="220"/>
                    <a:pt x="197" y="220"/>
                  </a:cubicBezTo>
                  <a:cubicBezTo>
                    <a:pt x="197" y="186"/>
                    <a:pt x="197" y="186"/>
                    <a:pt x="197" y="186"/>
                  </a:cubicBezTo>
                  <a:cubicBezTo>
                    <a:pt x="199" y="185"/>
                    <a:pt x="199" y="185"/>
                    <a:pt x="199" y="185"/>
                  </a:cubicBezTo>
                  <a:cubicBezTo>
                    <a:pt x="197" y="183"/>
                    <a:pt x="197" y="183"/>
                    <a:pt x="197" y="183"/>
                  </a:cubicBezTo>
                  <a:cubicBezTo>
                    <a:pt x="197" y="163"/>
                    <a:pt x="197" y="163"/>
                    <a:pt x="197" y="163"/>
                  </a:cubicBezTo>
                  <a:cubicBezTo>
                    <a:pt x="200" y="165"/>
                    <a:pt x="200" y="165"/>
                    <a:pt x="200" y="165"/>
                  </a:cubicBezTo>
                  <a:close/>
                  <a:moveTo>
                    <a:pt x="200" y="231"/>
                  </a:moveTo>
                  <a:cubicBezTo>
                    <a:pt x="200" y="280"/>
                    <a:pt x="200" y="280"/>
                    <a:pt x="200" y="280"/>
                  </a:cubicBezTo>
                  <a:cubicBezTo>
                    <a:pt x="197" y="282"/>
                    <a:pt x="197" y="282"/>
                    <a:pt x="197" y="282"/>
                  </a:cubicBezTo>
                  <a:cubicBezTo>
                    <a:pt x="197" y="229"/>
                    <a:pt x="197" y="229"/>
                    <a:pt x="197" y="229"/>
                  </a:cubicBezTo>
                  <a:lnTo>
                    <a:pt x="200" y="231"/>
                  </a:lnTo>
                  <a:close/>
                  <a:moveTo>
                    <a:pt x="193" y="14"/>
                  </a:moveTo>
                  <a:cubicBezTo>
                    <a:pt x="197" y="19"/>
                    <a:pt x="197" y="19"/>
                    <a:pt x="197" y="19"/>
                  </a:cubicBezTo>
                  <a:cubicBezTo>
                    <a:pt x="197" y="116"/>
                    <a:pt x="197" y="116"/>
                    <a:pt x="197" y="116"/>
                  </a:cubicBezTo>
                  <a:cubicBezTo>
                    <a:pt x="193" y="111"/>
                    <a:pt x="193" y="111"/>
                    <a:pt x="193" y="111"/>
                  </a:cubicBezTo>
                  <a:cubicBezTo>
                    <a:pt x="193" y="14"/>
                    <a:pt x="193" y="14"/>
                    <a:pt x="193" y="14"/>
                  </a:cubicBezTo>
                  <a:close/>
                  <a:moveTo>
                    <a:pt x="197" y="349"/>
                  </a:moveTo>
                  <a:cubicBezTo>
                    <a:pt x="193" y="353"/>
                    <a:pt x="193" y="353"/>
                    <a:pt x="193" y="353"/>
                  </a:cubicBezTo>
                  <a:cubicBezTo>
                    <a:pt x="193" y="314"/>
                    <a:pt x="193" y="314"/>
                    <a:pt x="193" y="314"/>
                  </a:cubicBezTo>
                  <a:cubicBezTo>
                    <a:pt x="195" y="313"/>
                    <a:pt x="195" y="313"/>
                    <a:pt x="195" y="313"/>
                  </a:cubicBezTo>
                  <a:cubicBezTo>
                    <a:pt x="193" y="311"/>
                    <a:pt x="193" y="311"/>
                    <a:pt x="193" y="311"/>
                  </a:cubicBezTo>
                  <a:cubicBezTo>
                    <a:pt x="193" y="290"/>
                    <a:pt x="193" y="290"/>
                    <a:pt x="193" y="290"/>
                  </a:cubicBezTo>
                  <a:cubicBezTo>
                    <a:pt x="197" y="295"/>
                    <a:pt x="197" y="295"/>
                    <a:pt x="197" y="295"/>
                  </a:cubicBezTo>
                  <a:cubicBezTo>
                    <a:pt x="197" y="349"/>
                    <a:pt x="197" y="349"/>
                    <a:pt x="197" y="349"/>
                  </a:cubicBezTo>
                  <a:close/>
                  <a:moveTo>
                    <a:pt x="197" y="125"/>
                  </a:moveTo>
                  <a:cubicBezTo>
                    <a:pt x="197" y="159"/>
                    <a:pt x="197" y="159"/>
                    <a:pt x="197" y="159"/>
                  </a:cubicBezTo>
                  <a:cubicBezTo>
                    <a:pt x="196" y="161"/>
                    <a:pt x="196" y="161"/>
                    <a:pt x="196" y="161"/>
                  </a:cubicBezTo>
                  <a:cubicBezTo>
                    <a:pt x="197" y="163"/>
                    <a:pt x="197" y="163"/>
                    <a:pt x="197" y="163"/>
                  </a:cubicBezTo>
                  <a:cubicBezTo>
                    <a:pt x="197" y="183"/>
                    <a:pt x="197" y="183"/>
                    <a:pt x="197" y="183"/>
                  </a:cubicBezTo>
                  <a:cubicBezTo>
                    <a:pt x="193" y="178"/>
                    <a:pt x="193" y="178"/>
                    <a:pt x="193" y="178"/>
                  </a:cubicBezTo>
                  <a:cubicBezTo>
                    <a:pt x="193" y="129"/>
                    <a:pt x="193" y="129"/>
                    <a:pt x="193" y="129"/>
                  </a:cubicBezTo>
                  <a:cubicBezTo>
                    <a:pt x="197" y="125"/>
                    <a:pt x="197" y="125"/>
                    <a:pt x="197" y="125"/>
                  </a:cubicBezTo>
                  <a:close/>
                  <a:moveTo>
                    <a:pt x="197" y="186"/>
                  </a:moveTo>
                  <a:cubicBezTo>
                    <a:pt x="197" y="220"/>
                    <a:pt x="197" y="220"/>
                    <a:pt x="197" y="220"/>
                  </a:cubicBezTo>
                  <a:cubicBezTo>
                    <a:pt x="193" y="224"/>
                    <a:pt x="193" y="224"/>
                    <a:pt x="193" y="224"/>
                  </a:cubicBezTo>
                  <a:cubicBezTo>
                    <a:pt x="197" y="229"/>
                    <a:pt x="197" y="229"/>
                    <a:pt x="197" y="229"/>
                  </a:cubicBezTo>
                  <a:cubicBezTo>
                    <a:pt x="197" y="282"/>
                    <a:pt x="197" y="282"/>
                    <a:pt x="197" y="282"/>
                  </a:cubicBezTo>
                  <a:cubicBezTo>
                    <a:pt x="193" y="287"/>
                    <a:pt x="193" y="287"/>
                    <a:pt x="193" y="287"/>
                  </a:cubicBezTo>
                  <a:cubicBezTo>
                    <a:pt x="193" y="191"/>
                    <a:pt x="193" y="191"/>
                    <a:pt x="193" y="191"/>
                  </a:cubicBezTo>
                  <a:lnTo>
                    <a:pt x="197" y="186"/>
                  </a:lnTo>
                  <a:close/>
                  <a:moveTo>
                    <a:pt x="186" y="7"/>
                  </a:moveTo>
                  <a:cubicBezTo>
                    <a:pt x="193" y="14"/>
                    <a:pt x="193" y="14"/>
                    <a:pt x="193" y="14"/>
                  </a:cubicBezTo>
                  <a:cubicBezTo>
                    <a:pt x="193" y="111"/>
                    <a:pt x="193" y="111"/>
                    <a:pt x="193" y="111"/>
                  </a:cubicBezTo>
                  <a:cubicBezTo>
                    <a:pt x="188" y="106"/>
                    <a:pt x="188" y="106"/>
                    <a:pt x="188" y="106"/>
                  </a:cubicBezTo>
                  <a:cubicBezTo>
                    <a:pt x="183" y="110"/>
                    <a:pt x="183" y="110"/>
                    <a:pt x="183" y="110"/>
                  </a:cubicBezTo>
                  <a:cubicBezTo>
                    <a:pt x="183" y="10"/>
                    <a:pt x="183" y="10"/>
                    <a:pt x="183" y="10"/>
                  </a:cubicBezTo>
                  <a:cubicBezTo>
                    <a:pt x="186" y="7"/>
                    <a:pt x="186" y="7"/>
                    <a:pt x="186" y="7"/>
                  </a:cubicBezTo>
                  <a:close/>
                  <a:moveTo>
                    <a:pt x="193" y="353"/>
                  </a:moveTo>
                  <a:cubicBezTo>
                    <a:pt x="183" y="362"/>
                    <a:pt x="183" y="362"/>
                    <a:pt x="183" y="362"/>
                  </a:cubicBezTo>
                  <a:cubicBezTo>
                    <a:pt x="183" y="324"/>
                    <a:pt x="183" y="324"/>
                    <a:pt x="183" y="324"/>
                  </a:cubicBezTo>
                  <a:cubicBezTo>
                    <a:pt x="193" y="314"/>
                    <a:pt x="193" y="314"/>
                    <a:pt x="193" y="314"/>
                  </a:cubicBezTo>
                  <a:cubicBezTo>
                    <a:pt x="193" y="353"/>
                    <a:pt x="193" y="353"/>
                    <a:pt x="193" y="353"/>
                  </a:cubicBezTo>
                  <a:close/>
                  <a:moveTo>
                    <a:pt x="193" y="129"/>
                  </a:moveTo>
                  <a:cubicBezTo>
                    <a:pt x="193" y="178"/>
                    <a:pt x="193" y="178"/>
                    <a:pt x="193" y="178"/>
                  </a:cubicBezTo>
                  <a:cubicBezTo>
                    <a:pt x="185" y="170"/>
                    <a:pt x="185" y="170"/>
                    <a:pt x="185" y="170"/>
                  </a:cubicBezTo>
                  <a:cubicBezTo>
                    <a:pt x="183" y="172"/>
                    <a:pt x="183" y="172"/>
                    <a:pt x="183" y="172"/>
                  </a:cubicBezTo>
                  <a:cubicBezTo>
                    <a:pt x="183" y="139"/>
                    <a:pt x="183" y="139"/>
                    <a:pt x="183" y="139"/>
                  </a:cubicBezTo>
                  <a:cubicBezTo>
                    <a:pt x="193" y="129"/>
                    <a:pt x="193" y="129"/>
                    <a:pt x="193" y="129"/>
                  </a:cubicBezTo>
                  <a:close/>
                  <a:moveTo>
                    <a:pt x="193" y="191"/>
                  </a:moveTo>
                  <a:cubicBezTo>
                    <a:pt x="193" y="287"/>
                    <a:pt x="193" y="287"/>
                    <a:pt x="193" y="287"/>
                  </a:cubicBezTo>
                  <a:cubicBezTo>
                    <a:pt x="191" y="288"/>
                    <a:pt x="191" y="288"/>
                    <a:pt x="191" y="288"/>
                  </a:cubicBezTo>
                  <a:cubicBezTo>
                    <a:pt x="193" y="290"/>
                    <a:pt x="193" y="290"/>
                    <a:pt x="193" y="290"/>
                  </a:cubicBezTo>
                  <a:cubicBezTo>
                    <a:pt x="193" y="311"/>
                    <a:pt x="193" y="311"/>
                    <a:pt x="193" y="311"/>
                  </a:cubicBezTo>
                  <a:cubicBezTo>
                    <a:pt x="183" y="301"/>
                    <a:pt x="183" y="301"/>
                    <a:pt x="183" y="301"/>
                  </a:cubicBezTo>
                  <a:cubicBezTo>
                    <a:pt x="183" y="200"/>
                    <a:pt x="183" y="200"/>
                    <a:pt x="183" y="200"/>
                  </a:cubicBezTo>
                  <a:lnTo>
                    <a:pt x="193" y="191"/>
                  </a:lnTo>
                  <a:close/>
                  <a:moveTo>
                    <a:pt x="183" y="362"/>
                  </a:moveTo>
                  <a:cubicBezTo>
                    <a:pt x="176" y="369"/>
                    <a:pt x="176" y="369"/>
                    <a:pt x="176" y="369"/>
                  </a:cubicBezTo>
                  <a:cubicBezTo>
                    <a:pt x="168" y="360"/>
                    <a:pt x="168" y="360"/>
                    <a:pt x="168" y="360"/>
                  </a:cubicBezTo>
                  <a:cubicBezTo>
                    <a:pt x="168" y="331"/>
                    <a:pt x="168" y="331"/>
                    <a:pt x="168" y="331"/>
                  </a:cubicBezTo>
                  <a:cubicBezTo>
                    <a:pt x="172" y="335"/>
                    <a:pt x="172" y="335"/>
                    <a:pt x="172" y="335"/>
                  </a:cubicBezTo>
                  <a:cubicBezTo>
                    <a:pt x="183" y="324"/>
                    <a:pt x="183" y="324"/>
                    <a:pt x="183" y="324"/>
                  </a:cubicBezTo>
                  <a:cubicBezTo>
                    <a:pt x="183" y="362"/>
                    <a:pt x="183" y="362"/>
                    <a:pt x="183" y="362"/>
                  </a:cubicBezTo>
                  <a:close/>
                  <a:moveTo>
                    <a:pt x="168" y="25"/>
                  </a:moveTo>
                  <a:cubicBezTo>
                    <a:pt x="183" y="10"/>
                    <a:pt x="183" y="10"/>
                    <a:pt x="183" y="10"/>
                  </a:cubicBezTo>
                  <a:cubicBezTo>
                    <a:pt x="183" y="110"/>
                    <a:pt x="183" y="110"/>
                    <a:pt x="183" y="110"/>
                  </a:cubicBezTo>
                  <a:cubicBezTo>
                    <a:pt x="168" y="125"/>
                    <a:pt x="168" y="125"/>
                    <a:pt x="168" y="125"/>
                  </a:cubicBezTo>
                  <a:cubicBezTo>
                    <a:pt x="168" y="91"/>
                    <a:pt x="168" y="91"/>
                    <a:pt x="168" y="91"/>
                  </a:cubicBezTo>
                  <a:cubicBezTo>
                    <a:pt x="171" y="88"/>
                    <a:pt x="171" y="88"/>
                    <a:pt x="171" y="88"/>
                  </a:cubicBezTo>
                  <a:cubicBezTo>
                    <a:pt x="168" y="85"/>
                    <a:pt x="168" y="85"/>
                    <a:pt x="168" y="85"/>
                  </a:cubicBezTo>
                  <a:cubicBezTo>
                    <a:pt x="168" y="25"/>
                    <a:pt x="168" y="25"/>
                    <a:pt x="168" y="25"/>
                  </a:cubicBezTo>
                  <a:close/>
                  <a:moveTo>
                    <a:pt x="183" y="139"/>
                  </a:moveTo>
                  <a:cubicBezTo>
                    <a:pt x="183" y="172"/>
                    <a:pt x="183" y="172"/>
                    <a:pt x="183" y="172"/>
                  </a:cubicBezTo>
                  <a:cubicBezTo>
                    <a:pt x="168" y="187"/>
                    <a:pt x="168" y="187"/>
                    <a:pt x="168" y="187"/>
                  </a:cubicBezTo>
                  <a:cubicBezTo>
                    <a:pt x="168" y="131"/>
                    <a:pt x="168" y="131"/>
                    <a:pt x="168" y="131"/>
                  </a:cubicBezTo>
                  <a:cubicBezTo>
                    <a:pt x="179" y="143"/>
                    <a:pt x="179" y="143"/>
                    <a:pt x="179" y="143"/>
                  </a:cubicBezTo>
                  <a:cubicBezTo>
                    <a:pt x="183" y="139"/>
                    <a:pt x="183" y="139"/>
                    <a:pt x="183" y="139"/>
                  </a:cubicBezTo>
                  <a:close/>
                  <a:moveTo>
                    <a:pt x="183" y="200"/>
                  </a:moveTo>
                  <a:cubicBezTo>
                    <a:pt x="183" y="301"/>
                    <a:pt x="183" y="301"/>
                    <a:pt x="183" y="301"/>
                  </a:cubicBezTo>
                  <a:cubicBezTo>
                    <a:pt x="181" y="298"/>
                    <a:pt x="181" y="298"/>
                    <a:pt x="181" y="298"/>
                  </a:cubicBezTo>
                  <a:cubicBezTo>
                    <a:pt x="168" y="311"/>
                    <a:pt x="168" y="311"/>
                    <a:pt x="168" y="311"/>
                  </a:cubicBezTo>
                  <a:cubicBezTo>
                    <a:pt x="168" y="198"/>
                    <a:pt x="168" y="198"/>
                    <a:pt x="168" y="198"/>
                  </a:cubicBezTo>
                  <a:cubicBezTo>
                    <a:pt x="176" y="207"/>
                    <a:pt x="176" y="207"/>
                    <a:pt x="176" y="207"/>
                  </a:cubicBezTo>
                  <a:lnTo>
                    <a:pt x="183" y="200"/>
                  </a:lnTo>
                  <a:close/>
                  <a:moveTo>
                    <a:pt x="168" y="360"/>
                  </a:moveTo>
                  <a:cubicBezTo>
                    <a:pt x="164" y="356"/>
                    <a:pt x="164" y="356"/>
                    <a:pt x="164" y="356"/>
                  </a:cubicBezTo>
                  <a:cubicBezTo>
                    <a:pt x="164" y="327"/>
                    <a:pt x="164" y="327"/>
                    <a:pt x="164" y="327"/>
                  </a:cubicBezTo>
                  <a:cubicBezTo>
                    <a:pt x="168" y="331"/>
                    <a:pt x="168" y="331"/>
                    <a:pt x="168" y="331"/>
                  </a:cubicBezTo>
                  <a:cubicBezTo>
                    <a:pt x="168" y="360"/>
                    <a:pt x="168" y="360"/>
                    <a:pt x="168" y="360"/>
                  </a:cubicBezTo>
                  <a:close/>
                  <a:moveTo>
                    <a:pt x="164" y="28"/>
                  </a:moveTo>
                  <a:cubicBezTo>
                    <a:pt x="168" y="25"/>
                    <a:pt x="168" y="25"/>
                    <a:pt x="168" y="25"/>
                  </a:cubicBezTo>
                  <a:cubicBezTo>
                    <a:pt x="168" y="85"/>
                    <a:pt x="168" y="85"/>
                    <a:pt x="168" y="85"/>
                  </a:cubicBezTo>
                  <a:cubicBezTo>
                    <a:pt x="164" y="82"/>
                    <a:pt x="164" y="82"/>
                    <a:pt x="164" y="82"/>
                  </a:cubicBezTo>
                  <a:cubicBezTo>
                    <a:pt x="164" y="28"/>
                    <a:pt x="164" y="28"/>
                    <a:pt x="164" y="28"/>
                  </a:cubicBezTo>
                  <a:close/>
                  <a:moveTo>
                    <a:pt x="168" y="91"/>
                  </a:moveTo>
                  <a:cubicBezTo>
                    <a:pt x="168" y="125"/>
                    <a:pt x="168" y="125"/>
                    <a:pt x="168" y="125"/>
                  </a:cubicBezTo>
                  <a:cubicBezTo>
                    <a:pt x="165" y="128"/>
                    <a:pt x="165" y="128"/>
                    <a:pt x="165" y="128"/>
                  </a:cubicBezTo>
                  <a:cubicBezTo>
                    <a:pt x="168" y="131"/>
                    <a:pt x="168" y="131"/>
                    <a:pt x="168" y="131"/>
                  </a:cubicBezTo>
                  <a:cubicBezTo>
                    <a:pt x="168" y="187"/>
                    <a:pt x="168" y="187"/>
                    <a:pt x="168" y="187"/>
                  </a:cubicBezTo>
                  <a:cubicBezTo>
                    <a:pt x="164" y="190"/>
                    <a:pt x="164" y="190"/>
                    <a:pt x="164" y="190"/>
                  </a:cubicBezTo>
                  <a:cubicBezTo>
                    <a:pt x="164" y="95"/>
                    <a:pt x="164" y="95"/>
                    <a:pt x="164" y="95"/>
                  </a:cubicBezTo>
                  <a:cubicBezTo>
                    <a:pt x="168" y="91"/>
                    <a:pt x="168" y="91"/>
                    <a:pt x="168" y="91"/>
                  </a:cubicBezTo>
                  <a:close/>
                  <a:moveTo>
                    <a:pt x="168" y="198"/>
                  </a:moveTo>
                  <a:cubicBezTo>
                    <a:pt x="168" y="311"/>
                    <a:pt x="168" y="311"/>
                    <a:pt x="168" y="311"/>
                  </a:cubicBezTo>
                  <a:cubicBezTo>
                    <a:pt x="164" y="314"/>
                    <a:pt x="164" y="314"/>
                    <a:pt x="164" y="314"/>
                  </a:cubicBezTo>
                  <a:cubicBezTo>
                    <a:pt x="164" y="218"/>
                    <a:pt x="164" y="218"/>
                    <a:pt x="164" y="218"/>
                  </a:cubicBezTo>
                  <a:cubicBezTo>
                    <a:pt x="166" y="216"/>
                    <a:pt x="166" y="216"/>
                    <a:pt x="166" y="216"/>
                  </a:cubicBezTo>
                  <a:cubicBezTo>
                    <a:pt x="164" y="214"/>
                    <a:pt x="164" y="214"/>
                    <a:pt x="164" y="214"/>
                  </a:cubicBezTo>
                  <a:cubicBezTo>
                    <a:pt x="164" y="194"/>
                    <a:pt x="164" y="194"/>
                    <a:pt x="164" y="194"/>
                  </a:cubicBezTo>
                  <a:lnTo>
                    <a:pt x="168" y="198"/>
                  </a:lnTo>
                  <a:close/>
                  <a:moveTo>
                    <a:pt x="164" y="356"/>
                  </a:moveTo>
                  <a:cubicBezTo>
                    <a:pt x="161" y="353"/>
                    <a:pt x="161" y="353"/>
                    <a:pt x="161" y="353"/>
                  </a:cubicBezTo>
                  <a:cubicBezTo>
                    <a:pt x="161" y="323"/>
                    <a:pt x="161" y="323"/>
                    <a:pt x="161" y="323"/>
                  </a:cubicBezTo>
                  <a:cubicBezTo>
                    <a:pt x="164" y="327"/>
                    <a:pt x="164" y="327"/>
                    <a:pt x="164" y="327"/>
                  </a:cubicBezTo>
                  <a:cubicBezTo>
                    <a:pt x="164" y="356"/>
                    <a:pt x="164" y="356"/>
                    <a:pt x="164" y="356"/>
                  </a:cubicBezTo>
                  <a:close/>
                  <a:moveTo>
                    <a:pt x="161" y="31"/>
                  </a:moveTo>
                  <a:cubicBezTo>
                    <a:pt x="164" y="28"/>
                    <a:pt x="164" y="28"/>
                    <a:pt x="164" y="28"/>
                  </a:cubicBezTo>
                  <a:cubicBezTo>
                    <a:pt x="164" y="82"/>
                    <a:pt x="164" y="82"/>
                    <a:pt x="164" y="82"/>
                  </a:cubicBezTo>
                  <a:cubicBezTo>
                    <a:pt x="161" y="78"/>
                    <a:pt x="161" y="78"/>
                    <a:pt x="161" y="78"/>
                  </a:cubicBezTo>
                  <a:cubicBezTo>
                    <a:pt x="161" y="31"/>
                    <a:pt x="161" y="31"/>
                    <a:pt x="161" y="31"/>
                  </a:cubicBezTo>
                  <a:close/>
                  <a:moveTo>
                    <a:pt x="164" y="95"/>
                  </a:moveTo>
                  <a:cubicBezTo>
                    <a:pt x="164" y="190"/>
                    <a:pt x="164" y="190"/>
                    <a:pt x="164" y="190"/>
                  </a:cubicBezTo>
                  <a:cubicBezTo>
                    <a:pt x="162" y="192"/>
                    <a:pt x="162" y="192"/>
                    <a:pt x="162" y="192"/>
                  </a:cubicBezTo>
                  <a:cubicBezTo>
                    <a:pt x="164" y="194"/>
                    <a:pt x="164" y="194"/>
                    <a:pt x="164" y="194"/>
                  </a:cubicBezTo>
                  <a:cubicBezTo>
                    <a:pt x="164" y="214"/>
                    <a:pt x="164" y="214"/>
                    <a:pt x="164" y="214"/>
                  </a:cubicBezTo>
                  <a:cubicBezTo>
                    <a:pt x="161" y="211"/>
                    <a:pt x="161" y="211"/>
                    <a:pt x="161" y="211"/>
                  </a:cubicBezTo>
                  <a:cubicBezTo>
                    <a:pt x="161" y="98"/>
                    <a:pt x="161" y="98"/>
                    <a:pt x="161" y="98"/>
                  </a:cubicBezTo>
                  <a:cubicBezTo>
                    <a:pt x="164" y="95"/>
                    <a:pt x="164" y="95"/>
                    <a:pt x="164" y="95"/>
                  </a:cubicBezTo>
                  <a:close/>
                  <a:moveTo>
                    <a:pt x="164" y="218"/>
                  </a:moveTo>
                  <a:cubicBezTo>
                    <a:pt x="164" y="314"/>
                    <a:pt x="164" y="314"/>
                    <a:pt x="164" y="314"/>
                  </a:cubicBezTo>
                  <a:cubicBezTo>
                    <a:pt x="161" y="317"/>
                    <a:pt x="161" y="317"/>
                    <a:pt x="161" y="317"/>
                  </a:cubicBezTo>
                  <a:cubicBezTo>
                    <a:pt x="161" y="283"/>
                    <a:pt x="161" y="283"/>
                    <a:pt x="161" y="283"/>
                  </a:cubicBezTo>
                  <a:cubicBezTo>
                    <a:pt x="164" y="280"/>
                    <a:pt x="164" y="280"/>
                    <a:pt x="164" y="280"/>
                  </a:cubicBezTo>
                  <a:cubicBezTo>
                    <a:pt x="161" y="277"/>
                    <a:pt x="161" y="277"/>
                    <a:pt x="161" y="277"/>
                  </a:cubicBezTo>
                  <a:cubicBezTo>
                    <a:pt x="161" y="222"/>
                    <a:pt x="161" y="222"/>
                    <a:pt x="161" y="222"/>
                  </a:cubicBezTo>
                  <a:lnTo>
                    <a:pt x="164" y="218"/>
                  </a:lnTo>
                  <a:close/>
                  <a:moveTo>
                    <a:pt x="161" y="353"/>
                  </a:moveTo>
                  <a:cubicBezTo>
                    <a:pt x="152" y="344"/>
                    <a:pt x="152" y="344"/>
                    <a:pt x="152" y="344"/>
                  </a:cubicBezTo>
                  <a:cubicBezTo>
                    <a:pt x="152" y="292"/>
                    <a:pt x="152" y="292"/>
                    <a:pt x="152" y="292"/>
                  </a:cubicBezTo>
                  <a:cubicBezTo>
                    <a:pt x="161" y="283"/>
                    <a:pt x="161" y="283"/>
                    <a:pt x="161" y="283"/>
                  </a:cubicBezTo>
                  <a:cubicBezTo>
                    <a:pt x="161" y="317"/>
                    <a:pt x="161" y="317"/>
                    <a:pt x="161" y="317"/>
                  </a:cubicBezTo>
                  <a:cubicBezTo>
                    <a:pt x="158" y="320"/>
                    <a:pt x="158" y="320"/>
                    <a:pt x="158" y="320"/>
                  </a:cubicBezTo>
                  <a:cubicBezTo>
                    <a:pt x="161" y="323"/>
                    <a:pt x="161" y="323"/>
                    <a:pt x="161" y="323"/>
                  </a:cubicBezTo>
                  <a:cubicBezTo>
                    <a:pt x="161" y="353"/>
                    <a:pt x="161" y="353"/>
                    <a:pt x="161" y="353"/>
                  </a:cubicBezTo>
                  <a:close/>
                  <a:moveTo>
                    <a:pt x="152" y="40"/>
                  </a:moveTo>
                  <a:cubicBezTo>
                    <a:pt x="161" y="31"/>
                    <a:pt x="161" y="31"/>
                    <a:pt x="161" y="31"/>
                  </a:cubicBezTo>
                  <a:cubicBezTo>
                    <a:pt x="161" y="78"/>
                    <a:pt x="161" y="78"/>
                    <a:pt x="161" y="78"/>
                  </a:cubicBezTo>
                  <a:cubicBezTo>
                    <a:pt x="157" y="74"/>
                    <a:pt x="157" y="74"/>
                    <a:pt x="157" y="74"/>
                  </a:cubicBezTo>
                  <a:cubicBezTo>
                    <a:pt x="152" y="78"/>
                    <a:pt x="152" y="78"/>
                    <a:pt x="152" y="78"/>
                  </a:cubicBezTo>
                  <a:cubicBezTo>
                    <a:pt x="152" y="40"/>
                    <a:pt x="152" y="40"/>
                    <a:pt x="152" y="40"/>
                  </a:cubicBezTo>
                  <a:close/>
                  <a:moveTo>
                    <a:pt x="161" y="98"/>
                  </a:moveTo>
                  <a:cubicBezTo>
                    <a:pt x="161" y="211"/>
                    <a:pt x="161" y="211"/>
                    <a:pt x="161" y="211"/>
                  </a:cubicBezTo>
                  <a:cubicBezTo>
                    <a:pt x="152" y="202"/>
                    <a:pt x="152" y="202"/>
                    <a:pt x="152" y="202"/>
                  </a:cubicBezTo>
                  <a:cubicBezTo>
                    <a:pt x="152" y="202"/>
                    <a:pt x="152" y="202"/>
                    <a:pt x="152" y="202"/>
                  </a:cubicBezTo>
                  <a:cubicBezTo>
                    <a:pt x="152" y="106"/>
                    <a:pt x="152" y="106"/>
                    <a:pt x="152" y="106"/>
                  </a:cubicBezTo>
                  <a:cubicBezTo>
                    <a:pt x="161" y="98"/>
                    <a:pt x="161" y="98"/>
                    <a:pt x="161" y="98"/>
                  </a:cubicBezTo>
                  <a:close/>
                  <a:moveTo>
                    <a:pt x="161" y="222"/>
                  </a:moveTo>
                  <a:cubicBezTo>
                    <a:pt x="161" y="277"/>
                    <a:pt x="161" y="277"/>
                    <a:pt x="161" y="277"/>
                  </a:cubicBezTo>
                  <a:cubicBezTo>
                    <a:pt x="152" y="268"/>
                    <a:pt x="152" y="268"/>
                    <a:pt x="152" y="268"/>
                  </a:cubicBezTo>
                  <a:cubicBezTo>
                    <a:pt x="152" y="230"/>
                    <a:pt x="152" y="230"/>
                    <a:pt x="152" y="230"/>
                  </a:cubicBezTo>
                  <a:lnTo>
                    <a:pt x="161" y="222"/>
                  </a:lnTo>
                  <a:close/>
                  <a:moveTo>
                    <a:pt x="152" y="344"/>
                  </a:moveTo>
                  <a:cubicBezTo>
                    <a:pt x="132" y="323"/>
                    <a:pt x="132" y="323"/>
                    <a:pt x="132" y="323"/>
                  </a:cubicBezTo>
                  <a:cubicBezTo>
                    <a:pt x="132" y="294"/>
                    <a:pt x="132" y="294"/>
                    <a:pt x="132" y="294"/>
                  </a:cubicBezTo>
                  <a:cubicBezTo>
                    <a:pt x="141" y="303"/>
                    <a:pt x="141" y="303"/>
                    <a:pt x="141" y="303"/>
                  </a:cubicBezTo>
                  <a:cubicBezTo>
                    <a:pt x="152" y="292"/>
                    <a:pt x="152" y="292"/>
                    <a:pt x="152" y="292"/>
                  </a:cubicBezTo>
                  <a:cubicBezTo>
                    <a:pt x="152" y="344"/>
                    <a:pt x="152" y="344"/>
                    <a:pt x="152" y="344"/>
                  </a:cubicBezTo>
                  <a:close/>
                  <a:moveTo>
                    <a:pt x="132" y="59"/>
                  </a:moveTo>
                  <a:cubicBezTo>
                    <a:pt x="152" y="40"/>
                    <a:pt x="152" y="40"/>
                    <a:pt x="152" y="40"/>
                  </a:cubicBezTo>
                  <a:cubicBezTo>
                    <a:pt x="152" y="78"/>
                    <a:pt x="152" y="78"/>
                    <a:pt x="152" y="78"/>
                  </a:cubicBezTo>
                  <a:cubicBezTo>
                    <a:pt x="134" y="96"/>
                    <a:pt x="134" y="96"/>
                    <a:pt x="134" y="96"/>
                  </a:cubicBezTo>
                  <a:cubicBezTo>
                    <a:pt x="138" y="101"/>
                    <a:pt x="143" y="106"/>
                    <a:pt x="148" y="111"/>
                  </a:cubicBezTo>
                  <a:cubicBezTo>
                    <a:pt x="152" y="106"/>
                    <a:pt x="152" y="106"/>
                    <a:pt x="152" y="106"/>
                  </a:cubicBezTo>
                  <a:cubicBezTo>
                    <a:pt x="152" y="202"/>
                    <a:pt x="152" y="202"/>
                    <a:pt x="152" y="202"/>
                  </a:cubicBezTo>
                  <a:cubicBezTo>
                    <a:pt x="132" y="221"/>
                    <a:pt x="132" y="221"/>
                    <a:pt x="132" y="221"/>
                  </a:cubicBezTo>
                  <a:cubicBezTo>
                    <a:pt x="132" y="187"/>
                    <a:pt x="132" y="187"/>
                    <a:pt x="132" y="187"/>
                  </a:cubicBezTo>
                  <a:cubicBezTo>
                    <a:pt x="135" y="184"/>
                    <a:pt x="135" y="184"/>
                    <a:pt x="135" y="184"/>
                  </a:cubicBezTo>
                  <a:cubicBezTo>
                    <a:pt x="132" y="181"/>
                    <a:pt x="132" y="181"/>
                    <a:pt x="132" y="181"/>
                  </a:cubicBezTo>
                  <a:cubicBezTo>
                    <a:pt x="132" y="59"/>
                    <a:pt x="132" y="59"/>
                    <a:pt x="132" y="59"/>
                  </a:cubicBezTo>
                  <a:close/>
                  <a:moveTo>
                    <a:pt x="152" y="230"/>
                  </a:moveTo>
                  <a:cubicBezTo>
                    <a:pt x="152" y="268"/>
                    <a:pt x="152" y="268"/>
                    <a:pt x="152" y="268"/>
                  </a:cubicBezTo>
                  <a:cubicBezTo>
                    <a:pt x="150" y="266"/>
                    <a:pt x="150" y="266"/>
                    <a:pt x="150" y="266"/>
                  </a:cubicBezTo>
                  <a:cubicBezTo>
                    <a:pt x="132" y="283"/>
                    <a:pt x="132" y="283"/>
                    <a:pt x="132" y="283"/>
                  </a:cubicBezTo>
                  <a:cubicBezTo>
                    <a:pt x="132" y="249"/>
                    <a:pt x="132" y="249"/>
                    <a:pt x="132" y="249"/>
                  </a:cubicBezTo>
                  <a:cubicBezTo>
                    <a:pt x="133" y="248"/>
                    <a:pt x="133" y="248"/>
                    <a:pt x="133" y="248"/>
                  </a:cubicBezTo>
                  <a:cubicBezTo>
                    <a:pt x="132" y="247"/>
                    <a:pt x="132" y="247"/>
                    <a:pt x="132" y="247"/>
                  </a:cubicBezTo>
                  <a:cubicBezTo>
                    <a:pt x="132" y="227"/>
                    <a:pt x="132" y="227"/>
                    <a:pt x="132" y="227"/>
                  </a:cubicBezTo>
                  <a:cubicBezTo>
                    <a:pt x="143" y="239"/>
                    <a:pt x="143" y="239"/>
                    <a:pt x="143" y="239"/>
                  </a:cubicBezTo>
                  <a:lnTo>
                    <a:pt x="152" y="230"/>
                  </a:lnTo>
                  <a:close/>
                  <a:moveTo>
                    <a:pt x="132" y="323"/>
                  </a:moveTo>
                  <a:cubicBezTo>
                    <a:pt x="117" y="307"/>
                    <a:pt x="117" y="307"/>
                    <a:pt x="117" y="307"/>
                  </a:cubicBezTo>
                  <a:cubicBezTo>
                    <a:pt x="117" y="264"/>
                    <a:pt x="117" y="264"/>
                    <a:pt x="117" y="264"/>
                  </a:cubicBezTo>
                  <a:cubicBezTo>
                    <a:pt x="132" y="249"/>
                    <a:pt x="132" y="249"/>
                    <a:pt x="132" y="249"/>
                  </a:cubicBezTo>
                  <a:cubicBezTo>
                    <a:pt x="132" y="283"/>
                    <a:pt x="132" y="283"/>
                    <a:pt x="132" y="283"/>
                  </a:cubicBezTo>
                  <a:cubicBezTo>
                    <a:pt x="127" y="288"/>
                    <a:pt x="127" y="288"/>
                    <a:pt x="127" y="288"/>
                  </a:cubicBezTo>
                  <a:cubicBezTo>
                    <a:pt x="132" y="294"/>
                    <a:pt x="132" y="294"/>
                    <a:pt x="132" y="294"/>
                  </a:cubicBezTo>
                  <a:cubicBezTo>
                    <a:pt x="132" y="323"/>
                    <a:pt x="132" y="323"/>
                    <a:pt x="132" y="323"/>
                  </a:cubicBezTo>
                  <a:close/>
                  <a:moveTo>
                    <a:pt x="117" y="74"/>
                  </a:moveTo>
                  <a:cubicBezTo>
                    <a:pt x="132" y="59"/>
                    <a:pt x="132" y="59"/>
                    <a:pt x="132" y="59"/>
                  </a:cubicBezTo>
                  <a:cubicBezTo>
                    <a:pt x="132" y="181"/>
                    <a:pt x="132" y="181"/>
                    <a:pt x="132" y="181"/>
                  </a:cubicBezTo>
                  <a:cubicBezTo>
                    <a:pt x="121" y="170"/>
                    <a:pt x="121" y="170"/>
                    <a:pt x="121" y="170"/>
                  </a:cubicBezTo>
                  <a:cubicBezTo>
                    <a:pt x="117" y="174"/>
                    <a:pt x="117" y="174"/>
                    <a:pt x="117" y="174"/>
                  </a:cubicBezTo>
                  <a:cubicBezTo>
                    <a:pt x="117" y="74"/>
                    <a:pt x="117" y="74"/>
                    <a:pt x="117" y="74"/>
                  </a:cubicBezTo>
                  <a:close/>
                  <a:moveTo>
                    <a:pt x="132" y="187"/>
                  </a:moveTo>
                  <a:cubicBezTo>
                    <a:pt x="132" y="221"/>
                    <a:pt x="132" y="221"/>
                    <a:pt x="132" y="221"/>
                  </a:cubicBezTo>
                  <a:cubicBezTo>
                    <a:pt x="129" y="224"/>
                    <a:pt x="129" y="224"/>
                    <a:pt x="129" y="224"/>
                  </a:cubicBezTo>
                  <a:cubicBezTo>
                    <a:pt x="132" y="227"/>
                    <a:pt x="132" y="227"/>
                    <a:pt x="132" y="227"/>
                  </a:cubicBezTo>
                  <a:cubicBezTo>
                    <a:pt x="132" y="247"/>
                    <a:pt x="132" y="247"/>
                    <a:pt x="132" y="247"/>
                  </a:cubicBezTo>
                  <a:cubicBezTo>
                    <a:pt x="119" y="234"/>
                    <a:pt x="119" y="234"/>
                    <a:pt x="119" y="234"/>
                  </a:cubicBezTo>
                  <a:cubicBezTo>
                    <a:pt x="117" y="236"/>
                    <a:pt x="117" y="236"/>
                    <a:pt x="117" y="236"/>
                  </a:cubicBezTo>
                  <a:cubicBezTo>
                    <a:pt x="117" y="202"/>
                    <a:pt x="117" y="202"/>
                    <a:pt x="117" y="202"/>
                  </a:cubicBezTo>
                  <a:lnTo>
                    <a:pt x="132" y="187"/>
                  </a:lnTo>
                  <a:close/>
                  <a:moveTo>
                    <a:pt x="117" y="307"/>
                  </a:moveTo>
                  <a:cubicBezTo>
                    <a:pt x="101" y="290"/>
                    <a:pt x="101" y="290"/>
                    <a:pt x="101" y="290"/>
                  </a:cubicBezTo>
                  <a:cubicBezTo>
                    <a:pt x="101" y="261"/>
                    <a:pt x="101" y="261"/>
                    <a:pt x="101" y="261"/>
                  </a:cubicBezTo>
                  <a:cubicBezTo>
                    <a:pt x="110" y="270"/>
                    <a:pt x="110" y="270"/>
                    <a:pt x="110" y="270"/>
                  </a:cubicBezTo>
                  <a:cubicBezTo>
                    <a:pt x="117" y="264"/>
                    <a:pt x="117" y="264"/>
                    <a:pt x="117" y="264"/>
                  </a:cubicBezTo>
                  <a:cubicBezTo>
                    <a:pt x="117" y="307"/>
                    <a:pt x="117" y="307"/>
                    <a:pt x="117" y="307"/>
                  </a:cubicBezTo>
                  <a:close/>
                  <a:moveTo>
                    <a:pt x="101" y="88"/>
                  </a:moveTo>
                  <a:cubicBezTo>
                    <a:pt x="117" y="74"/>
                    <a:pt x="117" y="74"/>
                    <a:pt x="117" y="74"/>
                  </a:cubicBezTo>
                  <a:cubicBezTo>
                    <a:pt x="117" y="174"/>
                    <a:pt x="117" y="174"/>
                    <a:pt x="117" y="174"/>
                  </a:cubicBezTo>
                  <a:cubicBezTo>
                    <a:pt x="101" y="189"/>
                    <a:pt x="101" y="189"/>
                    <a:pt x="101" y="189"/>
                  </a:cubicBezTo>
                  <a:cubicBezTo>
                    <a:pt x="101" y="155"/>
                    <a:pt x="101" y="155"/>
                    <a:pt x="101" y="155"/>
                  </a:cubicBezTo>
                  <a:cubicBezTo>
                    <a:pt x="104" y="152"/>
                    <a:pt x="104" y="152"/>
                    <a:pt x="104" y="152"/>
                  </a:cubicBezTo>
                  <a:cubicBezTo>
                    <a:pt x="101" y="149"/>
                    <a:pt x="101" y="149"/>
                    <a:pt x="101" y="149"/>
                  </a:cubicBezTo>
                  <a:cubicBezTo>
                    <a:pt x="101" y="88"/>
                    <a:pt x="101" y="88"/>
                    <a:pt x="101" y="88"/>
                  </a:cubicBezTo>
                  <a:close/>
                  <a:moveTo>
                    <a:pt x="117" y="202"/>
                  </a:moveTo>
                  <a:cubicBezTo>
                    <a:pt x="117" y="236"/>
                    <a:pt x="117" y="236"/>
                    <a:pt x="117" y="236"/>
                  </a:cubicBezTo>
                  <a:cubicBezTo>
                    <a:pt x="101" y="251"/>
                    <a:pt x="101" y="251"/>
                    <a:pt x="101" y="251"/>
                  </a:cubicBezTo>
                  <a:cubicBezTo>
                    <a:pt x="101" y="195"/>
                    <a:pt x="101" y="195"/>
                    <a:pt x="101" y="195"/>
                  </a:cubicBezTo>
                  <a:cubicBezTo>
                    <a:pt x="112" y="206"/>
                    <a:pt x="112" y="206"/>
                    <a:pt x="112" y="206"/>
                  </a:cubicBezTo>
                  <a:lnTo>
                    <a:pt x="117" y="202"/>
                  </a:lnTo>
                  <a:close/>
                  <a:moveTo>
                    <a:pt x="101" y="290"/>
                  </a:moveTo>
                  <a:cubicBezTo>
                    <a:pt x="86" y="274"/>
                    <a:pt x="86" y="274"/>
                    <a:pt x="86" y="274"/>
                  </a:cubicBezTo>
                  <a:cubicBezTo>
                    <a:pt x="86" y="170"/>
                    <a:pt x="86" y="170"/>
                    <a:pt x="86" y="170"/>
                  </a:cubicBezTo>
                  <a:cubicBezTo>
                    <a:pt x="101" y="155"/>
                    <a:pt x="101" y="155"/>
                    <a:pt x="101" y="155"/>
                  </a:cubicBezTo>
                  <a:cubicBezTo>
                    <a:pt x="101" y="189"/>
                    <a:pt x="101" y="189"/>
                    <a:pt x="101" y="189"/>
                  </a:cubicBezTo>
                  <a:cubicBezTo>
                    <a:pt x="98" y="192"/>
                    <a:pt x="98" y="192"/>
                    <a:pt x="98" y="192"/>
                  </a:cubicBezTo>
                  <a:cubicBezTo>
                    <a:pt x="101" y="195"/>
                    <a:pt x="101" y="195"/>
                    <a:pt x="101" y="195"/>
                  </a:cubicBezTo>
                  <a:cubicBezTo>
                    <a:pt x="101" y="251"/>
                    <a:pt x="101" y="251"/>
                    <a:pt x="101" y="251"/>
                  </a:cubicBezTo>
                  <a:cubicBezTo>
                    <a:pt x="96" y="256"/>
                    <a:pt x="96" y="256"/>
                    <a:pt x="96" y="256"/>
                  </a:cubicBezTo>
                  <a:cubicBezTo>
                    <a:pt x="101" y="261"/>
                    <a:pt x="101" y="261"/>
                    <a:pt x="101" y="261"/>
                  </a:cubicBezTo>
                  <a:cubicBezTo>
                    <a:pt x="101" y="290"/>
                    <a:pt x="101" y="290"/>
                    <a:pt x="101" y="290"/>
                  </a:cubicBezTo>
                  <a:close/>
                  <a:moveTo>
                    <a:pt x="86" y="103"/>
                  </a:moveTo>
                  <a:cubicBezTo>
                    <a:pt x="93" y="96"/>
                    <a:pt x="93" y="96"/>
                    <a:pt x="93" y="96"/>
                  </a:cubicBezTo>
                  <a:cubicBezTo>
                    <a:pt x="101" y="88"/>
                    <a:pt x="101" y="88"/>
                    <a:pt x="101" y="88"/>
                  </a:cubicBezTo>
                  <a:cubicBezTo>
                    <a:pt x="101" y="149"/>
                    <a:pt x="101" y="149"/>
                    <a:pt x="101" y="149"/>
                  </a:cubicBezTo>
                  <a:cubicBezTo>
                    <a:pt x="90" y="137"/>
                    <a:pt x="90" y="137"/>
                    <a:pt x="90" y="137"/>
                  </a:cubicBezTo>
                  <a:cubicBezTo>
                    <a:pt x="86" y="142"/>
                    <a:pt x="86" y="142"/>
                    <a:pt x="86" y="142"/>
                  </a:cubicBezTo>
                  <a:lnTo>
                    <a:pt x="86" y="103"/>
                  </a:lnTo>
                  <a:close/>
                  <a:moveTo>
                    <a:pt x="86" y="274"/>
                  </a:moveTo>
                  <a:cubicBezTo>
                    <a:pt x="69" y="257"/>
                    <a:pt x="69" y="257"/>
                    <a:pt x="69" y="257"/>
                  </a:cubicBezTo>
                  <a:cubicBezTo>
                    <a:pt x="69" y="186"/>
                    <a:pt x="69" y="186"/>
                    <a:pt x="69" y="186"/>
                  </a:cubicBezTo>
                  <a:cubicBezTo>
                    <a:pt x="71" y="184"/>
                    <a:pt x="71" y="184"/>
                    <a:pt x="71" y="184"/>
                  </a:cubicBezTo>
                  <a:cubicBezTo>
                    <a:pt x="69" y="182"/>
                    <a:pt x="69" y="182"/>
                    <a:pt x="69" y="182"/>
                  </a:cubicBezTo>
                  <a:cubicBezTo>
                    <a:pt x="69" y="161"/>
                    <a:pt x="69" y="161"/>
                    <a:pt x="69" y="161"/>
                  </a:cubicBezTo>
                  <a:cubicBezTo>
                    <a:pt x="81" y="174"/>
                    <a:pt x="81" y="174"/>
                    <a:pt x="81" y="174"/>
                  </a:cubicBezTo>
                  <a:cubicBezTo>
                    <a:pt x="86" y="170"/>
                    <a:pt x="86" y="170"/>
                    <a:pt x="86" y="170"/>
                  </a:cubicBezTo>
                  <a:cubicBezTo>
                    <a:pt x="86" y="274"/>
                    <a:pt x="86" y="274"/>
                    <a:pt x="86" y="274"/>
                  </a:cubicBezTo>
                  <a:close/>
                  <a:moveTo>
                    <a:pt x="69" y="119"/>
                  </a:moveTo>
                  <a:cubicBezTo>
                    <a:pt x="86" y="103"/>
                    <a:pt x="86" y="103"/>
                    <a:pt x="86" y="103"/>
                  </a:cubicBezTo>
                  <a:cubicBezTo>
                    <a:pt x="86" y="142"/>
                    <a:pt x="86" y="142"/>
                    <a:pt x="86" y="142"/>
                  </a:cubicBezTo>
                  <a:cubicBezTo>
                    <a:pt x="69" y="157"/>
                    <a:pt x="69" y="157"/>
                    <a:pt x="69" y="157"/>
                  </a:cubicBezTo>
                  <a:lnTo>
                    <a:pt x="69" y="119"/>
                  </a:lnTo>
                  <a:close/>
                  <a:moveTo>
                    <a:pt x="69" y="257"/>
                  </a:moveTo>
                  <a:cubicBezTo>
                    <a:pt x="53" y="240"/>
                    <a:pt x="53" y="240"/>
                    <a:pt x="53" y="240"/>
                  </a:cubicBezTo>
                  <a:cubicBezTo>
                    <a:pt x="53" y="201"/>
                    <a:pt x="53" y="201"/>
                    <a:pt x="53" y="201"/>
                  </a:cubicBezTo>
                  <a:cubicBezTo>
                    <a:pt x="69" y="186"/>
                    <a:pt x="69" y="186"/>
                    <a:pt x="69" y="186"/>
                  </a:cubicBezTo>
                  <a:cubicBezTo>
                    <a:pt x="69" y="257"/>
                    <a:pt x="69" y="257"/>
                    <a:pt x="69" y="257"/>
                  </a:cubicBezTo>
                  <a:close/>
                  <a:moveTo>
                    <a:pt x="53" y="135"/>
                  </a:moveTo>
                  <a:cubicBezTo>
                    <a:pt x="69" y="119"/>
                    <a:pt x="69" y="119"/>
                    <a:pt x="69" y="119"/>
                  </a:cubicBezTo>
                  <a:cubicBezTo>
                    <a:pt x="69" y="157"/>
                    <a:pt x="69" y="157"/>
                    <a:pt x="69" y="157"/>
                  </a:cubicBezTo>
                  <a:cubicBezTo>
                    <a:pt x="67" y="159"/>
                    <a:pt x="67" y="159"/>
                    <a:pt x="67" y="159"/>
                  </a:cubicBezTo>
                  <a:cubicBezTo>
                    <a:pt x="69" y="161"/>
                    <a:pt x="69" y="161"/>
                    <a:pt x="69" y="161"/>
                  </a:cubicBezTo>
                  <a:cubicBezTo>
                    <a:pt x="69" y="182"/>
                    <a:pt x="69" y="182"/>
                    <a:pt x="69" y="182"/>
                  </a:cubicBezTo>
                  <a:cubicBezTo>
                    <a:pt x="57" y="169"/>
                    <a:pt x="57" y="169"/>
                    <a:pt x="57" y="169"/>
                  </a:cubicBezTo>
                  <a:cubicBezTo>
                    <a:pt x="53" y="173"/>
                    <a:pt x="53" y="173"/>
                    <a:pt x="53" y="173"/>
                  </a:cubicBezTo>
                  <a:lnTo>
                    <a:pt x="53" y="135"/>
                  </a:lnTo>
                  <a:close/>
                  <a:moveTo>
                    <a:pt x="53" y="240"/>
                  </a:moveTo>
                  <a:cubicBezTo>
                    <a:pt x="0" y="185"/>
                    <a:pt x="0" y="185"/>
                    <a:pt x="0" y="185"/>
                  </a:cubicBezTo>
                  <a:cubicBezTo>
                    <a:pt x="53" y="135"/>
                    <a:pt x="53" y="135"/>
                    <a:pt x="53" y="135"/>
                  </a:cubicBezTo>
                  <a:cubicBezTo>
                    <a:pt x="53" y="173"/>
                    <a:pt x="53" y="173"/>
                    <a:pt x="53" y="173"/>
                  </a:cubicBezTo>
                  <a:cubicBezTo>
                    <a:pt x="34" y="191"/>
                    <a:pt x="34" y="191"/>
                    <a:pt x="34" y="191"/>
                  </a:cubicBezTo>
                  <a:cubicBezTo>
                    <a:pt x="39" y="196"/>
                    <a:pt x="44" y="201"/>
                    <a:pt x="48" y="206"/>
                  </a:cubicBezTo>
                  <a:cubicBezTo>
                    <a:pt x="53" y="201"/>
                    <a:pt x="53" y="201"/>
                    <a:pt x="53" y="201"/>
                  </a:cubicBezTo>
                  <a:lnTo>
                    <a:pt x="53" y="24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ïṩliďè">
              <a:extLst>
                <a:ext uri="{FF2B5EF4-FFF2-40B4-BE49-F238E27FC236}">
                  <a16:creationId xmlns:a16="http://schemas.microsoft.com/office/drawing/2014/main" id="{6252BD86-A9B0-4D76-A50B-E133FFCBA066}"/>
                </a:ext>
              </a:extLst>
            </p:cNvPr>
            <p:cNvSpPr/>
            <p:nvPr/>
          </p:nvSpPr>
          <p:spPr bwMode="auto">
            <a:xfrm flipH="1">
              <a:off x="1676277" y="3034973"/>
              <a:ext cx="625279" cy="530990"/>
            </a:xfrm>
            <a:custGeom>
              <a:avLst/>
              <a:gdLst>
                <a:gd name="T0" fmla="*/ 305 w 374"/>
                <a:gd name="T1" fmla="*/ 174 h 325"/>
                <a:gd name="T2" fmla="*/ 331 w 374"/>
                <a:gd name="T3" fmla="*/ 121 h 325"/>
                <a:gd name="T4" fmla="*/ 307 w 374"/>
                <a:gd name="T5" fmla="*/ 81 h 325"/>
                <a:gd name="T6" fmla="*/ 296 w 374"/>
                <a:gd name="T7" fmla="*/ 27 h 325"/>
                <a:gd name="T8" fmla="*/ 263 w 374"/>
                <a:gd name="T9" fmla="*/ 71 h 325"/>
                <a:gd name="T10" fmla="*/ 263 w 374"/>
                <a:gd name="T11" fmla="*/ 11 h 325"/>
                <a:gd name="T12" fmla="*/ 267 w 374"/>
                <a:gd name="T13" fmla="*/ 180 h 325"/>
                <a:gd name="T14" fmla="*/ 296 w 374"/>
                <a:gd name="T15" fmla="*/ 105 h 325"/>
                <a:gd name="T16" fmla="*/ 268 w 374"/>
                <a:gd name="T17" fmla="*/ 85 h 325"/>
                <a:gd name="T18" fmla="*/ 263 w 374"/>
                <a:gd name="T19" fmla="*/ 125 h 325"/>
                <a:gd name="T20" fmla="*/ 237 w 374"/>
                <a:gd name="T21" fmla="*/ 215 h 325"/>
                <a:gd name="T22" fmla="*/ 245 w 374"/>
                <a:gd name="T23" fmla="*/ 173 h 325"/>
                <a:gd name="T24" fmla="*/ 263 w 374"/>
                <a:gd name="T25" fmla="*/ 125 h 325"/>
                <a:gd name="T26" fmla="*/ 244 w 374"/>
                <a:gd name="T27" fmla="*/ 45 h 325"/>
                <a:gd name="T28" fmla="*/ 263 w 374"/>
                <a:gd name="T29" fmla="*/ 76 h 325"/>
                <a:gd name="T30" fmla="*/ 248 w 374"/>
                <a:gd name="T31" fmla="*/ 80 h 325"/>
                <a:gd name="T32" fmla="*/ 210 w 374"/>
                <a:gd name="T33" fmla="*/ 255 h 325"/>
                <a:gd name="T34" fmla="*/ 210 w 374"/>
                <a:gd name="T35" fmla="*/ 183 h 325"/>
                <a:gd name="T36" fmla="*/ 232 w 374"/>
                <a:gd name="T37" fmla="*/ 218 h 325"/>
                <a:gd name="T38" fmla="*/ 237 w 374"/>
                <a:gd name="T39" fmla="*/ 87 h 325"/>
                <a:gd name="T40" fmla="*/ 234 w 374"/>
                <a:gd name="T41" fmla="*/ 125 h 325"/>
                <a:gd name="T42" fmla="*/ 229 w 374"/>
                <a:gd name="T43" fmla="*/ 146 h 325"/>
                <a:gd name="T44" fmla="*/ 210 w 374"/>
                <a:gd name="T45" fmla="*/ 115 h 325"/>
                <a:gd name="T46" fmla="*/ 210 w 374"/>
                <a:gd name="T47" fmla="*/ 231 h 325"/>
                <a:gd name="T48" fmla="*/ 205 w 374"/>
                <a:gd name="T49" fmla="*/ 106 h 325"/>
                <a:gd name="T50" fmla="*/ 192 w 374"/>
                <a:gd name="T51" fmla="*/ 54 h 325"/>
                <a:gd name="T52" fmla="*/ 210 w 374"/>
                <a:gd name="T53" fmla="*/ 120 h 325"/>
                <a:gd name="T54" fmla="*/ 210 w 374"/>
                <a:gd name="T55" fmla="*/ 215 h 325"/>
                <a:gd name="T56" fmla="*/ 192 w 374"/>
                <a:gd name="T57" fmla="*/ 189 h 325"/>
                <a:gd name="T58" fmla="*/ 177 w 374"/>
                <a:gd name="T59" fmla="*/ 275 h 325"/>
                <a:gd name="T60" fmla="*/ 188 w 374"/>
                <a:gd name="T61" fmla="*/ 244 h 325"/>
                <a:gd name="T62" fmla="*/ 192 w 374"/>
                <a:gd name="T63" fmla="*/ 84 h 325"/>
                <a:gd name="T64" fmla="*/ 192 w 374"/>
                <a:gd name="T65" fmla="*/ 114 h 325"/>
                <a:gd name="T66" fmla="*/ 192 w 374"/>
                <a:gd name="T67" fmla="*/ 151 h 325"/>
                <a:gd name="T68" fmla="*/ 177 w 374"/>
                <a:gd name="T69" fmla="*/ 177 h 325"/>
                <a:gd name="T70" fmla="*/ 182 w 374"/>
                <a:gd name="T71" fmla="*/ 137 h 325"/>
                <a:gd name="T72" fmla="*/ 132 w 374"/>
                <a:gd name="T73" fmla="*/ 278 h 325"/>
                <a:gd name="T74" fmla="*/ 159 w 374"/>
                <a:gd name="T75" fmla="*/ 225 h 325"/>
                <a:gd name="T76" fmla="*/ 135 w 374"/>
                <a:gd name="T77" fmla="*/ 185 h 325"/>
                <a:gd name="T78" fmla="*/ 177 w 374"/>
                <a:gd name="T79" fmla="*/ 86 h 325"/>
                <a:gd name="T80" fmla="*/ 175 w 374"/>
                <a:gd name="T81" fmla="*/ 124 h 325"/>
                <a:gd name="T82" fmla="*/ 177 w 374"/>
                <a:gd name="T83" fmla="*/ 177 h 325"/>
                <a:gd name="T84" fmla="*/ 177 w 374"/>
                <a:gd name="T85" fmla="*/ 275 h 325"/>
                <a:gd name="T86" fmla="*/ 124 w 374"/>
                <a:gd name="T87" fmla="*/ 307 h 325"/>
                <a:gd name="T88" fmla="*/ 105 w 374"/>
                <a:gd name="T89" fmla="*/ 146 h 325"/>
                <a:gd name="T90" fmla="*/ 124 w 374"/>
                <a:gd name="T91" fmla="*/ 230 h 325"/>
                <a:gd name="T92" fmla="*/ 105 w 374"/>
                <a:gd name="T93" fmla="*/ 257 h 325"/>
                <a:gd name="T94" fmla="*/ 112 w 374"/>
                <a:gd name="T95" fmla="*/ 216 h 325"/>
                <a:gd name="T96" fmla="*/ 91 w 374"/>
                <a:gd name="T97" fmla="*/ 266 h 325"/>
                <a:gd name="T98" fmla="*/ 105 w 374"/>
                <a:gd name="T99" fmla="*/ 294 h 325"/>
                <a:gd name="T100" fmla="*/ 102 w 374"/>
                <a:gd name="T101" fmla="*/ 131 h 325"/>
                <a:gd name="T102" fmla="*/ 105 w 374"/>
                <a:gd name="T103" fmla="*/ 204 h 325"/>
                <a:gd name="T104" fmla="*/ 99 w 374"/>
                <a:gd name="T105" fmla="*/ 224 h 325"/>
                <a:gd name="T106" fmla="*/ 91 w 374"/>
                <a:gd name="T107" fmla="*/ 320 h 325"/>
                <a:gd name="T108" fmla="*/ 48 w 374"/>
                <a:gd name="T109" fmla="*/ 164 h 325"/>
                <a:gd name="T110" fmla="*/ 80 w 374"/>
                <a:gd name="T111" fmla="*/ 161 h 325"/>
                <a:gd name="T112" fmla="*/ 91 w 374"/>
                <a:gd name="T113" fmla="*/ 229 h 325"/>
                <a:gd name="T114" fmla="*/ 91 w 374"/>
                <a:gd name="T115" fmla="*/ 320 h 325"/>
                <a:gd name="T116" fmla="*/ 29 w 374"/>
                <a:gd name="T117" fmla="*/ 1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4" h="325">
                  <a:moveTo>
                    <a:pt x="296" y="27"/>
                  </a:moveTo>
                  <a:cubicBezTo>
                    <a:pt x="374" y="156"/>
                    <a:pt x="374" y="156"/>
                    <a:pt x="374" y="156"/>
                  </a:cubicBezTo>
                  <a:cubicBezTo>
                    <a:pt x="296" y="203"/>
                    <a:pt x="296" y="203"/>
                    <a:pt x="296" y="203"/>
                  </a:cubicBezTo>
                  <a:cubicBezTo>
                    <a:pt x="296" y="179"/>
                    <a:pt x="296" y="179"/>
                    <a:pt x="296" y="179"/>
                  </a:cubicBezTo>
                  <a:cubicBezTo>
                    <a:pt x="305" y="174"/>
                    <a:pt x="305" y="174"/>
                    <a:pt x="305" y="174"/>
                  </a:cubicBezTo>
                  <a:cubicBezTo>
                    <a:pt x="302" y="170"/>
                    <a:pt x="300" y="166"/>
                    <a:pt x="297" y="162"/>
                  </a:cubicBezTo>
                  <a:cubicBezTo>
                    <a:pt x="296" y="163"/>
                    <a:pt x="296" y="163"/>
                    <a:pt x="296" y="163"/>
                  </a:cubicBezTo>
                  <a:cubicBezTo>
                    <a:pt x="296" y="131"/>
                    <a:pt x="296" y="131"/>
                    <a:pt x="296" y="131"/>
                  </a:cubicBezTo>
                  <a:cubicBezTo>
                    <a:pt x="301" y="139"/>
                    <a:pt x="301" y="139"/>
                    <a:pt x="301" y="139"/>
                  </a:cubicBezTo>
                  <a:cubicBezTo>
                    <a:pt x="311" y="133"/>
                    <a:pt x="321" y="127"/>
                    <a:pt x="331" y="121"/>
                  </a:cubicBezTo>
                  <a:cubicBezTo>
                    <a:pt x="329" y="117"/>
                    <a:pt x="326" y="113"/>
                    <a:pt x="324" y="109"/>
                  </a:cubicBezTo>
                  <a:cubicBezTo>
                    <a:pt x="296" y="126"/>
                    <a:pt x="296" y="126"/>
                    <a:pt x="296" y="126"/>
                  </a:cubicBezTo>
                  <a:cubicBezTo>
                    <a:pt x="296" y="105"/>
                    <a:pt x="296" y="105"/>
                    <a:pt x="296" y="105"/>
                  </a:cubicBezTo>
                  <a:cubicBezTo>
                    <a:pt x="315" y="94"/>
                    <a:pt x="315" y="94"/>
                    <a:pt x="315" y="94"/>
                  </a:cubicBezTo>
                  <a:cubicBezTo>
                    <a:pt x="312" y="89"/>
                    <a:pt x="310" y="85"/>
                    <a:pt x="307" y="81"/>
                  </a:cubicBezTo>
                  <a:cubicBezTo>
                    <a:pt x="296" y="88"/>
                    <a:pt x="296" y="88"/>
                    <a:pt x="296" y="88"/>
                  </a:cubicBezTo>
                  <a:cubicBezTo>
                    <a:pt x="296" y="68"/>
                    <a:pt x="296" y="68"/>
                    <a:pt x="296" y="68"/>
                  </a:cubicBezTo>
                  <a:cubicBezTo>
                    <a:pt x="298" y="67"/>
                    <a:pt x="298" y="67"/>
                    <a:pt x="298" y="67"/>
                  </a:cubicBezTo>
                  <a:cubicBezTo>
                    <a:pt x="296" y="63"/>
                    <a:pt x="296" y="63"/>
                    <a:pt x="296" y="63"/>
                  </a:cubicBezTo>
                  <a:lnTo>
                    <a:pt x="296" y="27"/>
                  </a:lnTo>
                  <a:close/>
                  <a:moveTo>
                    <a:pt x="280" y="0"/>
                  </a:moveTo>
                  <a:cubicBezTo>
                    <a:pt x="296" y="27"/>
                    <a:pt x="296" y="27"/>
                    <a:pt x="296" y="27"/>
                  </a:cubicBezTo>
                  <a:cubicBezTo>
                    <a:pt x="296" y="63"/>
                    <a:pt x="296" y="63"/>
                    <a:pt x="296" y="63"/>
                  </a:cubicBezTo>
                  <a:cubicBezTo>
                    <a:pt x="291" y="54"/>
                    <a:pt x="291" y="54"/>
                    <a:pt x="291" y="54"/>
                  </a:cubicBezTo>
                  <a:cubicBezTo>
                    <a:pt x="263" y="71"/>
                    <a:pt x="263" y="71"/>
                    <a:pt x="263" y="71"/>
                  </a:cubicBezTo>
                  <a:cubicBezTo>
                    <a:pt x="263" y="50"/>
                    <a:pt x="263" y="50"/>
                    <a:pt x="263" y="50"/>
                  </a:cubicBezTo>
                  <a:cubicBezTo>
                    <a:pt x="282" y="39"/>
                    <a:pt x="282" y="39"/>
                    <a:pt x="282" y="39"/>
                  </a:cubicBezTo>
                  <a:cubicBezTo>
                    <a:pt x="279" y="35"/>
                    <a:pt x="277" y="31"/>
                    <a:pt x="274" y="27"/>
                  </a:cubicBezTo>
                  <a:cubicBezTo>
                    <a:pt x="263" y="34"/>
                    <a:pt x="263" y="34"/>
                    <a:pt x="263" y="34"/>
                  </a:cubicBezTo>
                  <a:cubicBezTo>
                    <a:pt x="263" y="11"/>
                    <a:pt x="263" y="11"/>
                    <a:pt x="263" y="11"/>
                  </a:cubicBezTo>
                  <a:cubicBezTo>
                    <a:pt x="280" y="0"/>
                    <a:pt x="280" y="0"/>
                    <a:pt x="280" y="0"/>
                  </a:cubicBezTo>
                  <a:close/>
                  <a:moveTo>
                    <a:pt x="296" y="203"/>
                  </a:moveTo>
                  <a:cubicBezTo>
                    <a:pt x="296" y="179"/>
                    <a:pt x="296" y="179"/>
                    <a:pt x="296" y="179"/>
                  </a:cubicBezTo>
                  <a:cubicBezTo>
                    <a:pt x="275" y="192"/>
                    <a:pt x="275" y="192"/>
                    <a:pt x="275" y="192"/>
                  </a:cubicBezTo>
                  <a:cubicBezTo>
                    <a:pt x="272" y="188"/>
                    <a:pt x="270" y="184"/>
                    <a:pt x="267" y="180"/>
                  </a:cubicBezTo>
                  <a:cubicBezTo>
                    <a:pt x="296" y="163"/>
                    <a:pt x="296" y="163"/>
                    <a:pt x="296" y="163"/>
                  </a:cubicBezTo>
                  <a:cubicBezTo>
                    <a:pt x="296" y="131"/>
                    <a:pt x="296" y="131"/>
                    <a:pt x="296" y="131"/>
                  </a:cubicBezTo>
                  <a:cubicBezTo>
                    <a:pt x="294" y="127"/>
                    <a:pt x="294" y="127"/>
                    <a:pt x="294" y="127"/>
                  </a:cubicBezTo>
                  <a:cubicBezTo>
                    <a:pt x="296" y="126"/>
                    <a:pt x="296" y="126"/>
                    <a:pt x="296" y="126"/>
                  </a:cubicBezTo>
                  <a:cubicBezTo>
                    <a:pt x="296" y="105"/>
                    <a:pt x="296" y="105"/>
                    <a:pt x="296" y="105"/>
                  </a:cubicBezTo>
                  <a:cubicBezTo>
                    <a:pt x="285" y="112"/>
                    <a:pt x="285" y="112"/>
                    <a:pt x="285" y="112"/>
                  </a:cubicBezTo>
                  <a:cubicBezTo>
                    <a:pt x="282" y="108"/>
                    <a:pt x="280" y="104"/>
                    <a:pt x="277" y="99"/>
                  </a:cubicBezTo>
                  <a:cubicBezTo>
                    <a:pt x="296" y="88"/>
                    <a:pt x="296" y="88"/>
                    <a:pt x="296" y="88"/>
                  </a:cubicBezTo>
                  <a:cubicBezTo>
                    <a:pt x="296" y="68"/>
                    <a:pt x="296" y="68"/>
                    <a:pt x="296" y="68"/>
                  </a:cubicBezTo>
                  <a:cubicBezTo>
                    <a:pt x="268" y="85"/>
                    <a:pt x="268" y="85"/>
                    <a:pt x="268" y="85"/>
                  </a:cubicBezTo>
                  <a:cubicBezTo>
                    <a:pt x="263" y="76"/>
                    <a:pt x="263" y="76"/>
                    <a:pt x="263" y="76"/>
                  </a:cubicBezTo>
                  <a:cubicBezTo>
                    <a:pt x="263" y="108"/>
                    <a:pt x="263" y="108"/>
                    <a:pt x="263" y="108"/>
                  </a:cubicBezTo>
                  <a:cubicBezTo>
                    <a:pt x="264" y="107"/>
                    <a:pt x="264" y="107"/>
                    <a:pt x="264" y="107"/>
                  </a:cubicBezTo>
                  <a:cubicBezTo>
                    <a:pt x="267" y="111"/>
                    <a:pt x="269" y="115"/>
                    <a:pt x="272" y="120"/>
                  </a:cubicBezTo>
                  <a:cubicBezTo>
                    <a:pt x="263" y="125"/>
                    <a:pt x="263" y="125"/>
                    <a:pt x="263" y="125"/>
                  </a:cubicBezTo>
                  <a:cubicBezTo>
                    <a:pt x="263" y="223"/>
                    <a:pt x="263" y="223"/>
                    <a:pt x="263" y="223"/>
                  </a:cubicBezTo>
                  <a:lnTo>
                    <a:pt x="296" y="203"/>
                  </a:lnTo>
                  <a:close/>
                  <a:moveTo>
                    <a:pt x="263" y="223"/>
                  </a:moveTo>
                  <a:cubicBezTo>
                    <a:pt x="237" y="239"/>
                    <a:pt x="237" y="239"/>
                    <a:pt x="237" y="239"/>
                  </a:cubicBezTo>
                  <a:cubicBezTo>
                    <a:pt x="237" y="215"/>
                    <a:pt x="237" y="215"/>
                    <a:pt x="237" y="215"/>
                  </a:cubicBezTo>
                  <a:cubicBezTo>
                    <a:pt x="262" y="200"/>
                    <a:pt x="262" y="200"/>
                    <a:pt x="262" y="200"/>
                  </a:cubicBezTo>
                  <a:cubicBezTo>
                    <a:pt x="259" y="196"/>
                    <a:pt x="257" y="192"/>
                    <a:pt x="254" y="188"/>
                  </a:cubicBezTo>
                  <a:cubicBezTo>
                    <a:pt x="237" y="198"/>
                    <a:pt x="237" y="198"/>
                    <a:pt x="237" y="198"/>
                  </a:cubicBezTo>
                  <a:cubicBezTo>
                    <a:pt x="237" y="178"/>
                    <a:pt x="237" y="178"/>
                    <a:pt x="237" y="178"/>
                  </a:cubicBezTo>
                  <a:cubicBezTo>
                    <a:pt x="245" y="173"/>
                    <a:pt x="245" y="173"/>
                    <a:pt x="245" y="173"/>
                  </a:cubicBezTo>
                  <a:cubicBezTo>
                    <a:pt x="243" y="169"/>
                    <a:pt x="240" y="165"/>
                    <a:pt x="238" y="161"/>
                  </a:cubicBezTo>
                  <a:cubicBezTo>
                    <a:pt x="237" y="161"/>
                    <a:pt x="237" y="161"/>
                    <a:pt x="237" y="161"/>
                  </a:cubicBezTo>
                  <a:cubicBezTo>
                    <a:pt x="237" y="129"/>
                    <a:pt x="237" y="129"/>
                    <a:pt x="237" y="129"/>
                  </a:cubicBezTo>
                  <a:cubicBezTo>
                    <a:pt x="242" y="138"/>
                    <a:pt x="242" y="138"/>
                    <a:pt x="242" y="138"/>
                  </a:cubicBezTo>
                  <a:cubicBezTo>
                    <a:pt x="263" y="125"/>
                    <a:pt x="263" y="125"/>
                    <a:pt x="263" y="125"/>
                  </a:cubicBezTo>
                  <a:cubicBezTo>
                    <a:pt x="263" y="223"/>
                    <a:pt x="263" y="223"/>
                    <a:pt x="263" y="223"/>
                  </a:cubicBezTo>
                  <a:close/>
                  <a:moveTo>
                    <a:pt x="237" y="27"/>
                  </a:moveTo>
                  <a:cubicBezTo>
                    <a:pt x="263" y="11"/>
                    <a:pt x="263" y="11"/>
                    <a:pt x="263" y="11"/>
                  </a:cubicBezTo>
                  <a:cubicBezTo>
                    <a:pt x="263" y="34"/>
                    <a:pt x="263" y="34"/>
                    <a:pt x="263" y="34"/>
                  </a:cubicBezTo>
                  <a:cubicBezTo>
                    <a:pt x="244" y="45"/>
                    <a:pt x="244" y="45"/>
                    <a:pt x="244" y="45"/>
                  </a:cubicBezTo>
                  <a:cubicBezTo>
                    <a:pt x="247" y="49"/>
                    <a:pt x="249" y="53"/>
                    <a:pt x="252" y="57"/>
                  </a:cubicBezTo>
                  <a:cubicBezTo>
                    <a:pt x="263" y="50"/>
                    <a:pt x="263" y="50"/>
                    <a:pt x="263" y="50"/>
                  </a:cubicBezTo>
                  <a:cubicBezTo>
                    <a:pt x="263" y="71"/>
                    <a:pt x="263" y="71"/>
                    <a:pt x="263" y="71"/>
                  </a:cubicBezTo>
                  <a:cubicBezTo>
                    <a:pt x="261" y="72"/>
                    <a:pt x="261" y="72"/>
                    <a:pt x="261" y="72"/>
                  </a:cubicBezTo>
                  <a:cubicBezTo>
                    <a:pt x="263" y="76"/>
                    <a:pt x="263" y="76"/>
                    <a:pt x="263" y="76"/>
                  </a:cubicBezTo>
                  <a:cubicBezTo>
                    <a:pt x="263" y="108"/>
                    <a:pt x="263" y="108"/>
                    <a:pt x="263" y="108"/>
                  </a:cubicBezTo>
                  <a:cubicBezTo>
                    <a:pt x="237" y="124"/>
                    <a:pt x="237" y="124"/>
                    <a:pt x="237" y="124"/>
                  </a:cubicBezTo>
                  <a:cubicBezTo>
                    <a:pt x="237" y="104"/>
                    <a:pt x="237" y="104"/>
                    <a:pt x="237" y="104"/>
                  </a:cubicBezTo>
                  <a:cubicBezTo>
                    <a:pt x="255" y="93"/>
                    <a:pt x="255" y="93"/>
                    <a:pt x="255" y="93"/>
                  </a:cubicBezTo>
                  <a:cubicBezTo>
                    <a:pt x="253" y="88"/>
                    <a:pt x="250" y="84"/>
                    <a:pt x="248" y="80"/>
                  </a:cubicBezTo>
                  <a:cubicBezTo>
                    <a:pt x="237" y="87"/>
                    <a:pt x="237" y="87"/>
                    <a:pt x="237" y="87"/>
                  </a:cubicBezTo>
                  <a:lnTo>
                    <a:pt x="237" y="27"/>
                  </a:lnTo>
                  <a:close/>
                  <a:moveTo>
                    <a:pt x="237" y="239"/>
                  </a:moveTo>
                  <a:cubicBezTo>
                    <a:pt x="234" y="240"/>
                    <a:pt x="234" y="240"/>
                    <a:pt x="234" y="240"/>
                  </a:cubicBezTo>
                  <a:cubicBezTo>
                    <a:pt x="210" y="255"/>
                    <a:pt x="210" y="255"/>
                    <a:pt x="210" y="255"/>
                  </a:cubicBezTo>
                  <a:cubicBezTo>
                    <a:pt x="210" y="231"/>
                    <a:pt x="210" y="231"/>
                    <a:pt x="210" y="231"/>
                  </a:cubicBezTo>
                  <a:cubicBezTo>
                    <a:pt x="218" y="226"/>
                    <a:pt x="218" y="226"/>
                    <a:pt x="218" y="226"/>
                  </a:cubicBezTo>
                  <a:cubicBezTo>
                    <a:pt x="216" y="222"/>
                    <a:pt x="213" y="218"/>
                    <a:pt x="211" y="214"/>
                  </a:cubicBezTo>
                  <a:cubicBezTo>
                    <a:pt x="210" y="215"/>
                    <a:pt x="210" y="215"/>
                    <a:pt x="210" y="215"/>
                  </a:cubicBezTo>
                  <a:cubicBezTo>
                    <a:pt x="210" y="183"/>
                    <a:pt x="210" y="183"/>
                    <a:pt x="210" y="183"/>
                  </a:cubicBezTo>
                  <a:cubicBezTo>
                    <a:pt x="215" y="191"/>
                    <a:pt x="215" y="191"/>
                    <a:pt x="215" y="191"/>
                  </a:cubicBezTo>
                  <a:cubicBezTo>
                    <a:pt x="237" y="178"/>
                    <a:pt x="237" y="178"/>
                    <a:pt x="237" y="178"/>
                  </a:cubicBezTo>
                  <a:cubicBezTo>
                    <a:pt x="237" y="198"/>
                    <a:pt x="237" y="198"/>
                    <a:pt x="237" y="198"/>
                  </a:cubicBezTo>
                  <a:cubicBezTo>
                    <a:pt x="224" y="206"/>
                    <a:pt x="224" y="206"/>
                    <a:pt x="224" y="206"/>
                  </a:cubicBezTo>
                  <a:cubicBezTo>
                    <a:pt x="226" y="210"/>
                    <a:pt x="229" y="214"/>
                    <a:pt x="232" y="218"/>
                  </a:cubicBezTo>
                  <a:cubicBezTo>
                    <a:pt x="237" y="215"/>
                    <a:pt x="237" y="215"/>
                    <a:pt x="237" y="215"/>
                  </a:cubicBezTo>
                  <a:cubicBezTo>
                    <a:pt x="237" y="239"/>
                    <a:pt x="237" y="239"/>
                    <a:pt x="237" y="239"/>
                  </a:cubicBezTo>
                  <a:close/>
                  <a:moveTo>
                    <a:pt x="210" y="43"/>
                  </a:moveTo>
                  <a:cubicBezTo>
                    <a:pt x="237" y="27"/>
                    <a:pt x="237" y="27"/>
                    <a:pt x="237" y="27"/>
                  </a:cubicBezTo>
                  <a:cubicBezTo>
                    <a:pt x="237" y="87"/>
                    <a:pt x="237" y="87"/>
                    <a:pt x="237" y="87"/>
                  </a:cubicBezTo>
                  <a:cubicBezTo>
                    <a:pt x="218" y="98"/>
                    <a:pt x="218" y="98"/>
                    <a:pt x="218" y="98"/>
                  </a:cubicBezTo>
                  <a:cubicBezTo>
                    <a:pt x="220" y="102"/>
                    <a:pt x="223" y="106"/>
                    <a:pt x="225" y="111"/>
                  </a:cubicBezTo>
                  <a:cubicBezTo>
                    <a:pt x="237" y="104"/>
                    <a:pt x="237" y="104"/>
                    <a:pt x="237" y="104"/>
                  </a:cubicBezTo>
                  <a:cubicBezTo>
                    <a:pt x="237" y="124"/>
                    <a:pt x="237" y="124"/>
                    <a:pt x="237" y="124"/>
                  </a:cubicBezTo>
                  <a:cubicBezTo>
                    <a:pt x="234" y="125"/>
                    <a:pt x="234" y="125"/>
                    <a:pt x="234" y="125"/>
                  </a:cubicBezTo>
                  <a:cubicBezTo>
                    <a:pt x="237" y="129"/>
                    <a:pt x="237" y="129"/>
                    <a:pt x="237" y="129"/>
                  </a:cubicBezTo>
                  <a:cubicBezTo>
                    <a:pt x="237" y="161"/>
                    <a:pt x="237" y="161"/>
                    <a:pt x="237" y="161"/>
                  </a:cubicBezTo>
                  <a:cubicBezTo>
                    <a:pt x="210" y="178"/>
                    <a:pt x="210" y="178"/>
                    <a:pt x="210" y="178"/>
                  </a:cubicBezTo>
                  <a:cubicBezTo>
                    <a:pt x="210" y="157"/>
                    <a:pt x="210" y="157"/>
                    <a:pt x="210" y="157"/>
                  </a:cubicBezTo>
                  <a:cubicBezTo>
                    <a:pt x="229" y="146"/>
                    <a:pt x="229" y="146"/>
                    <a:pt x="229" y="146"/>
                  </a:cubicBezTo>
                  <a:cubicBezTo>
                    <a:pt x="226" y="141"/>
                    <a:pt x="224" y="137"/>
                    <a:pt x="221" y="133"/>
                  </a:cubicBezTo>
                  <a:cubicBezTo>
                    <a:pt x="210" y="140"/>
                    <a:pt x="210" y="140"/>
                    <a:pt x="210" y="140"/>
                  </a:cubicBezTo>
                  <a:cubicBezTo>
                    <a:pt x="210" y="120"/>
                    <a:pt x="210" y="120"/>
                    <a:pt x="210" y="120"/>
                  </a:cubicBezTo>
                  <a:cubicBezTo>
                    <a:pt x="212" y="119"/>
                    <a:pt x="212" y="119"/>
                    <a:pt x="212" y="119"/>
                  </a:cubicBezTo>
                  <a:cubicBezTo>
                    <a:pt x="210" y="115"/>
                    <a:pt x="210" y="115"/>
                    <a:pt x="210" y="115"/>
                  </a:cubicBezTo>
                  <a:lnTo>
                    <a:pt x="210" y="43"/>
                  </a:lnTo>
                  <a:close/>
                  <a:moveTo>
                    <a:pt x="210" y="255"/>
                  </a:moveTo>
                  <a:cubicBezTo>
                    <a:pt x="192" y="266"/>
                    <a:pt x="192" y="266"/>
                    <a:pt x="192" y="266"/>
                  </a:cubicBezTo>
                  <a:cubicBezTo>
                    <a:pt x="192" y="242"/>
                    <a:pt x="192" y="242"/>
                    <a:pt x="192" y="242"/>
                  </a:cubicBezTo>
                  <a:cubicBezTo>
                    <a:pt x="210" y="231"/>
                    <a:pt x="210" y="231"/>
                    <a:pt x="210" y="231"/>
                  </a:cubicBezTo>
                  <a:cubicBezTo>
                    <a:pt x="210" y="255"/>
                    <a:pt x="210" y="255"/>
                    <a:pt x="210" y="255"/>
                  </a:cubicBezTo>
                  <a:close/>
                  <a:moveTo>
                    <a:pt x="192" y="54"/>
                  </a:moveTo>
                  <a:cubicBezTo>
                    <a:pt x="210" y="43"/>
                    <a:pt x="210" y="43"/>
                    <a:pt x="210" y="43"/>
                  </a:cubicBezTo>
                  <a:cubicBezTo>
                    <a:pt x="210" y="115"/>
                    <a:pt x="210" y="115"/>
                    <a:pt x="210" y="115"/>
                  </a:cubicBezTo>
                  <a:cubicBezTo>
                    <a:pt x="205" y="106"/>
                    <a:pt x="205" y="106"/>
                    <a:pt x="205" y="106"/>
                  </a:cubicBezTo>
                  <a:cubicBezTo>
                    <a:pt x="192" y="114"/>
                    <a:pt x="192" y="114"/>
                    <a:pt x="192" y="114"/>
                  </a:cubicBezTo>
                  <a:cubicBezTo>
                    <a:pt x="192" y="94"/>
                    <a:pt x="192" y="94"/>
                    <a:pt x="192" y="94"/>
                  </a:cubicBezTo>
                  <a:cubicBezTo>
                    <a:pt x="196" y="91"/>
                    <a:pt x="196" y="91"/>
                    <a:pt x="196" y="91"/>
                  </a:cubicBezTo>
                  <a:cubicBezTo>
                    <a:pt x="192" y="84"/>
                    <a:pt x="192" y="84"/>
                    <a:pt x="192" y="84"/>
                  </a:cubicBezTo>
                  <a:cubicBezTo>
                    <a:pt x="192" y="54"/>
                    <a:pt x="192" y="54"/>
                    <a:pt x="192" y="54"/>
                  </a:cubicBezTo>
                  <a:close/>
                  <a:moveTo>
                    <a:pt x="210" y="120"/>
                  </a:moveTo>
                  <a:cubicBezTo>
                    <a:pt x="210" y="140"/>
                    <a:pt x="210" y="140"/>
                    <a:pt x="210" y="140"/>
                  </a:cubicBezTo>
                  <a:cubicBezTo>
                    <a:pt x="192" y="151"/>
                    <a:pt x="192" y="151"/>
                    <a:pt x="192" y="151"/>
                  </a:cubicBezTo>
                  <a:cubicBezTo>
                    <a:pt x="192" y="131"/>
                    <a:pt x="192" y="131"/>
                    <a:pt x="192" y="131"/>
                  </a:cubicBezTo>
                  <a:cubicBezTo>
                    <a:pt x="210" y="120"/>
                    <a:pt x="210" y="120"/>
                    <a:pt x="210" y="120"/>
                  </a:cubicBezTo>
                  <a:close/>
                  <a:moveTo>
                    <a:pt x="210" y="157"/>
                  </a:moveTo>
                  <a:cubicBezTo>
                    <a:pt x="210" y="178"/>
                    <a:pt x="210" y="178"/>
                    <a:pt x="210" y="178"/>
                  </a:cubicBezTo>
                  <a:cubicBezTo>
                    <a:pt x="208" y="179"/>
                    <a:pt x="208" y="179"/>
                    <a:pt x="208" y="179"/>
                  </a:cubicBezTo>
                  <a:cubicBezTo>
                    <a:pt x="210" y="183"/>
                    <a:pt x="210" y="183"/>
                    <a:pt x="210" y="183"/>
                  </a:cubicBezTo>
                  <a:cubicBezTo>
                    <a:pt x="210" y="215"/>
                    <a:pt x="210" y="215"/>
                    <a:pt x="210" y="215"/>
                  </a:cubicBezTo>
                  <a:cubicBezTo>
                    <a:pt x="192" y="226"/>
                    <a:pt x="192" y="226"/>
                    <a:pt x="192" y="226"/>
                  </a:cubicBezTo>
                  <a:cubicBezTo>
                    <a:pt x="192" y="205"/>
                    <a:pt x="192" y="205"/>
                    <a:pt x="192" y="205"/>
                  </a:cubicBezTo>
                  <a:cubicBezTo>
                    <a:pt x="202" y="199"/>
                    <a:pt x="202" y="199"/>
                    <a:pt x="202" y="199"/>
                  </a:cubicBezTo>
                  <a:cubicBezTo>
                    <a:pt x="199" y="195"/>
                    <a:pt x="197" y="191"/>
                    <a:pt x="195" y="187"/>
                  </a:cubicBezTo>
                  <a:cubicBezTo>
                    <a:pt x="192" y="189"/>
                    <a:pt x="192" y="189"/>
                    <a:pt x="192" y="189"/>
                  </a:cubicBezTo>
                  <a:cubicBezTo>
                    <a:pt x="192" y="152"/>
                    <a:pt x="192" y="152"/>
                    <a:pt x="192" y="152"/>
                  </a:cubicBezTo>
                  <a:cubicBezTo>
                    <a:pt x="199" y="164"/>
                    <a:pt x="199" y="164"/>
                    <a:pt x="199" y="164"/>
                  </a:cubicBezTo>
                  <a:lnTo>
                    <a:pt x="210" y="157"/>
                  </a:lnTo>
                  <a:close/>
                  <a:moveTo>
                    <a:pt x="192" y="266"/>
                  </a:moveTo>
                  <a:cubicBezTo>
                    <a:pt x="177" y="275"/>
                    <a:pt x="177" y="275"/>
                    <a:pt x="177" y="275"/>
                  </a:cubicBezTo>
                  <a:cubicBezTo>
                    <a:pt x="177" y="214"/>
                    <a:pt x="177" y="214"/>
                    <a:pt x="177" y="214"/>
                  </a:cubicBezTo>
                  <a:cubicBezTo>
                    <a:pt x="192" y="205"/>
                    <a:pt x="192" y="205"/>
                    <a:pt x="192" y="205"/>
                  </a:cubicBezTo>
                  <a:cubicBezTo>
                    <a:pt x="192" y="226"/>
                    <a:pt x="192" y="226"/>
                    <a:pt x="192" y="226"/>
                  </a:cubicBezTo>
                  <a:cubicBezTo>
                    <a:pt x="181" y="232"/>
                    <a:pt x="181" y="232"/>
                    <a:pt x="181" y="232"/>
                  </a:cubicBezTo>
                  <a:cubicBezTo>
                    <a:pt x="183" y="236"/>
                    <a:pt x="186" y="240"/>
                    <a:pt x="188" y="244"/>
                  </a:cubicBezTo>
                  <a:cubicBezTo>
                    <a:pt x="192" y="242"/>
                    <a:pt x="192" y="242"/>
                    <a:pt x="192" y="242"/>
                  </a:cubicBezTo>
                  <a:cubicBezTo>
                    <a:pt x="192" y="266"/>
                    <a:pt x="192" y="266"/>
                    <a:pt x="192" y="266"/>
                  </a:cubicBezTo>
                  <a:close/>
                  <a:moveTo>
                    <a:pt x="177" y="63"/>
                  </a:moveTo>
                  <a:cubicBezTo>
                    <a:pt x="192" y="54"/>
                    <a:pt x="192" y="54"/>
                    <a:pt x="192" y="54"/>
                  </a:cubicBezTo>
                  <a:cubicBezTo>
                    <a:pt x="192" y="84"/>
                    <a:pt x="192" y="84"/>
                    <a:pt x="192" y="84"/>
                  </a:cubicBezTo>
                  <a:cubicBezTo>
                    <a:pt x="188" y="79"/>
                    <a:pt x="188" y="79"/>
                    <a:pt x="188" y="79"/>
                  </a:cubicBezTo>
                  <a:cubicBezTo>
                    <a:pt x="177" y="86"/>
                    <a:pt x="177" y="86"/>
                    <a:pt x="177" y="86"/>
                  </a:cubicBezTo>
                  <a:cubicBezTo>
                    <a:pt x="177" y="63"/>
                    <a:pt x="177" y="63"/>
                    <a:pt x="177" y="63"/>
                  </a:cubicBezTo>
                  <a:close/>
                  <a:moveTo>
                    <a:pt x="192" y="94"/>
                  </a:moveTo>
                  <a:cubicBezTo>
                    <a:pt x="192" y="114"/>
                    <a:pt x="192" y="114"/>
                    <a:pt x="192" y="114"/>
                  </a:cubicBezTo>
                  <a:cubicBezTo>
                    <a:pt x="177" y="123"/>
                    <a:pt x="177" y="123"/>
                    <a:pt x="177" y="123"/>
                  </a:cubicBezTo>
                  <a:cubicBezTo>
                    <a:pt x="177" y="103"/>
                    <a:pt x="177" y="103"/>
                    <a:pt x="177" y="103"/>
                  </a:cubicBezTo>
                  <a:cubicBezTo>
                    <a:pt x="192" y="94"/>
                    <a:pt x="192" y="94"/>
                    <a:pt x="192" y="94"/>
                  </a:cubicBezTo>
                  <a:close/>
                  <a:moveTo>
                    <a:pt x="192" y="131"/>
                  </a:moveTo>
                  <a:cubicBezTo>
                    <a:pt x="192" y="151"/>
                    <a:pt x="192" y="151"/>
                    <a:pt x="192" y="151"/>
                  </a:cubicBezTo>
                  <a:cubicBezTo>
                    <a:pt x="191" y="152"/>
                    <a:pt x="191" y="152"/>
                    <a:pt x="191" y="152"/>
                  </a:cubicBezTo>
                  <a:cubicBezTo>
                    <a:pt x="192" y="152"/>
                    <a:pt x="192" y="152"/>
                    <a:pt x="192" y="152"/>
                  </a:cubicBezTo>
                  <a:cubicBezTo>
                    <a:pt x="192" y="189"/>
                    <a:pt x="192" y="189"/>
                    <a:pt x="192" y="189"/>
                  </a:cubicBezTo>
                  <a:cubicBezTo>
                    <a:pt x="177" y="197"/>
                    <a:pt x="177" y="197"/>
                    <a:pt x="177" y="197"/>
                  </a:cubicBezTo>
                  <a:cubicBezTo>
                    <a:pt x="177" y="177"/>
                    <a:pt x="177" y="177"/>
                    <a:pt x="177" y="177"/>
                  </a:cubicBezTo>
                  <a:cubicBezTo>
                    <a:pt x="186" y="172"/>
                    <a:pt x="186" y="172"/>
                    <a:pt x="186" y="172"/>
                  </a:cubicBezTo>
                  <a:cubicBezTo>
                    <a:pt x="183" y="167"/>
                    <a:pt x="181" y="163"/>
                    <a:pt x="178" y="159"/>
                  </a:cubicBezTo>
                  <a:cubicBezTo>
                    <a:pt x="177" y="160"/>
                    <a:pt x="177" y="160"/>
                    <a:pt x="177" y="160"/>
                  </a:cubicBezTo>
                  <a:cubicBezTo>
                    <a:pt x="177" y="128"/>
                    <a:pt x="177" y="128"/>
                    <a:pt x="177" y="128"/>
                  </a:cubicBezTo>
                  <a:cubicBezTo>
                    <a:pt x="182" y="137"/>
                    <a:pt x="182" y="137"/>
                    <a:pt x="182" y="137"/>
                  </a:cubicBezTo>
                  <a:lnTo>
                    <a:pt x="192" y="131"/>
                  </a:lnTo>
                  <a:close/>
                  <a:moveTo>
                    <a:pt x="177" y="275"/>
                  </a:moveTo>
                  <a:cubicBezTo>
                    <a:pt x="124" y="307"/>
                    <a:pt x="124" y="307"/>
                    <a:pt x="124" y="307"/>
                  </a:cubicBezTo>
                  <a:cubicBezTo>
                    <a:pt x="124" y="283"/>
                    <a:pt x="124" y="283"/>
                    <a:pt x="124" y="283"/>
                  </a:cubicBezTo>
                  <a:cubicBezTo>
                    <a:pt x="132" y="278"/>
                    <a:pt x="132" y="278"/>
                    <a:pt x="132" y="278"/>
                  </a:cubicBezTo>
                  <a:cubicBezTo>
                    <a:pt x="130" y="274"/>
                    <a:pt x="127" y="270"/>
                    <a:pt x="125" y="266"/>
                  </a:cubicBezTo>
                  <a:cubicBezTo>
                    <a:pt x="124" y="267"/>
                    <a:pt x="124" y="267"/>
                    <a:pt x="124" y="267"/>
                  </a:cubicBezTo>
                  <a:cubicBezTo>
                    <a:pt x="124" y="235"/>
                    <a:pt x="124" y="235"/>
                    <a:pt x="124" y="235"/>
                  </a:cubicBezTo>
                  <a:cubicBezTo>
                    <a:pt x="129" y="243"/>
                    <a:pt x="129" y="243"/>
                    <a:pt x="129" y="243"/>
                  </a:cubicBezTo>
                  <a:cubicBezTo>
                    <a:pt x="139" y="237"/>
                    <a:pt x="149" y="231"/>
                    <a:pt x="159" y="225"/>
                  </a:cubicBezTo>
                  <a:cubicBezTo>
                    <a:pt x="156" y="221"/>
                    <a:pt x="154" y="217"/>
                    <a:pt x="152" y="213"/>
                  </a:cubicBezTo>
                  <a:cubicBezTo>
                    <a:pt x="124" y="230"/>
                    <a:pt x="124" y="230"/>
                    <a:pt x="124" y="230"/>
                  </a:cubicBezTo>
                  <a:cubicBezTo>
                    <a:pt x="124" y="209"/>
                    <a:pt x="124" y="209"/>
                    <a:pt x="124" y="209"/>
                  </a:cubicBezTo>
                  <a:cubicBezTo>
                    <a:pt x="142" y="198"/>
                    <a:pt x="142" y="198"/>
                    <a:pt x="142" y="198"/>
                  </a:cubicBezTo>
                  <a:cubicBezTo>
                    <a:pt x="140" y="193"/>
                    <a:pt x="137" y="189"/>
                    <a:pt x="135" y="185"/>
                  </a:cubicBezTo>
                  <a:cubicBezTo>
                    <a:pt x="124" y="192"/>
                    <a:pt x="124" y="192"/>
                    <a:pt x="124" y="192"/>
                  </a:cubicBezTo>
                  <a:cubicBezTo>
                    <a:pt x="124" y="95"/>
                    <a:pt x="124" y="95"/>
                    <a:pt x="124" y="95"/>
                  </a:cubicBezTo>
                  <a:cubicBezTo>
                    <a:pt x="140" y="85"/>
                    <a:pt x="140" y="85"/>
                    <a:pt x="140" y="85"/>
                  </a:cubicBezTo>
                  <a:cubicBezTo>
                    <a:pt x="177" y="63"/>
                    <a:pt x="177" y="63"/>
                    <a:pt x="177" y="63"/>
                  </a:cubicBezTo>
                  <a:cubicBezTo>
                    <a:pt x="177" y="86"/>
                    <a:pt x="177" y="86"/>
                    <a:pt x="177" y="86"/>
                  </a:cubicBezTo>
                  <a:cubicBezTo>
                    <a:pt x="158" y="97"/>
                    <a:pt x="158" y="97"/>
                    <a:pt x="158" y="97"/>
                  </a:cubicBezTo>
                  <a:cubicBezTo>
                    <a:pt x="161" y="101"/>
                    <a:pt x="163" y="105"/>
                    <a:pt x="166" y="109"/>
                  </a:cubicBezTo>
                  <a:cubicBezTo>
                    <a:pt x="177" y="103"/>
                    <a:pt x="177" y="103"/>
                    <a:pt x="177" y="103"/>
                  </a:cubicBezTo>
                  <a:cubicBezTo>
                    <a:pt x="177" y="123"/>
                    <a:pt x="177" y="123"/>
                    <a:pt x="177" y="123"/>
                  </a:cubicBezTo>
                  <a:cubicBezTo>
                    <a:pt x="175" y="124"/>
                    <a:pt x="175" y="124"/>
                    <a:pt x="175" y="124"/>
                  </a:cubicBezTo>
                  <a:cubicBezTo>
                    <a:pt x="177" y="128"/>
                    <a:pt x="177" y="128"/>
                    <a:pt x="177" y="128"/>
                  </a:cubicBezTo>
                  <a:cubicBezTo>
                    <a:pt x="177" y="160"/>
                    <a:pt x="177" y="160"/>
                    <a:pt x="177" y="160"/>
                  </a:cubicBezTo>
                  <a:cubicBezTo>
                    <a:pt x="148" y="178"/>
                    <a:pt x="148" y="178"/>
                    <a:pt x="148" y="178"/>
                  </a:cubicBezTo>
                  <a:cubicBezTo>
                    <a:pt x="151" y="182"/>
                    <a:pt x="153" y="186"/>
                    <a:pt x="156" y="190"/>
                  </a:cubicBezTo>
                  <a:cubicBezTo>
                    <a:pt x="177" y="177"/>
                    <a:pt x="177" y="177"/>
                    <a:pt x="177" y="177"/>
                  </a:cubicBezTo>
                  <a:cubicBezTo>
                    <a:pt x="177" y="197"/>
                    <a:pt x="177" y="197"/>
                    <a:pt x="177" y="197"/>
                  </a:cubicBezTo>
                  <a:cubicBezTo>
                    <a:pt x="165" y="205"/>
                    <a:pt x="165" y="205"/>
                    <a:pt x="165" y="205"/>
                  </a:cubicBezTo>
                  <a:cubicBezTo>
                    <a:pt x="167" y="209"/>
                    <a:pt x="169" y="213"/>
                    <a:pt x="172" y="217"/>
                  </a:cubicBezTo>
                  <a:cubicBezTo>
                    <a:pt x="177" y="214"/>
                    <a:pt x="177" y="214"/>
                    <a:pt x="177" y="214"/>
                  </a:cubicBezTo>
                  <a:lnTo>
                    <a:pt x="177" y="275"/>
                  </a:lnTo>
                  <a:close/>
                  <a:moveTo>
                    <a:pt x="124" y="307"/>
                  </a:moveTo>
                  <a:cubicBezTo>
                    <a:pt x="105" y="318"/>
                    <a:pt x="105" y="318"/>
                    <a:pt x="105" y="318"/>
                  </a:cubicBezTo>
                  <a:cubicBezTo>
                    <a:pt x="105" y="294"/>
                    <a:pt x="105" y="294"/>
                    <a:pt x="105" y="294"/>
                  </a:cubicBezTo>
                  <a:cubicBezTo>
                    <a:pt x="124" y="283"/>
                    <a:pt x="124" y="283"/>
                    <a:pt x="124" y="283"/>
                  </a:cubicBezTo>
                  <a:cubicBezTo>
                    <a:pt x="124" y="307"/>
                    <a:pt x="124" y="307"/>
                    <a:pt x="124" y="307"/>
                  </a:cubicBezTo>
                  <a:close/>
                  <a:moveTo>
                    <a:pt x="105" y="106"/>
                  </a:moveTo>
                  <a:cubicBezTo>
                    <a:pt x="124" y="95"/>
                    <a:pt x="124" y="95"/>
                    <a:pt x="124" y="95"/>
                  </a:cubicBezTo>
                  <a:cubicBezTo>
                    <a:pt x="124" y="192"/>
                    <a:pt x="124" y="192"/>
                    <a:pt x="124" y="192"/>
                  </a:cubicBezTo>
                  <a:cubicBezTo>
                    <a:pt x="105" y="203"/>
                    <a:pt x="105" y="203"/>
                    <a:pt x="105" y="203"/>
                  </a:cubicBezTo>
                  <a:cubicBezTo>
                    <a:pt x="105" y="146"/>
                    <a:pt x="105" y="146"/>
                    <a:pt x="105" y="146"/>
                  </a:cubicBezTo>
                  <a:cubicBezTo>
                    <a:pt x="110" y="143"/>
                    <a:pt x="110" y="143"/>
                    <a:pt x="110" y="143"/>
                  </a:cubicBezTo>
                  <a:cubicBezTo>
                    <a:pt x="105" y="136"/>
                    <a:pt x="105" y="136"/>
                    <a:pt x="105" y="136"/>
                  </a:cubicBezTo>
                  <a:cubicBezTo>
                    <a:pt x="105" y="106"/>
                    <a:pt x="105" y="106"/>
                    <a:pt x="105" y="106"/>
                  </a:cubicBezTo>
                  <a:close/>
                  <a:moveTo>
                    <a:pt x="124" y="209"/>
                  </a:moveTo>
                  <a:cubicBezTo>
                    <a:pt x="124" y="230"/>
                    <a:pt x="124" y="230"/>
                    <a:pt x="124" y="230"/>
                  </a:cubicBezTo>
                  <a:cubicBezTo>
                    <a:pt x="122" y="231"/>
                    <a:pt x="122" y="231"/>
                    <a:pt x="122" y="231"/>
                  </a:cubicBezTo>
                  <a:cubicBezTo>
                    <a:pt x="124" y="235"/>
                    <a:pt x="124" y="235"/>
                    <a:pt x="124" y="235"/>
                  </a:cubicBezTo>
                  <a:cubicBezTo>
                    <a:pt x="124" y="267"/>
                    <a:pt x="124" y="267"/>
                    <a:pt x="124" y="267"/>
                  </a:cubicBezTo>
                  <a:cubicBezTo>
                    <a:pt x="105" y="278"/>
                    <a:pt x="105" y="278"/>
                    <a:pt x="105" y="278"/>
                  </a:cubicBezTo>
                  <a:cubicBezTo>
                    <a:pt x="105" y="257"/>
                    <a:pt x="105" y="257"/>
                    <a:pt x="105" y="257"/>
                  </a:cubicBezTo>
                  <a:cubicBezTo>
                    <a:pt x="116" y="251"/>
                    <a:pt x="116" y="251"/>
                    <a:pt x="116" y="251"/>
                  </a:cubicBezTo>
                  <a:cubicBezTo>
                    <a:pt x="113" y="247"/>
                    <a:pt x="111" y="243"/>
                    <a:pt x="108" y="239"/>
                  </a:cubicBezTo>
                  <a:cubicBezTo>
                    <a:pt x="105" y="241"/>
                    <a:pt x="105" y="241"/>
                    <a:pt x="105" y="241"/>
                  </a:cubicBezTo>
                  <a:cubicBezTo>
                    <a:pt x="105" y="204"/>
                    <a:pt x="105" y="204"/>
                    <a:pt x="105" y="204"/>
                  </a:cubicBezTo>
                  <a:cubicBezTo>
                    <a:pt x="112" y="216"/>
                    <a:pt x="112" y="216"/>
                    <a:pt x="112" y="216"/>
                  </a:cubicBezTo>
                  <a:lnTo>
                    <a:pt x="124" y="209"/>
                  </a:lnTo>
                  <a:close/>
                  <a:moveTo>
                    <a:pt x="105" y="318"/>
                  </a:moveTo>
                  <a:cubicBezTo>
                    <a:pt x="94" y="325"/>
                    <a:pt x="94" y="325"/>
                    <a:pt x="94" y="325"/>
                  </a:cubicBezTo>
                  <a:cubicBezTo>
                    <a:pt x="91" y="320"/>
                    <a:pt x="91" y="320"/>
                    <a:pt x="91" y="320"/>
                  </a:cubicBezTo>
                  <a:cubicBezTo>
                    <a:pt x="91" y="266"/>
                    <a:pt x="91" y="266"/>
                    <a:pt x="91" y="266"/>
                  </a:cubicBezTo>
                  <a:cubicBezTo>
                    <a:pt x="105" y="257"/>
                    <a:pt x="105" y="257"/>
                    <a:pt x="105" y="257"/>
                  </a:cubicBezTo>
                  <a:cubicBezTo>
                    <a:pt x="105" y="278"/>
                    <a:pt x="105" y="278"/>
                    <a:pt x="105" y="278"/>
                  </a:cubicBezTo>
                  <a:cubicBezTo>
                    <a:pt x="95" y="284"/>
                    <a:pt x="95" y="284"/>
                    <a:pt x="95" y="284"/>
                  </a:cubicBezTo>
                  <a:cubicBezTo>
                    <a:pt x="97" y="288"/>
                    <a:pt x="100" y="292"/>
                    <a:pt x="102" y="296"/>
                  </a:cubicBezTo>
                  <a:cubicBezTo>
                    <a:pt x="105" y="294"/>
                    <a:pt x="105" y="294"/>
                    <a:pt x="105" y="294"/>
                  </a:cubicBezTo>
                  <a:cubicBezTo>
                    <a:pt x="105" y="318"/>
                    <a:pt x="105" y="318"/>
                    <a:pt x="105" y="318"/>
                  </a:cubicBezTo>
                  <a:close/>
                  <a:moveTo>
                    <a:pt x="91" y="115"/>
                  </a:moveTo>
                  <a:cubicBezTo>
                    <a:pt x="105" y="106"/>
                    <a:pt x="105" y="106"/>
                    <a:pt x="105" y="106"/>
                  </a:cubicBezTo>
                  <a:cubicBezTo>
                    <a:pt x="105" y="136"/>
                    <a:pt x="105" y="136"/>
                    <a:pt x="105" y="136"/>
                  </a:cubicBezTo>
                  <a:cubicBezTo>
                    <a:pt x="102" y="131"/>
                    <a:pt x="102" y="131"/>
                    <a:pt x="102" y="131"/>
                  </a:cubicBezTo>
                  <a:cubicBezTo>
                    <a:pt x="91" y="138"/>
                    <a:pt x="91" y="138"/>
                    <a:pt x="91" y="138"/>
                  </a:cubicBezTo>
                  <a:cubicBezTo>
                    <a:pt x="91" y="115"/>
                    <a:pt x="91" y="115"/>
                    <a:pt x="91" y="115"/>
                  </a:cubicBezTo>
                  <a:close/>
                  <a:moveTo>
                    <a:pt x="105" y="146"/>
                  </a:moveTo>
                  <a:cubicBezTo>
                    <a:pt x="105" y="203"/>
                    <a:pt x="105" y="203"/>
                    <a:pt x="105" y="203"/>
                  </a:cubicBezTo>
                  <a:cubicBezTo>
                    <a:pt x="105" y="204"/>
                    <a:pt x="105" y="204"/>
                    <a:pt x="105" y="204"/>
                  </a:cubicBezTo>
                  <a:cubicBezTo>
                    <a:pt x="105" y="204"/>
                    <a:pt x="105" y="204"/>
                    <a:pt x="105" y="204"/>
                  </a:cubicBezTo>
                  <a:cubicBezTo>
                    <a:pt x="105" y="241"/>
                    <a:pt x="105" y="241"/>
                    <a:pt x="105" y="241"/>
                  </a:cubicBezTo>
                  <a:cubicBezTo>
                    <a:pt x="91" y="249"/>
                    <a:pt x="91" y="249"/>
                    <a:pt x="91" y="249"/>
                  </a:cubicBezTo>
                  <a:cubicBezTo>
                    <a:pt x="91" y="229"/>
                    <a:pt x="91" y="229"/>
                    <a:pt x="91" y="229"/>
                  </a:cubicBezTo>
                  <a:cubicBezTo>
                    <a:pt x="99" y="224"/>
                    <a:pt x="99" y="224"/>
                    <a:pt x="99" y="224"/>
                  </a:cubicBezTo>
                  <a:cubicBezTo>
                    <a:pt x="97" y="220"/>
                    <a:pt x="94" y="215"/>
                    <a:pt x="92" y="211"/>
                  </a:cubicBezTo>
                  <a:cubicBezTo>
                    <a:pt x="91" y="212"/>
                    <a:pt x="91" y="212"/>
                    <a:pt x="91" y="212"/>
                  </a:cubicBezTo>
                  <a:cubicBezTo>
                    <a:pt x="91" y="155"/>
                    <a:pt x="91" y="155"/>
                    <a:pt x="91" y="155"/>
                  </a:cubicBezTo>
                  <a:lnTo>
                    <a:pt x="105" y="146"/>
                  </a:lnTo>
                  <a:close/>
                  <a:moveTo>
                    <a:pt x="91" y="320"/>
                  </a:moveTo>
                  <a:cubicBezTo>
                    <a:pt x="48" y="249"/>
                    <a:pt x="48" y="249"/>
                    <a:pt x="48" y="249"/>
                  </a:cubicBezTo>
                  <a:cubicBezTo>
                    <a:pt x="48" y="181"/>
                    <a:pt x="48" y="181"/>
                    <a:pt x="48" y="181"/>
                  </a:cubicBezTo>
                  <a:cubicBezTo>
                    <a:pt x="66" y="169"/>
                    <a:pt x="66" y="169"/>
                    <a:pt x="66" y="169"/>
                  </a:cubicBezTo>
                  <a:cubicBezTo>
                    <a:pt x="64" y="165"/>
                    <a:pt x="61" y="161"/>
                    <a:pt x="59" y="157"/>
                  </a:cubicBezTo>
                  <a:cubicBezTo>
                    <a:pt x="48" y="164"/>
                    <a:pt x="48" y="164"/>
                    <a:pt x="48" y="164"/>
                  </a:cubicBezTo>
                  <a:cubicBezTo>
                    <a:pt x="48" y="141"/>
                    <a:pt x="48" y="141"/>
                    <a:pt x="48" y="141"/>
                  </a:cubicBezTo>
                  <a:cubicBezTo>
                    <a:pt x="91" y="115"/>
                    <a:pt x="91" y="115"/>
                    <a:pt x="91" y="115"/>
                  </a:cubicBezTo>
                  <a:cubicBezTo>
                    <a:pt x="91" y="138"/>
                    <a:pt x="91" y="138"/>
                    <a:pt x="91" y="138"/>
                  </a:cubicBezTo>
                  <a:cubicBezTo>
                    <a:pt x="72" y="149"/>
                    <a:pt x="72" y="149"/>
                    <a:pt x="72" y="149"/>
                  </a:cubicBezTo>
                  <a:cubicBezTo>
                    <a:pt x="75" y="153"/>
                    <a:pt x="77" y="157"/>
                    <a:pt x="80" y="161"/>
                  </a:cubicBezTo>
                  <a:cubicBezTo>
                    <a:pt x="91" y="155"/>
                    <a:pt x="91" y="155"/>
                    <a:pt x="91" y="155"/>
                  </a:cubicBezTo>
                  <a:cubicBezTo>
                    <a:pt x="91" y="212"/>
                    <a:pt x="91" y="212"/>
                    <a:pt x="91" y="212"/>
                  </a:cubicBezTo>
                  <a:cubicBezTo>
                    <a:pt x="62" y="230"/>
                    <a:pt x="62" y="230"/>
                    <a:pt x="62" y="230"/>
                  </a:cubicBezTo>
                  <a:cubicBezTo>
                    <a:pt x="64" y="234"/>
                    <a:pt x="67" y="238"/>
                    <a:pt x="69" y="242"/>
                  </a:cubicBezTo>
                  <a:cubicBezTo>
                    <a:pt x="91" y="229"/>
                    <a:pt x="91" y="229"/>
                    <a:pt x="91" y="229"/>
                  </a:cubicBezTo>
                  <a:cubicBezTo>
                    <a:pt x="91" y="249"/>
                    <a:pt x="91" y="249"/>
                    <a:pt x="91" y="249"/>
                  </a:cubicBezTo>
                  <a:cubicBezTo>
                    <a:pt x="78" y="257"/>
                    <a:pt x="78" y="257"/>
                    <a:pt x="78" y="257"/>
                  </a:cubicBezTo>
                  <a:cubicBezTo>
                    <a:pt x="81" y="261"/>
                    <a:pt x="83" y="265"/>
                    <a:pt x="86" y="269"/>
                  </a:cubicBezTo>
                  <a:cubicBezTo>
                    <a:pt x="91" y="266"/>
                    <a:pt x="91" y="266"/>
                    <a:pt x="91" y="266"/>
                  </a:cubicBezTo>
                  <a:lnTo>
                    <a:pt x="91" y="320"/>
                  </a:lnTo>
                  <a:close/>
                  <a:moveTo>
                    <a:pt x="48" y="249"/>
                  </a:moveTo>
                  <a:cubicBezTo>
                    <a:pt x="0" y="169"/>
                    <a:pt x="0" y="169"/>
                    <a:pt x="0" y="169"/>
                  </a:cubicBezTo>
                  <a:cubicBezTo>
                    <a:pt x="48" y="141"/>
                    <a:pt x="48" y="141"/>
                    <a:pt x="48" y="141"/>
                  </a:cubicBezTo>
                  <a:cubicBezTo>
                    <a:pt x="48" y="164"/>
                    <a:pt x="48" y="164"/>
                    <a:pt x="48" y="164"/>
                  </a:cubicBezTo>
                  <a:cubicBezTo>
                    <a:pt x="29" y="175"/>
                    <a:pt x="29" y="175"/>
                    <a:pt x="29" y="175"/>
                  </a:cubicBezTo>
                  <a:cubicBezTo>
                    <a:pt x="31" y="179"/>
                    <a:pt x="34" y="183"/>
                    <a:pt x="36" y="187"/>
                  </a:cubicBezTo>
                  <a:cubicBezTo>
                    <a:pt x="48" y="181"/>
                    <a:pt x="48" y="181"/>
                    <a:pt x="48" y="181"/>
                  </a:cubicBezTo>
                  <a:lnTo>
                    <a:pt x="48" y="249"/>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6" name="i$1îḍê">
              <a:extLst>
                <a:ext uri="{FF2B5EF4-FFF2-40B4-BE49-F238E27FC236}">
                  <a16:creationId xmlns:a16="http://schemas.microsoft.com/office/drawing/2014/main" id="{F952D3B4-C35F-40E5-97CF-9B6D09E072E5}"/>
                </a:ext>
              </a:extLst>
            </p:cNvPr>
            <p:cNvSpPr/>
            <p:nvPr/>
          </p:nvSpPr>
          <p:spPr bwMode="auto">
            <a:xfrm flipH="1">
              <a:off x="4153465" y="2419713"/>
              <a:ext cx="508755" cy="530990"/>
            </a:xfrm>
            <a:custGeom>
              <a:avLst/>
              <a:gdLst>
                <a:gd name="T0" fmla="*/ 263 w 304"/>
                <a:gd name="T1" fmla="*/ 163 h 325"/>
                <a:gd name="T2" fmla="*/ 250 w 304"/>
                <a:gd name="T3" fmla="*/ 236 h 325"/>
                <a:gd name="T4" fmla="*/ 239 w 304"/>
                <a:gd name="T5" fmla="*/ 129 h 325"/>
                <a:gd name="T6" fmla="*/ 250 w 304"/>
                <a:gd name="T7" fmla="*/ 204 h 325"/>
                <a:gd name="T8" fmla="*/ 237 w 304"/>
                <a:gd name="T9" fmla="*/ 160 h 325"/>
                <a:gd name="T10" fmla="*/ 239 w 304"/>
                <a:gd name="T11" fmla="*/ 266 h 325"/>
                <a:gd name="T12" fmla="*/ 224 w 304"/>
                <a:gd name="T13" fmla="*/ 142 h 325"/>
                <a:gd name="T14" fmla="*/ 223 w 304"/>
                <a:gd name="T15" fmla="*/ 220 h 325"/>
                <a:gd name="T16" fmla="*/ 213 w 304"/>
                <a:gd name="T17" fmla="*/ 126 h 325"/>
                <a:gd name="T18" fmla="*/ 215 w 304"/>
                <a:gd name="T19" fmla="*/ 261 h 325"/>
                <a:gd name="T20" fmla="*/ 215 w 304"/>
                <a:gd name="T21" fmla="*/ 154 h 325"/>
                <a:gd name="T22" fmla="*/ 198 w 304"/>
                <a:gd name="T23" fmla="*/ 270 h 325"/>
                <a:gd name="T24" fmla="*/ 198 w 304"/>
                <a:gd name="T25" fmla="*/ 121 h 325"/>
                <a:gd name="T26" fmla="*/ 191 w 304"/>
                <a:gd name="T27" fmla="*/ 61 h 325"/>
                <a:gd name="T28" fmla="*/ 198 w 304"/>
                <a:gd name="T29" fmla="*/ 121 h 325"/>
                <a:gd name="T30" fmla="*/ 192 w 304"/>
                <a:gd name="T31" fmla="*/ 176 h 325"/>
                <a:gd name="T32" fmla="*/ 178 w 304"/>
                <a:gd name="T33" fmla="*/ 42 h 325"/>
                <a:gd name="T34" fmla="*/ 178 w 304"/>
                <a:gd name="T35" fmla="*/ 309 h 325"/>
                <a:gd name="T36" fmla="*/ 180 w 304"/>
                <a:gd name="T37" fmla="*/ 134 h 325"/>
                <a:gd name="T38" fmla="*/ 191 w 304"/>
                <a:gd name="T39" fmla="*/ 227 h 325"/>
                <a:gd name="T40" fmla="*/ 176 w 304"/>
                <a:gd name="T41" fmla="*/ 73 h 325"/>
                <a:gd name="T42" fmla="*/ 178 w 304"/>
                <a:gd name="T43" fmla="*/ 102 h 325"/>
                <a:gd name="T44" fmla="*/ 178 w 304"/>
                <a:gd name="T45" fmla="*/ 157 h 325"/>
                <a:gd name="T46" fmla="*/ 176 w 304"/>
                <a:gd name="T47" fmla="*/ 253 h 325"/>
                <a:gd name="T48" fmla="*/ 167 w 304"/>
                <a:gd name="T49" fmla="*/ 193 h 325"/>
                <a:gd name="T50" fmla="*/ 176 w 304"/>
                <a:gd name="T51" fmla="*/ 129 h 325"/>
                <a:gd name="T52" fmla="*/ 167 w 304"/>
                <a:gd name="T53" fmla="*/ 172 h 325"/>
                <a:gd name="T54" fmla="*/ 158 w 304"/>
                <a:gd name="T55" fmla="*/ 47 h 325"/>
                <a:gd name="T56" fmla="*/ 167 w 304"/>
                <a:gd name="T57" fmla="*/ 86 h 325"/>
                <a:gd name="T58" fmla="*/ 154 w 304"/>
                <a:gd name="T59" fmla="*/ 68 h 325"/>
                <a:gd name="T60" fmla="*/ 151 w 304"/>
                <a:gd name="T61" fmla="*/ 204 h 325"/>
                <a:gd name="T62" fmla="*/ 150 w 304"/>
                <a:gd name="T63" fmla="*/ 92 h 325"/>
                <a:gd name="T64" fmla="*/ 154 w 304"/>
                <a:gd name="T65" fmla="*/ 100 h 325"/>
                <a:gd name="T66" fmla="*/ 149 w 304"/>
                <a:gd name="T67" fmla="*/ 257 h 325"/>
                <a:gd name="T68" fmla="*/ 150 w 304"/>
                <a:gd name="T69" fmla="*/ 53 h 325"/>
                <a:gd name="T70" fmla="*/ 150 w 304"/>
                <a:gd name="T71" fmla="*/ 172 h 325"/>
                <a:gd name="T72" fmla="*/ 144 w 304"/>
                <a:gd name="T73" fmla="*/ 52 h 325"/>
                <a:gd name="T74" fmla="*/ 144 w 304"/>
                <a:gd name="T75" fmla="*/ 308 h 325"/>
                <a:gd name="T76" fmla="*/ 144 w 304"/>
                <a:gd name="T77" fmla="*/ 159 h 325"/>
                <a:gd name="T78" fmla="*/ 128 w 304"/>
                <a:gd name="T79" fmla="*/ 236 h 325"/>
                <a:gd name="T80" fmla="*/ 124 w 304"/>
                <a:gd name="T81" fmla="*/ 110 h 325"/>
                <a:gd name="T82" fmla="*/ 128 w 304"/>
                <a:gd name="T83" fmla="*/ 141 h 325"/>
                <a:gd name="T84" fmla="*/ 124 w 304"/>
                <a:gd name="T85" fmla="*/ 221 h 325"/>
                <a:gd name="T86" fmla="*/ 115 w 304"/>
                <a:gd name="T87" fmla="*/ 229 h 325"/>
                <a:gd name="T88" fmla="*/ 124 w 304"/>
                <a:gd name="T89" fmla="*/ 221 h 325"/>
                <a:gd name="T90" fmla="*/ 102 w 304"/>
                <a:gd name="T91" fmla="*/ 86 h 325"/>
                <a:gd name="T92" fmla="*/ 115 w 304"/>
                <a:gd name="T93" fmla="*/ 123 h 325"/>
                <a:gd name="T94" fmla="*/ 102 w 304"/>
                <a:gd name="T95" fmla="*/ 32 h 325"/>
                <a:gd name="T96" fmla="*/ 92 w 304"/>
                <a:gd name="T97" fmla="*/ 144 h 325"/>
                <a:gd name="T98" fmla="*/ 102 w 304"/>
                <a:gd name="T99" fmla="*/ 134 h 325"/>
                <a:gd name="T100" fmla="*/ 78 w 304"/>
                <a:gd name="T101" fmla="*/ 49 h 325"/>
                <a:gd name="T102" fmla="*/ 78 w 304"/>
                <a:gd name="T103" fmla="*/ 118 h 325"/>
                <a:gd name="T104" fmla="*/ 78 w 304"/>
                <a:gd name="T105" fmla="*/ 126 h 325"/>
                <a:gd name="T106" fmla="*/ 78 w 304"/>
                <a:gd name="T107" fmla="*/ 215 h 325"/>
                <a:gd name="T108" fmla="*/ 73 w 304"/>
                <a:gd name="T109" fmla="*/ 173 h 325"/>
                <a:gd name="T110" fmla="*/ 52 w 304"/>
                <a:gd name="T111" fmla="*/ 178 h 325"/>
                <a:gd name="T112" fmla="*/ 51 w 304"/>
                <a:gd name="T113" fmla="*/ 87 h 325"/>
                <a:gd name="T114" fmla="*/ 52 w 304"/>
                <a:gd name="T115" fmla="*/ 17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25">
                  <a:moveTo>
                    <a:pt x="263" y="163"/>
                  </a:moveTo>
                  <a:cubicBezTo>
                    <a:pt x="304" y="221"/>
                    <a:pt x="304" y="221"/>
                    <a:pt x="304" y="221"/>
                  </a:cubicBezTo>
                  <a:cubicBezTo>
                    <a:pt x="263" y="250"/>
                    <a:pt x="263" y="250"/>
                    <a:pt x="263" y="250"/>
                  </a:cubicBezTo>
                  <a:cubicBezTo>
                    <a:pt x="263" y="222"/>
                    <a:pt x="263" y="222"/>
                    <a:pt x="263" y="222"/>
                  </a:cubicBezTo>
                  <a:cubicBezTo>
                    <a:pt x="265" y="226"/>
                    <a:pt x="265" y="226"/>
                    <a:pt x="265" y="226"/>
                  </a:cubicBezTo>
                  <a:cubicBezTo>
                    <a:pt x="269" y="223"/>
                    <a:pt x="273" y="220"/>
                    <a:pt x="277" y="217"/>
                  </a:cubicBezTo>
                  <a:cubicBezTo>
                    <a:pt x="263" y="197"/>
                    <a:pt x="263" y="197"/>
                    <a:pt x="263" y="197"/>
                  </a:cubicBezTo>
                  <a:lnTo>
                    <a:pt x="263" y="163"/>
                  </a:lnTo>
                  <a:close/>
                  <a:moveTo>
                    <a:pt x="250" y="144"/>
                  </a:moveTo>
                  <a:cubicBezTo>
                    <a:pt x="263" y="163"/>
                    <a:pt x="263" y="163"/>
                    <a:pt x="263" y="163"/>
                  </a:cubicBezTo>
                  <a:cubicBezTo>
                    <a:pt x="263" y="197"/>
                    <a:pt x="263" y="197"/>
                    <a:pt x="263" y="197"/>
                  </a:cubicBezTo>
                  <a:cubicBezTo>
                    <a:pt x="261" y="194"/>
                    <a:pt x="261" y="194"/>
                    <a:pt x="261" y="194"/>
                  </a:cubicBezTo>
                  <a:cubicBezTo>
                    <a:pt x="250" y="201"/>
                    <a:pt x="250" y="201"/>
                    <a:pt x="250" y="201"/>
                  </a:cubicBezTo>
                  <a:cubicBezTo>
                    <a:pt x="250" y="186"/>
                    <a:pt x="250" y="186"/>
                    <a:pt x="250" y="186"/>
                  </a:cubicBezTo>
                  <a:cubicBezTo>
                    <a:pt x="253" y="183"/>
                    <a:pt x="253" y="183"/>
                    <a:pt x="253" y="183"/>
                  </a:cubicBezTo>
                  <a:cubicBezTo>
                    <a:pt x="250" y="179"/>
                    <a:pt x="250" y="179"/>
                    <a:pt x="250" y="179"/>
                  </a:cubicBezTo>
                  <a:cubicBezTo>
                    <a:pt x="250" y="144"/>
                    <a:pt x="250" y="144"/>
                    <a:pt x="250" y="144"/>
                  </a:cubicBezTo>
                  <a:close/>
                  <a:moveTo>
                    <a:pt x="263" y="250"/>
                  </a:moveTo>
                  <a:cubicBezTo>
                    <a:pt x="250" y="259"/>
                    <a:pt x="250" y="259"/>
                    <a:pt x="250" y="259"/>
                  </a:cubicBezTo>
                  <a:cubicBezTo>
                    <a:pt x="250" y="236"/>
                    <a:pt x="250" y="236"/>
                    <a:pt x="250" y="236"/>
                  </a:cubicBezTo>
                  <a:cubicBezTo>
                    <a:pt x="251" y="236"/>
                    <a:pt x="251" y="236"/>
                    <a:pt x="251" y="236"/>
                  </a:cubicBezTo>
                  <a:cubicBezTo>
                    <a:pt x="250" y="234"/>
                    <a:pt x="250" y="234"/>
                    <a:pt x="250" y="234"/>
                  </a:cubicBezTo>
                  <a:cubicBezTo>
                    <a:pt x="250" y="204"/>
                    <a:pt x="250" y="204"/>
                    <a:pt x="250" y="204"/>
                  </a:cubicBezTo>
                  <a:cubicBezTo>
                    <a:pt x="263" y="222"/>
                    <a:pt x="263" y="222"/>
                    <a:pt x="263" y="222"/>
                  </a:cubicBezTo>
                  <a:lnTo>
                    <a:pt x="263" y="250"/>
                  </a:lnTo>
                  <a:close/>
                  <a:moveTo>
                    <a:pt x="239" y="129"/>
                  </a:moveTo>
                  <a:cubicBezTo>
                    <a:pt x="250" y="144"/>
                    <a:pt x="250" y="144"/>
                    <a:pt x="250" y="144"/>
                  </a:cubicBezTo>
                  <a:cubicBezTo>
                    <a:pt x="250" y="179"/>
                    <a:pt x="250" y="179"/>
                    <a:pt x="250" y="179"/>
                  </a:cubicBezTo>
                  <a:cubicBezTo>
                    <a:pt x="239" y="163"/>
                    <a:pt x="239" y="163"/>
                    <a:pt x="239" y="163"/>
                  </a:cubicBezTo>
                  <a:cubicBezTo>
                    <a:pt x="239" y="129"/>
                    <a:pt x="239" y="129"/>
                    <a:pt x="239" y="129"/>
                  </a:cubicBezTo>
                  <a:close/>
                  <a:moveTo>
                    <a:pt x="250" y="259"/>
                  </a:moveTo>
                  <a:cubicBezTo>
                    <a:pt x="239" y="266"/>
                    <a:pt x="239" y="266"/>
                    <a:pt x="239" y="266"/>
                  </a:cubicBezTo>
                  <a:cubicBezTo>
                    <a:pt x="239" y="243"/>
                    <a:pt x="239" y="243"/>
                    <a:pt x="239" y="243"/>
                  </a:cubicBezTo>
                  <a:cubicBezTo>
                    <a:pt x="240" y="244"/>
                    <a:pt x="240" y="244"/>
                    <a:pt x="240" y="244"/>
                  </a:cubicBezTo>
                  <a:cubicBezTo>
                    <a:pt x="250" y="236"/>
                    <a:pt x="250" y="236"/>
                    <a:pt x="250" y="236"/>
                  </a:cubicBezTo>
                  <a:cubicBezTo>
                    <a:pt x="250" y="259"/>
                    <a:pt x="250" y="259"/>
                    <a:pt x="250" y="259"/>
                  </a:cubicBezTo>
                  <a:close/>
                  <a:moveTo>
                    <a:pt x="250" y="186"/>
                  </a:moveTo>
                  <a:cubicBezTo>
                    <a:pt x="250" y="201"/>
                    <a:pt x="250" y="201"/>
                    <a:pt x="250" y="201"/>
                  </a:cubicBezTo>
                  <a:cubicBezTo>
                    <a:pt x="249" y="202"/>
                    <a:pt x="249" y="202"/>
                    <a:pt x="249" y="202"/>
                  </a:cubicBezTo>
                  <a:cubicBezTo>
                    <a:pt x="250" y="204"/>
                    <a:pt x="250" y="204"/>
                    <a:pt x="250" y="204"/>
                  </a:cubicBezTo>
                  <a:cubicBezTo>
                    <a:pt x="250" y="234"/>
                    <a:pt x="250" y="234"/>
                    <a:pt x="250" y="234"/>
                  </a:cubicBezTo>
                  <a:cubicBezTo>
                    <a:pt x="239" y="218"/>
                    <a:pt x="239" y="218"/>
                    <a:pt x="239" y="218"/>
                  </a:cubicBezTo>
                  <a:cubicBezTo>
                    <a:pt x="239" y="188"/>
                    <a:pt x="239" y="188"/>
                    <a:pt x="239" y="188"/>
                  </a:cubicBezTo>
                  <a:cubicBezTo>
                    <a:pt x="242" y="192"/>
                    <a:pt x="242" y="192"/>
                    <a:pt x="242" y="192"/>
                  </a:cubicBezTo>
                  <a:lnTo>
                    <a:pt x="250" y="186"/>
                  </a:lnTo>
                  <a:close/>
                  <a:moveTo>
                    <a:pt x="224" y="107"/>
                  </a:moveTo>
                  <a:cubicBezTo>
                    <a:pt x="226" y="110"/>
                    <a:pt x="226" y="110"/>
                    <a:pt x="226" y="110"/>
                  </a:cubicBezTo>
                  <a:cubicBezTo>
                    <a:pt x="239" y="129"/>
                    <a:pt x="239" y="129"/>
                    <a:pt x="239" y="129"/>
                  </a:cubicBezTo>
                  <a:cubicBezTo>
                    <a:pt x="239" y="163"/>
                    <a:pt x="239" y="163"/>
                    <a:pt x="239" y="163"/>
                  </a:cubicBezTo>
                  <a:cubicBezTo>
                    <a:pt x="237" y="160"/>
                    <a:pt x="237" y="160"/>
                    <a:pt x="237" y="160"/>
                  </a:cubicBezTo>
                  <a:cubicBezTo>
                    <a:pt x="233" y="162"/>
                    <a:pt x="229" y="165"/>
                    <a:pt x="225" y="168"/>
                  </a:cubicBezTo>
                  <a:cubicBezTo>
                    <a:pt x="239" y="188"/>
                    <a:pt x="239" y="188"/>
                    <a:pt x="239" y="188"/>
                  </a:cubicBezTo>
                  <a:cubicBezTo>
                    <a:pt x="239" y="218"/>
                    <a:pt x="239" y="218"/>
                    <a:pt x="239" y="218"/>
                  </a:cubicBezTo>
                  <a:cubicBezTo>
                    <a:pt x="235" y="212"/>
                    <a:pt x="235" y="212"/>
                    <a:pt x="235" y="212"/>
                  </a:cubicBezTo>
                  <a:cubicBezTo>
                    <a:pt x="224" y="219"/>
                    <a:pt x="224" y="219"/>
                    <a:pt x="224" y="219"/>
                  </a:cubicBezTo>
                  <a:cubicBezTo>
                    <a:pt x="224" y="153"/>
                    <a:pt x="224" y="153"/>
                    <a:pt x="224" y="153"/>
                  </a:cubicBezTo>
                  <a:cubicBezTo>
                    <a:pt x="229" y="149"/>
                    <a:pt x="229" y="149"/>
                    <a:pt x="229" y="149"/>
                  </a:cubicBezTo>
                  <a:cubicBezTo>
                    <a:pt x="224" y="142"/>
                    <a:pt x="224" y="142"/>
                    <a:pt x="224" y="142"/>
                  </a:cubicBezTo>
                  <a:cubicBezTo>
                    <a:pt x="224" y="107"/>
                    <a:pt x="224" y="107"/>
                    <a:pt x="224" y="107"/>
                  </a:cubicBezTo>
                  <a:close/>
                  <a:moveTo>
                    <a:pt x="239" y="266"/>
                  </a:moveTo>
                  <a:cubicBezTo>
                    <a:pt x="224" y="277"/>
                    <a:pt x="224" y="277"/>
                    <a:pt x="224" y="277"/>
                  </a:cubicBezTo>
                  <a:cubicBezTo>
                    <a:pt x="224" y="255"/>
                    <a:pt x="224" y="255"/>
                    <a:pt x="224" y="255"/>
                  </a:cubicBezTo>
                  <a:cubicBezTo>
                    <a:pt x="225" y="254"/>
                    <a:pt x="225" y="254"/>
                    <a:pt x="225" y="254"/>
                  </a:cubicBezTo>
                  <a:cubicBezTo>
                    <a:pt x="224" y="252"/>
                    <a:pt x="224" y="252"/>
                    <a:pt x="224" y="252"/>
                  </a:cubicBezTo>
                  <a:cubicBezTo>
                    <a:pt x="224" y="222"/>
                    <a:pt x="224" y="222"/>
                    <a:pt x="224" y="222"/>
                  </a:cubicBezTo>
                  <a:cubicBezTo>
                    <a:pt x="239" y="243"/>
                    <a:pt x="239" y="243"/>
                    <a:pt x="239" y="243"/>
                  </a:cubicBezTo>
                  <a:lnTo>
                    <a:pt x="239" y="266"/>
                  </a:lnTo>
                  <a:close/>
                  <a:moveTo>
                    <a:pt x="215" y="95"/>
                  </a:moveTo>
                  <a:cubicBezTo>
                    <a:pt x="224" y="107"/>
                    <a:pt x="224" y="107"/>
                    <a:pt x="224" y="107"/>
                  </a:cubicBezTo>
                  <a:cubicBezTo>
                    <a:pt x="224" y="142"/>
                    <a:pt x="224" y="142"/>
                    <a:pt x="224" y="142"/>
                  </a:cubicBezTo>
                  <a:cubicBezTo>
                    <a:pt x="215" y="129"/>
                    <a:pt x="215" y="129"/>
                    <a:pt x="215" y="129"/>
                  </a:cubicBezTo>
                  <a:cubicBezTo>
                    <a:pt x="215" y="95"/>
                    <a:pt x="215" y="95"/>
                    <a:pt x="215" y="95"/>
                  </a:cubicBezTo>
                  <a:close/>
                  <a:moveTo>
                    <a:pt x="224" y="277"/>
                  </a:moveTo>
                  <a:cubicBezTo>
                    <a:pt x="215" y="283"/>
                    <a:pt x="215" y="283"/>
                    <a:pt x="215" y="283"/>
                  </a:cubicBezTo>
                  <a:cubicBezTo>
                    <a:pt x="215" y="261"/>
                    <a:pt x="215" y="261"/>
                    <a:pt x="215" y="261"/>
                  </a:cubicBezTo>
                  <a:cubicBezTo>
                    <a:pt x="224" y="255"/>
                    <a:pt x="224" y="255"/>
                    <a:pt x="224" y="255"/>
                  </a:cubicBezTo>
                  <a:cubicBezTo>
                    <a:pt x="224" y="277"/>
                    <a:pt x="224" y="277"/>
                    <a:pt x="224" y="277"/>
                  </a:cubicBezTo>
                  <a:close/>
                  <a:moveTo>
                    <a:pt x="224" y="153"/>
                  </a:moveTo>
                  <a:cubicBezTo>
                    <a:pt x="224" y="219"/>
                    <a:pt x="224" y="219"/>
                    <a:pt x="224" y="219"/>
                  </a:cubicBezTo>
                  <a:cubicBezTo>
                    <a:pt x="223" y="220"/>
                    <a:pt x="223" y="220"/>
                    <a:pt x="223" y="220"/>
                  </a:cubicBezTo>
                  <a:cubicBezTo>
                    <a:pt x="224" y="222"/>
                    <a:pt x="224" y="222"/>
                    <a:pt x="224" y="222"/>
                  </a:cubicBezTo>
                  <a:cubicBezTo>
                    <a:pt x="224" y="252"/>
                    <a:pt x="224" y="252"/>
                    <a:pt x="224" y="252"/>
                  </a:cubicBezTo>
                  <a:cubicBezTo>
                    <a:pt x="215" y="240"/>
                    <a:pt x="215" y="240"/>
                    <a:pt x="215" y="240"/>
                  </a:cubicBezTo>
                  <a:cubicBezTo>
                    <a:pt x="215" y="154"/>
                    <a:pt x="215" y="154"/>
                    <a:pt x="215" y="154"/>
                  </a:cubicBezTo>
                  <a:cubicBezTo>
                    <a:pt x="218" y="158"/>
                    <a:pt x="218" y="158"/>
                    <a:pt x="218" y="158"/>
                  </a:cubicBezTo>
                  <a:lnTo>
                    <a:pt x="224" y="153"/>
                  </a:lnTo>
                  <a:close/>
                  <a:moveTo>
                    <a:pt x="202" y="76"/>
                  </a:moveTo>
                  <a:cubicBezTo>
                    <a:pt x="215" y="95"/>
                    <a:pt x="215" y="95"/>
                    <a:pt x="215" y="95"/>
                  </a:cubicBezTo>
                  <a:cubicBezTo>
                    <a:pt x="215" y="129"/>
                    <a:pt x="215" y="129"/>
                    <a:pt x="215" y="129"/>
                  </a:cubicBezTo>
                  <a:cubicBezTo>
                    <a:pt x="213" y="126"/>
                    <a:pt x="213" y="126"/>
                    <a:pt x="213" y="126"/>
                  </a:cubicBezTo>
                  <a:cubicBezTo>
                    <a:pt x="202" y="133"/>
                    <a:pt x="202" y="133"/>
                    <a:pt x="202" y="133"/>
                  </a:cubicBezTo>
                  <a:cubicBezTo>
                    <a:pt x="202" y="118"/>
                    <a:pt x="202" y="118"/>
                    <a:pt x="202" y="118"/>
                  </a:cubicBezTo>
                  <a:cubicBezTo>
                    <a:pt x="206" y="115"/>
                    <a:pt x="206" y="115"/>
                    <a:pt x="206" y="115"/>
                  </a:cubicBezTo>
                  <a:cubicBezTo>
                    <a:pt x="202" y="111"/>
                    <a:pt x="202" y="111"/>
                    <a:pt x="202" y="111"/>
                  </a:cubicBezTo>
                  <a:cubicBezTo>
                    <a:pt x="202" y="76"/>
                    <a:pt x="202" y="76"/>
                    <a:pt x="202" y="76"/>
                  </a:cubicBezTo>
                  <a:close/>
                  <a:moveTo>
                    <a:pt x="215" y="283"/>
                  </a:moveTo>
                  <a:cubicBezTo>
                    <a:pt x="202" y="292"/>
                    <a:pt x="202" y="292"/>
                    <a:pt x="202" y="292"/>
                  </a:cubicBezTo>
                  <a:cubicBezTo>
                    <a:pt x="202" y="246"/>
                    <a:pt x="202" y="246"/>
                    <a:pt x="202" y="246"/>
                  </a:cubicBezTo>
                  <a:cubicBezTo>
                    <a:pt x="213" y="262"/>
                    <a:pt x="213" y="262"/>
                    <a:pt x="213" y="262"/>
                  </a:cubicBezTo>
                  <a:cubicBezTo>
                    <a:pt x="215" y="261"/>
                    <a:pt x="215" y="261"/>
                    <a:pt x="215" y="261"/>
                  </a:cubicBezTo>
                  <a:cubicBezTo>
                    <a:pt x="215" y="283"/>
                    <a:pt x="215" y="283"/>
                    <a:pt x="215" y="283"/>
                  </a:cubicBezTo>
                  <a:close/>
                  <a:moveTo>
                    <a:pt x="215" y="154"/>
                  </a:moveTo>
                  <a:cubicBezTo>
                    <a:pt x="215" y="240"/>
                    <a:pt x="215" y="240"/>
                    <a:pt x="215" y="240"/>
                  </a:cubicBezTo>
                  <a:cubicBezTo>
                    <a:pt x="209" y="230"/>
                    <a:pt x="209" y="230"/>
                    <a:pt x="209" y="230"/>
                  </a:cubicBezTo>
                  <a:cubicBezTo>
                    <a:pt x="202" y="235"/>
                    <a:pt x="202" y="235"/>
                    <a:pt x="202" y="235"/>
                  </a:cubicBezTo>
                  <a:cubicBezTo>
                    <a:pt x="202" y="168"/>
                    <a:pt x="202" y="168"/>
                    <a:pt x="202" y="168"/>
                  </a:cubicBezTo>
                  <a:cubicBezTo>
                    <a:pt x="203" y="168"/>
                    <a:pt x="203" y="168"/>
                    <a:pt x="203" y="168"/>
                  </a:cubicBezTo>
                  <a:cubicBezTo>
                    <a:pt x="202" y="166"/>
                    <a:pt x="202" y="166"/>
                    <a:pt x="202" y="166"/>
                  </a:cubicBezTo>
                  <a:cubicBezTo>
                    <a:pt x="202" y="136"/>
                    <a:pt x="202" y="136"/>
                    <a:pt x="202" y="136"/>
                  </a:cubicBezTo>
                  <a:lnTo>
                    <a:pt x="215" y="154"/>
                  </a:lnTo>
                  <a:close/>
                  <a:moveTo>
                    <a:pt x="198" y="70"/>
                  </a:moveTo>
                  <a:cubicBezTo>
                    <a:pt x="202" y="76"/>
                    <a:pt x="202" y="76"/>
                    <a:pt x="202" y="76"/>
                  </a:cubicBezTo>
                  <a:cubicBezTo>
                    <a:pt x="202" y="111"/>
                    <a:pt x="202" y="111"/>
                    <a:pt x="202" y="111"/>
                  </a:cubicBezTo>
                  <a:cubicBezTo>
                    <a:pt x="198" y="104"/>
                    <a:pt x="198" y="104"/>
                    <a:pt x="198" y="104"/>
                  </a:cubicBezTo>
                  <a:cubicBezTo>
                    <a:pt x="198" y="70"/>
                    <a:pt x="198" y="70"/>
                    <a:pt x="198" y="70"/>
                  </a:cubicBezTo>
                  <a:close/>
                  <a:moveTo>
                    <a:pt x="202" y="292"/>
                  </a:moveTo>
                  <a:cubicBezTo>
                    <a:pt x="198" y="295"/>
                    <a:pt x="198" y="295"/>
                    <a:pt x="198" y="295"/>
                  </a:cubicBezTo>
                  <a:cubicBezTo>
                    <a:pt x="198" y="273"/>
                    <a:pt x="198" y="273"/>
                    <a:pt x="198" y="273"/>
                  </a:cubicBezTo>
                  <a:cubicBezTo>
                    <a:pt x="199" y="272"/>
                    <a:pt x="199" y="272"/>
                    <a:pt x="199" y="272"/>
                  </a:cubicBezTo>
                  <a:cubicBezTo>
                    <a:pt x="198" y="270"/>
                    <a:pt x="198" y="270"/>
                    <a:pt x="198" y="270"/>
                  </a:cubicBezTo>
                  <a:cubicBezTo>
                    <a:pt x="198" y="240"/>
                    <a:pt x="198" y="240"/>
                    <a:pt x="198" y="240"/>
                  </a:cubicBezTo>
                  <a:cubicBezTo>
                    <a:pt x="202" y="246"/>
                    <a:pt x="202" y="246"/>
                    <a:pt x="202" y="246"/>
                  </a:cubicBezTo>
                  <a:cubicBezTo>
                    <a:pt x="202" y="292"/>
                    <a:pt x="202" y="292"/>
                    <a:pt x="202" y="292"/>
                  </a:cubicBezTo>
                  <a:close/>
                  <a:moveTo>
                    <a:pt x="202" y="118"/>
                  </a:moveTo>
                  <a:cubicBezTo>
                    <a:pt x="202" y="133"/>
                    <a:pt x="202" y="133"/>
                    <a:pt x="202" y="133"/>
                  </a:cubicBezTo>
                  <a:cubicBezTo>
                    <a:pt x="201" y="134"/>
                    <a:pt x="201" y="134"/>
                    <a:pt x="201" y="134"/>
                  </a:cubicBezTo>
                  <a:cubicBezTo>
                    <a:pt x="202" y="136"/>
                    <a:pt x="202" y="136"/>
                    <a:pt x="202" y="136"/>
                  </a:cubicBezTo>
                  <a:cubicBezTo>
                    <a:pt x="202" y="166"/>
                    <a:pt x="202" y="166"/>
                    <a:pt x="202" y="166"/>
                  </a:cubicBezTo>
                  <a:cubicBezTo>
                    <a:pt x="198" y="160"/>
                    <a:pt x="198" y="160"/>
                    <a:pt x="198" y="160"/>
                  </a:cubicBezTo>
                  <a:cubicBezTo>
                    <a:pt x="198" y="121"/>
                    <a:pt x="198" y="121"/>
                    <a:pt x="198" y="121"/>
                  </a:cubicBezTo>
                  <a:cubicBezTo>
                    <a:pt x="202" y="118"/>
                    <a:pt x="202" y="118"/>
                    <a:pt x="202" y="118"/>
                  </a:cubicBezTo>
                  <a:close/>
                  <a:moveTo>
                    <a:pt x="202" y="168"/>
                  </a:moveTo>
                  <a:cubicBezTo>
                    <a:pt x="202" y="235"/>
                    <a:pt x="202" y="235"/>
                    <a:pt x="202" y="235"/>
                  </a:cubicBezTo>
                  <a:cubicBezTo>
                    <a:pt x="198" y="238"/>
                    <a:pt x="198" y="238"/>
                    <a:pt x="198" y="238"/>
                  </a:cubicBezTo>
                  <a:cubicBezTo>
                    <a:pt x="198" y="222"/>
                    <a:pt x="198" y="222"/>
                    <a:pt x="198" y="222"/>
                  </a:cubicBezTo>
                  <a:cubicBezTo>
                    <a:pt x="201" y="220"/>
                    <a:pt x="201" y="220"/>
                    <a:pt x="201" y="220"/>
                  </a:cubicBezTo>
                  <a:cubicBezTo>
                    <a:pt x="198" y="215"/>
                    <a:pt x="198" y="215"/>
                    <a:pt x="198" y="215"/>
                  </a:cubicBezTo>
                  <a:cubicBezTo>
                    <a:pt x="198" y="171"/>
                    <a:pt x="198" y="171"/>
                    <a:pt x="198" y="171"/>
                  </a:cubicBezTo>
                  <a:lnTo>
                    <a:pt x="202" y="168"/>
                  </a:lnTo>
                  <a:close/>
                  <a:moveTo>
                    <a:pt x="191" y="61"/>
                  </a:moveTo>
                  <a:cubicBezTo>
                    <a:pt x="198" y="70"/>
                    <a:pt x="198" y="70"/>
                    <a:pt x="198" y="70"/>
                  </a:cubicBezTo>
                  <a:cubicBezTo>
                    <a:pt x="198" y="104"/>
                    <a:pt x="198" y="104"/>
                    <a:pt x="198" y="104"/>
                  </a:cubicBezTo>
                  <a:cubicBezTo>
                    <a:pt x="191" y="95"/>
                    <a:pt x="191" y="95"/>
                    <a:pt x="191" y="95"/>
                  </a:cubicBezTo>
                  <a:cubicBezTo>
                    <a:pt x="191" y="61"/>
                    <a:pt x="191" y="61"/>
                    <a:pt x="191" y="61"/>
                  </a:cubicBezTo>
                  <a:close/>
                  <a:moveTo>
                    <a:pt x="198" y="295"/>
                  </a:moveTo>
                  <a:cubicBezTo>
                    <a:pt x="191" y="300"/>
                    <a:pt x="191" y="300"/>
                    <a:pt x="191" y="300"/>
                  </a:cubicBezTo>
                  <a:cubicBezTo>
                    <a:pt x="191" y="278"/>
                    <a:pt x="191" y="278"/>
                    <a:pt x="191" y="278"/>
                  </a:cubicBezTo>
                  <a:cubicBezTo>
                    <a:pt x="198" y="273"/>
                    <a:pt x="198" y="273"/>
                    <a:pt x="198" y="273"/>
                  </a:cubicBezTo>
                  <a:cubicBezTo>
                    <a:pt x="198" y="295"/>
                    <a:pt x="198" y="295"/>
                    <a:pt x="198" y="295"/>
                  </a:cubicBezTo>
                  <a:close/>
                  <a:moveTo>
                    <a:pt x="198" y="121"/>
                  </a:moveTo>
                  <a:cubicBezTo>
                    <a:pt x="198" y="160"/>
                    <a:pt x="198" y="160"/>
                    <a:pt x="198" y="160"/>
                  </a:cubicBezTo>
                  <a:cubicBezTo>
                    <a:pt x="191" y="150"/>
                    <a:pt x="191" y="150"/>
                    <a:pt x="191" y="150"/>
                  </a:cubicBezTo>
                  <a:cubicBezTo>
                    <a:pt x="191" y="120"/>
                    <a:pt x="191" y="120"/>
                    <a:pt x="191" y="120"/>
                  </a:cubicBezTo>
                  <a:cubicBezTo>
                    <a:pt x="194" y="124"/>
                    <a:pt x="194" y="124"/>
                    <a:pt x="194" y="124"/>
                  </a:cubicBezTo>
                  <a:cubicBezTo>
                    <a:pt x="198" y="121"/>
                    <a:pt x="198" y="121"/>
                    <a:pt x="198" y="121"/>
                  </a:cubicBezTo>
                  <a:close/>
                  <a:moveTo>
                    <a:pt x="198" y="171"/>
                  </a:moveTo>
                  <a:cubicBezTo>
                    <a:pt x="198" y="215"/>
                    <a:pt x="198" y="215"/>
                    <a:pt x="198" y="215"/>
                  </a:cubicBezTo>
                  <a:cubicBezTo>
                    <a:pt x="191" y="206"/>
                    <a:pt x="191" y="206"/>
                    <a:pt x="191" y="206"/>
                  </a:cubicBezTo>
                  <a:cubicBezTo>
                    <a:pt x="191" y="175"/>
                    <a:pt x="191" y="175"/>
                    <a:pt x="191" y="175"/>
                  </a:cubicBezTo>
                  <a:cubicBezTo>
                    <a:pt x="192" y="176"/>
                    <a:pt x="192" y="176"/>
                    <a:pt x="192" y="176"/>
                  </a:cubicBezTo>
                  <a:cubicBezTo>
                    <a:pt x="198" y="171"/>
                    <a:pt x="198" y="171"/>
                    <a:pt x="198" y="171"/>
                  </a:cubicBezTo>
                  <a:close/>
                  <a:moveTo>
                    <a:pt x="198" y="222"/>
                  </a:moveTo>
                  <a:cubicBezTo>
                    <a:pt x="198" y="238"/>
                    <a:pt x="198" y="238"/>
                    <a:pt x="198" y="238"/>
                  </a:cubicBezTo>
                  <a:cubicBezTo>
                    <a:pt x="197" y="239"/>
                    <a:pt x="197" y="239"/>
                    <a:pt x="197" y="239"/>
                  </a:cubicBezTo>
                  <a:cubicBezTo>
                    <a:pt x="198" y="240"/>
                    <a:pt x="198" y="240"/>
                    <a:pt x="198" y="240"/>
                  </a:cubicBezTo>
                  <a:cubicBezTo>
                    <a:pt x="198" y="270"/>
                    <a:pt x="198" y="270"/>
                    <a:pt x="198" y="270"/>
                  </a:cubicBezTo>
                  <a:cubicBezTo>
                    <a:pt x="191" y="261"/>
                    <a:pt x="191" y="261"/>
                    <a:pt x="191" y="261"/>
                  </a:cubicBezTo>
                  <a:cubicBezTo>
                    <a:pt x="191" y="227"/>
                    <a:pt x="191" y="227"/>
                    <a:pt x="191" y="227"/>
                  </a:cubicBezTo>
                  <a:lnTo>
                    <a:pt x="198" y="222"/>
                  </a:lnTo>
                  <a:close/>
                  <a:moveTo>
                    <a:pt x="178" y="42"/>
                  </a:moveTo>
                  <a:cubicBezTo>
                    <a:pt x="191" y="61"/>
                    <a:pt x="191" y="61"/>
                    <a:pt x="191" y="61"/>
                  </a:cubicBezTo>
                  <a:cubicBezTo>
                    <a:pt x="191" y="95"/>
                    <a:pt x="191" y="95"/>
                    <a:pt x="191" y="95"/>
                  </a:cubicBezTo>
                  <a:cubicBezTo>
                    <a:pt x="189" y="92"/>
                    <a:pt x="189" y="92"/>
                    <a:pt x="189" y="92"/>
                  </a:cubicBezTo>
                  <a:cubicBezTo>
                    <a:pt x="178" y="99"/>
                    <a:pt x="178" y="99"/>
                    <a:pt x="178" y="99"/>
                  </a:cubicBezTo>
                  <a:cubicBezTo>
                    <a:pt x="178" y="84"/>
                    <a:pt x="178" y="84"/>
                    <a:pt x="178" y="84"/>
                  </a:cubicBezTo>
                  <a:cubicBezTo>
                    <a:pt x="182" y="81"/>
                    <a:pt x="182" y="81"/>
                    <a:pt x="182" y="81"/>
                  </a:cubicBezTo>
                  <a:cubicBezTo>
                    <a:pt x="178" y="77"/>
                    <a:pt x="178" y="77"/>
                    <a:pt x="178" y="77"/>
                  </a:cubicBezTo>
                  <a:cubicBezTo>
                    <a:pt x="178" y="42"/>
                    <a:pt x="178" y="42"/>
                    <a:pt x="178" y="42"/>
                  </a:cubicBezTo>
                  <a:close/>
                  <a:moveTo>
                    <a:pt x="191" y="300"/>
                  </a:moveTo>
                  <a:cubicBezTo>
                    <a:pt x="178" y="309"/>
                    <a:pt x="178" y="309"/>
                    <a:pt x="178" y="309"/>
                  </a:cubicBezTo>
                  <a:cubicBezTo>
                    <a:pt x="178" y="268"/>
                    <a:pt x="178" y="268"/>
                    <a:pt x="178" y="268"/>
                  </a:cubicBezTo>
                  <a:cubicBezTo>
                    <a:pt x="187" y="281"/>
                    <a:pt x="187" y="281"/>
                    <a:pt x="187" y="281"/>
                  </a:cubicBezTo>
                  <a:cubicBezTo>
                    <a:pt x="191" y="278"/>
                    <a:pt x="191" y="278"/>
                    <a:pt x="191" y="278"/>
                  </a:cubicBezTo>
                  <a:cubicBezTo>
                    <a:pt x="191" y="300"/>
                    <a:pt x="191" y="300"/>
                    <a:pt x="191" y="300"/>
                  </a:cubicBezTo>
                  <a:close/>
                  <a:moveTo>
                    <a:pt x="191" y="120"/>
                  </a:moveTo>
                  <a:cubicBezTo>
                    <a:pt x="191" y="150"/>
                    <a:pt x="191" y="150"/>
                    <a:pt x="191" y="150"/>
                  </a:cubicBezTo>
                  <a:cubicBezTo>
                    <a:pt x="187" y="144"/>
                    <a:pt x="187" y="144"/>
                    <a:pt x="187" y="144"/>
                  </a:cubicBezTo>
                  <a:cubicBezTo>
                    <a:pt x="178" y="150"/>
                    <a:pt x="178" y="150"/>
                    <a:pt x="178" y="150"/>
                  </a:cubicBezTo>
                  <a:cubicBezTo>
                    <a:pt x="178" y="134"/>
                    <a:pt x="178" y="134"/>
                    <a:pt x="178" y="134"/>
                  </a:cubicBezTo>
                  <a:cubicBezTo>
                    <a:pt x="180" y="134"/>
                    <a:pt x="180" y="134"/>
                    <a:pt x="180" y="134"/>
                  </a:cubicBezTo>
                  <a:cubicBezTo>
                    <a:pt x="178" y="132"/>
                    <a:pt x="178" y="132"/>
                    <a:pt x="178" y="132"/>
                  </a:cubicBezTo>
                  <a:cubicBezTo>
                    <a:pt x="178" y="102"/>
                    <a:pt x="178" y="102"/>
                    <a:pt x="178" y="102"/>
                  </a:cubicBezTo>
                  <a:cubicBezTo>
                    <a:pt x="191" y="120"/>
                    <a:pt x="191" y="120"/>
                    <a:pt x="191" y="120"/>
                  </a:cubicBezTo>
                  <a:close/>
                  <a:moveTo>
                    <a:pt x="191" y="175"/>
                  </a:moveTo>
                  <a:cubicBezTo>
                    <a:pt x="191" y="206"/>
                    <a:pt x="191" y="206"/>
                    <a:pt x="191" y="206"/>
                  </a:cubicBezTo>
                  <a:cubicBezTo>
                    <a:pt x="185" y="196"/>
                    <a:pt x="185" y="196"/>
                    <a:pt x="185" y="196"/>
                  </a:cubicBezTo>
                  <a:cubicBezTo>
                    <a:pt x="178" y="201"/>
                    <a:pt x="178" y="201"/>
                    <a:pt x="178" y="201"/>
                  </a:cubicBezTo>
                  <a:cubicBezTo>
                    <a:pt x="178" y="157"/>
                    <a:pt x="178" y="157"/>
                    <a:pt x="178" y="157"/>
                  </a:cubicBezTo>
                  <a:cubicBezTo>
                    <a:pt x="191" y="175"/>
                    <a:pt x="191" y="175"/>
                    <a:pt x="191" y="175"/>
                  </a:cubicBezTo>
                  <a:close/>
                  <a:moveTo>
                    <a:pt x="191" y="227"/>
                  </a:moveTo>
                  <a:cubicBezTo>
                    <a:pt x="191" y="261"/>
                    <a:pt x="191" y="261"/>
                    <a:pt x="191" y="261"/>
                  </a:cubicBezTo>
                  <a:cubicBezTo>
                    <a:pt x="183" y="249"/>
                    <a:pt x="183" y="249"/>
                    <a:pt x="183" y="249"/>
                  </a:cubicBezTo>
                  <a:cubicBezTo>
                    <a:pt x="178" y="251"/>
                    <a:pt x="178" y="251"/>
                    <a:pt x="178" y="251"/>
                  </a:cubicBezTo>
                  <a:cubicBezTo>
                    <a:pt x="178" y="212"/>
                    <a:pt x="178" y="212"/>
                    <a:pt x="178" y="212"/>
                  </a:cubicBezTo>
                  <a:cubicBezTo>
                    <a:pt x="189" y="228"/>
                    <a:pt x="189" y="228"/>
                    <a:pt x="189" y="228"/>
                  </a:cubicBezTo>
                  <a:lnTo>
                    <a:pt x="191" y="227"/>
                  </a:lnTo>
                  <a:close/>
                  <a:moveTo>
                    <a:pt x="176" y="39"/>
                  </a:moveTo>
                  <a:cubicBezTo>
                    <a:pt x="178" y="42"/>
                    <a:pt x="178" y="42"/>
                    <a:pt x="178" y="42"/>
                  </a:cubicBezTo>
                  <a:cubicBezTo>
                    <a:pt x="178" y="77"/>
                    <a:pt x="178" y="77"/>
                    <a:pt x="178" y="77"/>
                  </a:cubicBezTo>
                  <a:cubicBezTo>
                    <a:pt x="176" y="73"/>
                    <a:pt x="176" y="73"/>
                    <a:pt x="176" y="73"/>
                  </a:cubicBezTo>
                  <a:cubicBezTo>
                    <a:pt x="176" y="39"/>
                    <a:pt x="176" y="39"/>
                    <a:pt x="176" y="39"/>
                  </a:cubicBezTo>
                  <a:close/>
                  <a:moveTo>
                    <a:pt x="178" y="309"/>
                  </a:moveTo>
                  <a:cubicBezTo>
                    <a:pt x="176" y="311"/>
                    <a:pt x="176" y="311"/>
                    <a:pt x="176" y="311"/>
                  </a:cubicBezTo>
                  <a:cubicBezTo>
                    <a:pt x="176" y="265"/>
                    <a:pt x="176" y="265"/>
                    <a:pt x="176" y="265"/>
                  </a:cubicBezTo>
                  <a:cubicBezTo>
                    <a:pt x="178" y="268"/>
                    <a:pt x="178" y="268"/>
                    <a:pt x="178" y="268"/>
                  </a:cubicBezTo>
                  <a:cubicBezTo>
                    <a:pt x="178" y="309"/>
                    <a:pt x="178" y="309"/>
                    <a:pt x="178" y="309"/>
                  </a:cubicBezTo>
                  <a:close/>
                  <a:moveTo>
                    <a:pt x="178" y="84"/>
                  </a:moveTo>
                  <a:cubicBezTo>
                    <a:pt x="178" y="99"/>
                    <a:pt x="178" y="99"/>
                    <a:pt x="178" y="99"/>
                  </a:cubicBezTo>
                  <a:cubicBezTo>
                    <a:pt x="177" y="100"/>
                    <a:pt x="177" y="100"/>
                    <a:pt x="177" y="100"/>
                  </a:cubicBezTo>
                  <a:cubicBezTo>
                    <a:pt x="178" y="102"/>
                    <a:pt x="178" y="102"/>
                    <a:pt x="178" y="102"/>
                  </a:cubicBezTo>
                  <a:cubicBezTo>
                    <a:pt x="178" y="132"/>
                    <a:pt x="178" y="132"/>
                    <a:pt x="178" y="132"/>
                  </a:cubicBezTo>
                  <a:cubicBezTo>
                    <a:pt x="176" y="129"/>
                    <a:pt x="176" y="129"/>
                    <a:pt x="176" y="129"/>
                  </a:cubicBezTo>
                  <a:cubicBezTo>
                    <a:pt x="176" y="85"/>
                    <a:pt x="176" y="85"/>
                    <a:pt x="176" y="85"/>
                  </a:cubicBezTo>
                  <a:cubicBezTo>
                    <a:pt x="178" y="84"/>
                    <a:pt x="178" y="84"/>
                    <a:pt x="178" y="84"/>
                  </a:cubicBezTo>
                  <a:close/>
                  <a:moveTo>
                    <a:pt x="178" y="134"/>
                  </a:moveTo>
                  <a:cubicBezTo>
                    <a:pt x="178" y="150"/>
                    <a:pt x="178" y="150"/>
                    <a:pt x="178" y="150"/>
                  </a:cubicBezTo>
                  <a:cubicBezTo>
                    <a:pt x="176" y="151"/>
                    <a:pt x="176" y="151"/>
                    <a:pt x="176" y="151"/>
                  </a:cubicBezTo>
                  <a:cubicBezTo>
                    <a:pt x="176" y="136"/>
                    <a:pt x="176" y="136"/>
                    <a:pt x="176" y="136"/>
                  </a:cubicBezTo>
                  <a:cubicBezTo>
                    <a:pt x="178" y="134"/>
                    <a:pt x="178" y="134"/>
                    <a:pt x="178" y="134"/>
                  </a:cubicBezTo>
                  <a:close/>
                  <a:moveTo>
                    <a:pt x="178" y="157"/>
                  </a:moveTo>
                  <a:cubicBezTo>
                    <a:pt x="178" y="201"/>
                    <a:pt x="178" y="201"/>
                    <a:pt x="178" y="201"/>
                  </a:cubicBezTo>
                  <a:cubicBezTo>
                    <a:pt x="176" y="202"/>
                    <a:pt x="176" y="202"/>
                    <a:pt x="176" y="202"/>
                  </a:cubicBezTo>
                  <a:cubicBezTo>
                    <a:pt x="176" y="187"/>
                    <a:pt x="176" y="187"/>
                    <a:pt x="176" y="187"/>
                  </a:cubicBezTo>
                  <a:cubicBezTo>
                    <a:pt x="177" y="186"/>
                    <a:pt x="177" y="186"/>
                    <a:pt x="177" y="186"/>
                  </a:cubicBezTo>
                  <a:cubicBezTo>
                    <a:pt x="176" y="184"/>
                    <a:pt x="176" y="184"/>
                    <a:pt x="176" y="184"/>
                  </a:cubicBezTo>
                  <a:cubicBezTo>
                    <a:pt x="176" y="154"/>
                    <a:pt x="176" y="154"/>
                    <a:pt x="176" y="154"/>
                  </a:cubicBezTo>
                  <a:cubicBezTo>
                    <a:pt x="178" y="157"/>
                    <a:pt x="178" y="157"/>
                    <a:pt x="178" y="157"/>
                  </a:cubicBezTo>
                  <a:close/>
                  <a:moveTo>
                    <a:pt x="178" y="212"/>
                  </a:moveTo>
                  <a:cubicBezTo>
                    <a:pt x="178" y="251"/>
                    <a:pt x="178" y="251"/>
                    <a:pt x="178" y="251"/>
                  </a:cubicBezTo>
                  <a:cubicBezTo>
                    <a:pt x="176" y="253"/>
                    <a:pt x="176" y="253"/>
                    <a:pt x="176" y="253"/>
                  </a:cubicBezTo>
                  <a:cubicBezTo>
                    <a:pt x="176" y="209"/>
                    <a:pt x="176" y="209"/>
                    <a:pt x="176" y="209"/>
                  </a:cubicBezTo>
                  <a:lnTo>
                    <a:pt x="178" y="212"/>
                  </a:lnTo>
                  <a:close/>
                  <a:moveTo>
                    <a:pt x="167" y="27"/>
                  </a:moveTo>
                  <a:cubicBezTo>
                    <a:pt x="176" y="39"/>
                    <a:pt x="176" y="39"/>
                    <a:pt x="176" y="39"/>
                  </a:cubicBezTo>
                  <a:cubicBezTo>
                    <a:pt x="176" y="73"/>
                    <a:pt x="176" y="73"/>
                    <a:pt x="176" y="73"/>
                  </a:cubicBezTo>
                  <a:cubicBezTo>
                    <a:pt x="167" y="61"/>
                    <a:pt x="167" y="61"/>
                    <a:pt x="167" y="61"/>
                  </a:cubicBezTo>
                  <a:cubicBezTo>
                    <a:pt x="167" y="27"/>
                    <a:pt x="167" y="27"/>
                    <a:pt x="167" y="27"/>
                  </a:cubicBezTo>
                  <a:close/>
                  <a:moveTo>
                    <a:pt x="176" y="311"/>
                  </a:moveTo>
                  <a:cubicBezTo>
                    <a:pt x="167" y="317"/>
                    <a:pt x="167" y="317"/>
                    <a:pt x="167" y="317"/>
                  </a:cubicBezTo>
                  <a:cubicBezTo>
                    <a:pt x="167" y="193"/>
                    <a:pt x="167" y="193"/>
                    <a:pt x="167" y="193"/>
                  </a:cubicBezTo>
                  <a:cubicBezTo>
                    <a:pt x="176" y="187"/>
                    <a:pt x="176" y="187"/>
                    <a:pt x="176" y="187"/>
                  </a:cubicBezTo>
                  <a:cubicBezTo>
                    <a:pt x="176" y="202"/>
                    <a:pt x="176" y="202"/>
                    <a:pt x="176" y="202"/>
                  </a:cubicBezTo>
                  <a:cubicBezTo>
                    <a:pt x="173" y="204"/>
                    <a:pt x="173" y="204"/>
                    <a:pt x="173" y="204"/>
                  </a:cubicBezTo>
                  <a:cubicBezTo>
                    <a:pt x="176" y="209"/>
                    <a:pt x="176" y="209"/>
                    <a:pt x="176" y="209"/>
                  </a:cubicBezTo>
                  <a:cubicBezTo>
                    <a:pt x="176" y="253"/>
                    <a:pt x="176" y="253"/>
                    <a:pt x="176" y="253"/>
                  </a:cubicBezTo>
                  <a:cubicBezTo>
                    <a:pt x="171" y="257"/>
                    <a:pt x="171" y="257"/>
                    <a:pt x="171" y="257"/>
                  </a:cubicBezTo>
                  <a:cubicBezTo>
                    <a:pt x="176" y="265"/>
                    <a:pt x="176" y="265"/>
                    <a:pt x="176" y="265"/>
                  </a:cubicBezTo>
                  <a:cubicBezTo>
                    <a:pt x="176" y="311"/>
                    <a:pt x="176" y="311"/>
                    <a:pt x="176" y="311"/>
                  </a:cubicBezTo>
                  <a:close/>
                  <a:moveTo>
                    <a:pt x="176" y="85"/>
                  </a:moveTo>
                  <a:cubicBezTo>
                    <a:pt x="176" y="129"/>
                    <a:pt x="176" y="129"/>
                    <a:pt x="176" y="129"/>
                  </a:cubicBezTo>
                  <a:cubicBezTo>
                    <a:pt x="167" y="116"/>
                    <a:pt x="167" y="116"/>
                    <a:pt x="167" y="116"/>
                  </a:cubicBezTo>
                  <a:cubicBezTo>
                    <a:pt x="167" y="86"/>
                    <a:pt x="167" y="86"/>
                    <a:pt x="167" y="86"/>
                  </a:cubicBezTo>
                  <a:cubicBezTo>
                    <a:pt x="170" y="90"/>
                    <a:pt x="170" y="90"/>
                    <a:pt x="170" y="90"/>
                  </a:cubicBezTo>
                  <a:cubicBezTo>
                    <a:pt x="176" y="85"/>
                    <a:pt x="176" y="85"/>
                    <a:pt x="176" y="85"/>
                  </a:cubicBezTo>
                  <a:close/>
                  <a:moveTo>
                    <a:pt x="176" y="136"/>
                  </a:moveTo>
                  <a:cubicBezTo>
                    <a:pt x="176" y="151"/>
                    <a:pt x="176" y="151"/>
                    <a:pt x="176" y="151"/>
                  </a:cubicBezTo>
                  <a:cubicBezTo>
                    <a:pt x="175" y="152"/>
                    <a:pt x="175" y="152"/>
                    <a:pt x="175" y="152"/>
                  </a:cubicBezTo>
                  <a:cubicBezTo>
                    <a:pt x="176" y="154"/>
                    <a:pt x="176" y="154"/>
                    <a:pt x="176" y="154"/>
                  </a:cubicBezTo>
                  <a:cubicBezTo>
                    <a:pt x="176" y="184"/>
                    <a:pt x="176" y="184"/>
                    <a:pt x="176" y="184"/>
                  </a:cubicBezTo>
                  <a:cubicBezTo>
                    <a:pt x="167" y="172"/>
                    <a:pt x="167" y="172"/>
                    <a:pt x="167" y="172"/>
                  </a:cubicBezTo>
                  <a:cubicBezTo>
                    <a:pt x="167" y="141"/>
                    <a:pt x="167" y="141"/>
                    <a:pt x="167" y="141"/>
                  </a:cubicBezTo>
                  <a:cubicBezTo>
                    <a:pt x="168" y="141"/>
                    <a:pt x="168" y="142"/>
                    <a:pt x="168" y="142"/>
                  </a:cubicBezTo>
                  <a:lnTo>
                    <a:pt x="176" y="136"/>
                  </a:lnTo>
                  <a:close/>
                  <a:moveTo>
                    <a:pt x="154" y="8"/>
                  </a:moveTo>
                  <a:cubicBezTo>
                    <a:pt x="167" y="27"/>
                    <a:pt x="167" y="27"/>
                    <a:pt x="167" y="27"/>
                  </a:cubicBezTo>
                  <a:cubicBezTo>
                    <a:pt x="167" y="61"/>
                    <a:pt x="167" y="61"/>
                    <a:pt x="167" y="61"/>
                  </a:cubicBezTo>
                  <a:cubicBezTo>
                    <a:pt x="165" y="58"/>
                    <a:pt x="165" y="58"/>
                    <a:pt x="165" y="58"/>
                  </a:cubicBezTo>
                  <a:cubicBezTo>
                    <a:pt x="154" y="65"/>
                    <a:pt x="154" y="65"/>
                    <a:pt x="154" y="65"/>
                  </a:cubicBezTo>
                  <a:cubicBezTo>
                    <a:pt x="154" y="50"/>
                    <a:pt x="154" y="50"/>
                    <a:pt x="154" y="50"/>
                  </a:cubicBezTo>
                  <a:cubicBezTo>
                    <a:pt x="158" y="47"/>
                    <a:pt x="158" y="47"/>
                    <a:pt x="158" y="47"/>
                  </a:cubicBezTo>
                  <a:cubicBezTo>
                    <a:pt x="154" y="43"/>
                    <a:pt x="154" y="43"/>
                    <a:pt x="154" y="43"/>
                  </a:cubicBezTo>
                  <a:cubicBezTo>
                    <a:pt x="154" y="8"/>
                    <a:pt x="154" y="8"/>
                    <a:pt x="154" y="8"/>
                  </a:cubicBezTo>
                  <a:close/>
                  <a:moveTo>
                    <a:pt x="167" y="317"/>
                  </a:moveTo>
                  <a:cubicBezTo>
                    <a:pt x="156" y="325"/>
                    <a:pt x="156" y="325"/>
                    <a:pt x="156" y="325"/>
                  </a:cubicBezTo>
                  <a:cubicBezTo>
                    <a:pt x="154" y="324"/>
                    <a:pt x="154" y="324"/>
                    <a:pt x="154" y="324"/>
                  </a:cubicBezTo>
                  <a:cubicBezTo>
                    <a:pt x="154" y="178"/>
                    <a:pt x="154" y="178"/>
                    <a:pt x="154" y="178"/>
                  </a:cubicBezTo>
                  <a:cubicBezTo>
                    <a:pt x="166" y="194"/>
                    <a:pt x="166" y="194"/>
                    <a:pt x="166" y="194"/>
                  </a:cubicBezTo>
                  <a:cubicBezTo>
                    <a:pt x="167" y="193"/>
                    <a:pt x="167" y="193"/>
                    <a:pt x="167" y="193"/>
                  </a:cubicBezTo>
                  <a:cubicBezTo>
                    <a:pt x="167" y="317"/>
                    <a:pt x="167" y="317"/>
                    <a:pt x="167" y="317"/>
                  </a:cubicBezTo>
                  <a:close/>
                  <a:moveTo>
                    <a:pt x="167" y="86"/>
                  </a:moveTo>
                  <a:cubicBezTo>
                    <a:pt x="167" y="116"/>
                    <a:pt x="167" y="116"/>
                    <a:pt x="167" y="116"/>
                  </a:cubicBezTo>
                  <a:cubicBezTo>
                    <a:pt x="163" y="110"/>
                    <a:pt x="163" y="110"/>
                    <a:pt x="163" y="110"/>
                  </a:cubicBezTo>
                  <a:cubicBezTo>
                    <a:pt x="159" y="113"/>
                    <a:pt x="162" y="133"/>
                    <a:pt x="167" y="141"/>
                  </a:cubicBezTo>
                  <a:cubicBezTo>
                    <a:pt x="167" y="172"/>
                    <a:pt x="167" y="172"/>
                    <a:pt x="167" y="172"/>
                  </a:cubicBezTo>
                  <a:cubicBezTo>
                    <a:pt x="161" y="162"/>
                    <a:pt x="161" y="162"/>
                    <a:pt x="161" y="162"/>
                  </a:cubicBezTo>
                  <a:cubicBezTo>
                    <a:pt x="154" y="167"/>
                    <a:pt x="154" y="167"/>
                    <a:pt x="154" y="167"/>
                  </a:cubicBezTo>
                  <a:cubicBezTo>
                    <a:pt x="154" y="100"/>
                    <a:pt x="154" y="100"/>
                    <a:pt x="154" y="100"/>
                  </a:cubicBezTo>
                  <a:cubicBezTo>
                    <a:pt x="156" y="99"/>
                    <a:pt x="156" y="99"/>
                    <a:pt x="156" y="99"/>
                  </a:cubicBezTo>
                  <a:cubicBezTo>
                    <a:pt x="154" y="98"/>
                    <a:pt x="154" y="98"/>
                    <a:pt x="154" y="98"/>
                  </a:cubicBezTo>
                  <a:cubicBezTo>
                    <a:pt x="154" y="68"/>
                    <a:pt x="154" y="68"/>
                    <a:pt x="154" y="68"/>
                  </a:cubicBezTo>
                  <a:lnTo>
                    <a:pt x="167" y="86"/>
                  </a:lnTo>
                  <a:close/>
                  <a:moveTo>
                    <a:pt x="150" y="2"/>
                  </a:moveTo>
                  <a:cubicBezTo>
                    <a:pt x="154" y="8"/>
                    <a:pt x="154" y="8"/>
                    <a:pt x="154" y="8"/>
                  </a:cubicBezTo>
                  <a:cubicBezTo>
                    <a:pt x="154" y="43"/>
                    <a:pt x="154" y="43"/>
                    <a:pt x="154" y="43"/>
                  </a:cubicBezTo>
                  <a:cubicBezTo>
                    <a:pt x="150" y="36"/>
                    <a:pt x="150" y="36"/>
                    <a:pt x="150" y="36"/>
                  </a:cubicBezTo>
                  <a:cubicBezTo>
                    <a:pt x="150" y="2"/>
                    <a:pt x="150" y="2"/>
                    <a:pt x="150" y="2"/>
                  </a:cubicBezTo>
                  <a:close/>
                  <a:moveTo>
                    <a:pt x="154" y="324"/>
                  </a:moveTo>
                  <a:cubicBezTo>
                    <a:pt x="150" y="317"/>
                    <a:pt x="150" y="317"/>
                    <a:pt x="150" y="317"/>
                  </a:cubicBezTo>
                  <a:cubicBezTo>
                    <a:pt x="150" y="205"/>
                    <a:pt x="150" y="205"/>
                    <a:pt x="150" y="205"/>
                  </a:cubicBezTo>
                  <a:cubicBezTo>
                    <a:pt x="151" y="204"/>
                    <a:pt x="151" y="204"/>
                    <a:pt x="151" y="204"/>
                  </a:cubicBezTo>
                  <a:cubicBezTo>
                    <a:pt x="150" y="202"/>
                    <a:pt x="150" y="202"/>
                    <a:pt x="150" y="202"/>
                  </a:cubicBezTo>
                  <a:cubicBezTo>
                    <a:pt x="150" y="172"/>
                    <a:pt x="150" y="172"/>
                    <a:pt x="150" y="172"/>
                  </a:cubicBezTo>
                  <a:cubicBezTo>
                    <a:pt x="154" y="178"/>
                    <a:pt x="154" y="178"/>
                    <a:pt x="154" y="178"/>
                  </a:cubicBezTo>
                  <a:cubicBezTo>
                    <a:pt x="154" y="324"/>
                    <a:pt x="154" y="324"/>
                    <a:pt x="154" y="324"/>
                  </a:cubicBezTo>
                  <a:close/>
                  <a:moveTo>
                    <a:pt x="154" y="50"/>
                  </a:moveTo>
                  <a:cubicBezTo>
                    <a:pt x="154" y="65"/>
                    <a:pt x="154" y="65"/>
                    <a:pt x="154" y="65"/>
                  </a:cubicBezTo>
                  <a:cubicBezTo>
                    <a:pt x="153" y="66"/>
                    <a:pt x="153" y="66"/>
                    <a:pt x="153" y="66"/>
                  </a:cubicBezTo>
                  <a:cubicBezTo>
                    <a:pt x="154" y="68"/>
                    <a:pt x="154" y="68"/>
                    <a:pt x="154" y="68"/>
                  </a:cubicBezTo>
                  <a:cubicBezTo>
                    <a:pt x="154" y="98"/>
                    <a:pt x="154" y="98"/>
                    <a:pt x="154" y="98"/>
                  </a:cubicBezTo>
                  <a:cubicBezTo>
                    <a:pt x="150" y="92"/>
                    <a:pt x="150" y="92"/>
                    <a:pt x="150" y="92"/>
                  </a:cubicBezTo>
                  <a:cubicBezTo>
                    <a:pt x="150" y="53"/>
                    <a:pt x="150" y="53"/>
                    <a:pt x="150" y="53"/>
                  </a:cubicBezTo>
                  <a:cubicBezTo>
                    <a:pt x="154" y="50"/>
                    <a:pt x="154" y="50"/>
                    <a:pt x="154" y="50"/>
                  </a:cubicBezTo>
                  <a:close/>
                  <a:moveTo>
                    <a:pt x="154" y="100"/>
                  </a:moveTo>
                  <a:cubicBezTo>
                    <a:pt x="154" y="167"/>
                    <a:pt x="154" y="167"/>
                    <a:pt x="154" y="167"/>
                  </a:cubicBezTo>
                  <a:cubicBezTo>
                    <a:pt x="150" y="170"/>
                    <a:pt x="150" y="170"/>
                    <a:pt x="150" y="170"/>
                  </a:cubicBezTo>
                  <a:cubicBezTo>
                    <a:pt x="150" y="154"/>
                    <a:pt x="150" y="154"/>
                    <a:pt x="150" y="154"/>
                  </a:cubicBezTo>
                  <a:cubicBezTo>
                    <a:pt x="153" y="152"/>
                    <a:pt x="153" y="152"/>
                    <a:pt x="153" y="152"/>
                  </a:cubicBezTo>
                  <a:cubicBezTo>
                    <a:pt x="150" y="147"/>
                    <a:pt x="150" y="147"/>
                    <a:pt x="150" y="147"/>
                  </a:cubicBezTo>
                  <a:cubicBezTo>
                    <a:pt x="150" y="103"/>
                    <a:pt x="150" y="103"/>
                    <a:pt x="150" y="103"/>
                  </a:cubicBezTo>
                  <a:lnTo>
                    <a:pt x="154" y="100"/>
                  </a:lnTo>
                  <a:close/>
                  <a:moveTo>
                    <a:pt x="144" y="3"/>
                  </a:moveTo>
                  <a:cubicBezTo>
                    <a:pt x="149" y="0"/>
                    <a:pt x="149" y="0"/>
                    <a:pt x="149" y="0"/>
                  </a:cubicBezTo>
                  <a:cubicBezTo>
                    <a:pt x="150" y="2"/>
                    <a:pt x="150" y="2"/>
                    <a:pt x="150" y="2"/>
                  </a:cubicBezTo>
                  <a:cubicBezTo>
                    <a:pt x="150" y="36"/>
                    <a:pt x="150" y="36"/>
                    <a:pt x="150" y="36"/>
                  </a:cubicBezTo>
                  <a:cubicBezTo>
                    <a:pt x="144" y="27"/>
                    <a:pt x="144" y="27"/>
                    <a:pt x="144" y="27"/>
                  </a:cubicBezTo>
                  <a:cubicBezTo>
                    <a:pt x="144" y="3"/>
                    <a:pt x="144" y="3"/>
                    <a:pt x="144" y="3"/>
                  </a:cubicBezTo>
                  <a:close/>
                  <a:moveTo>
                    <a:pt x="150" y="317"/>
                  </a:moveTo>
                  <a:cubicBezTo>
                    <a:pt x="144" y="308"/>
                    <a:pt x="144" y="308"/>
                    <a:pt x="144" y="308"/>
                  </a:cubicBezTo>
                  <a:cubicBezTo>
                    <a:pt x="144" y="260"/>
                    <a:pt x="144" y="260"/>
                    <a:pt x="144" y="260"/>
                  </a:cubicBezTo>
                  <a:cubicBezTo>
                    <a:pt x="149" y="257"/>
                    <a:pt x="149" y="257"/>
                    <a:pt x="149" y="257"/>
                  </a:cubicBezTo>
                  <a:cubicBezTo>
                    <a:pt x="144" y="249"/>
                    <a:pt x="144" y="249"/>
                    <a:pt x="144" y="249"/>
                  </a:cubicBezTo>
                  <a:cubicBezTo>
                    <a:pt x="144" y="210"/>
                    <a:pt x="144" y="210"/>
                    <a:pt x="144" y="210"/>
                  </a:cubicBezTo>
                  <a:cubicBezTo>
                    <a:pt x="150" y="205"/>
                    <a:pt x="150" y="205"/>
                    <a:pt x="150" y="205"/>
                  </a:cubicBezTo>
                  <a:cubicBezTo>
                    <a:pt x="150" y="317"/>
                    <a:pt x="150" y="317"/>
                    <a:pt x="150" y="317"/>
                  </a:cubicBezTo>
                  <a:close/>
                  <a:moveTo>
                    <a:pt x="150" y="53"/>
                  </a:moveTo>
                  <a:cubicBezTo>
                    <a:pt x="150" y="92"/>
                    <a:pt x="150" y="92"/>
                    <a:pt x="150" y="92"/>
                  </a:cubicBezTo>
                  <a:cubicBezTo>
                    <a:pt x="144" y="82"/>
                    <a:pt x="144" y="82"/>
                    <a:pt x="144" y="82"/>
                  </a:cubicBezTo>
                  <a:cubicBezTo>
                    <a:pt x="144" y="52"/>
                    <a:pt x="144" y="52"/>
                    <a:pt x="144" y="52"/>
                  </a:cubicBezTo>
                  <a:cubicBezTo>
                    <a:pt x="146" y="56"/>
                    <a:pt x="146" y="56"/>
                    <a:pt x="146" y="56"/>
                  </a:cubicBezTo>
                  <a:cubicBezTo>
                    <a:pt x="150" y="53"/>
                    <a:pt x="150" y="53"/>
                    <a:pt x="150" y="53"/>
                  </a:cubicBezTo>
                  <a:close/>
                  <a:moveTo>
                    <a:pt x="150" y="103"/>
                  </a:moveTo>
                  <a:cubicBezTo>
                    <a:pt x="150" y="147"/>
                    <a:pt x="150" y="147"/>
                    <a:pt x="150" y="147"/>
                  </a:cubicBezTo>
                  <a:cubicBezTo>
                    <a:pt x="144" y="138"/>
                    <a:pt x="144" y="138"/>
                    <a:pt x="144" y="138"/>
                  </a:cubicBezTo>
                  <a:cubicBezTo>
                    <a:pt x="144" y="107"/>
                    <a:pt x="144" y="107"/>
                    <a:pt x="144" y="107"/>
                  </a:cubicBezTo>
                  <a:cubicBezTo>
                    <a:pt x="144" y="108"/>
                    <a:pt x="144" y="108"/>
                    <a:pt x="144" y="108"/>
                  </a:cubicBezTo>
                  <a:cubicBezTo>
                    <a:pt x="150" y="103"/>
                    <a:pt x="150" y="103"/>
                    <a:pt x="150" y="103"/>
                  </a:cubicBezTo>
                  <a:close/>
                  <a:moveTo>
                    <a:pt x="150" y="154"/>
                  </a:moveTo>
                  <a:cubicBezTo>
                    <a:pt x="150" y="170"/>
                    <a:pt x="150" y="170"/>
                    <a:pt x="150" y="170"/>
                  </a:cubicBezTo>
                  <a:cubicBezTo>
                    <a:pt x="149" y="170"/>
                    <a:pt x="149" y="170"/>
                    <a:pt x="149" y="170"/>
                  </a:cubicBezTo>
                  <a:cubicBezTo>
                    <a:pt x="150" y="172"/>
                    <a:pt x="150" y="172"/>
                    <a:pt x="150" y="172"/>
                  </a:cubicBezTo>
                  <a:cubicBezTo>
                    <a:pt x="150" y="202"/>
                    <a:pt x="150" y="202"/>
                    <a:pt x="150" y="202"/>
                  </a:cubicBezTo>
                  <a:cubicBezTo>
                    <a:pt x="144" y="193"/>
                    <a:pt x="144" y="193"/>
                    <a:pt x="144" y="193"/>
                  </a:cubicBezTo>
                  <a:cubicBezTo>
                    <a:pt x="144" y="159"/>
                    <a:pt x="144" y="159"/>
                    <a:pt x="144" y="159"/>
                  </a:cubicBezTo>
                  <a:lnTo>
                    <a:pt x="150" y="154"/>
                  </a:lnTo>
                  <a:close/>
                  <a:moveTo>
                    <a:pt x="128" y="14"/>
                  </a:moveTo>
                  <a:cubicBezTo>
                    <a:pt x="144" y="3"/>
                    <a:pt x="144" y="3"/>
                    <a:pt x="144" y="3"/>
                  </a:cubicBezTo>
                  <a:cubicBezTo>
                    <a:pt x="144" y="27"/>
                    <a:pt x="144" y="27"/>
                    <a:pt x="144" y="27"/>
                  </a:cubicBezTo>
                  <a:cubicBezTo>
                    <a:pt x="141" y="24"/>
                    <a:pt x="141" y="24"/>
                    <a:pt x="141" y="24"/>
                  </a:cubicBezTo>
                  <a:cubicBezTo>
                    <a:pt x="137" y="26"/>
                    <a:pt x="133" y="29"/>
                    <a:pt x="129" y="32"/>
                  </a:cubicBezTo>
                  <a:cubicBezTo>
                    <a:pt x="144" y="52"/>
                    <a:pt x="144" y="52"/>
                    <a:pt x="144" y="52"/>
                  </a:cubicBezTo>
                  <a:cubicBezTo>
                    <a:pt x="144" y="82"/>
                    <a:pt x="144" y="82"/>
                    <a:pt x="144" y="82"/>
                  </a:cubicBezTo>
                  <a:cubicBezTo>
                    <a:pt x="139" y="76"/>
                    <a:pt x="139" y="76"/>
                    <a:pt x="139" y="76"/>
                  </a:cubicBezTo>
                  <a:cubicBezTo>
                    <a:pt x="128" y="83"/>
                    <a:pt x="128" y="83"/>
                    <a:pt x="128" y="83"/>
                  </a:cubicBezTo>
                  <a:cubicBezTo>
                    <a:pt x="128" y="14"/>
                    <a:pt x="128" y="14"/>
                    <a:pt x="128" y="14"/>
                  </a:cubicBezTo>
                  <a:close/>
                  <a:moveTo>
                    <a:pt x="144" y="308"/>
                  </a:moveTo>
                  <a:cubicBezTo>
                    <a:pt x="128" y="287"/>
                    <a:pt x="128" y="287"/>
                    <a:pt x="128" y="287"/>
                  </a:cubicBezTo>
                  <a:cubicBezTo>
                    <a:pt x="128" y="252"/>
                    <a:pt x="128" y="252"/>
                    <a:pt x="128" y="252"/>
                  </a:cubicBezTo>
                  <a:cubicBezTo>
                    <a:pt x="137" y="265"/>
                    <a:pt x="137" y="265"/>
                    <a:pt x="137" y="265"/>
                  </a:cubicBezTo>
                  <a:cubicBezTo>
                    <a:pt x="144" y="260"/>
                    <a:pt x="144" y="260"/>
                    <a:pt x="144" y="260"/>
                  </a:cubicBezTo>
                  <a:cubicBezTo>
                    <a:pt x="144" y="308"/>
                    <a:pt x="144" y="308"/>
                    <a:pt x="144" y="308"/>
                  </a:cubicBezTo>
                  <a:close/>
                  <a:moveTo>
                    <a:pt x="144" y="107"/>
                  </a:moveTo>
                  <a:cubicBezTo>
                    <a:pt x="144" y="138"/>
                    <a:pt x="144" y="138"/>
                    <a:pt x="144" y="138"/>
                  </a:cubicBezTo>
                  <a:cubicBezTo>
                    <a:pt x="137" y="128"/>
                    <a:pt x="137" y="128"/>
                    <a:pt x="137" y="128"/>
                  </a:cubicBezTo>
                  <a:cubicBezTo>
                    <a:pt x="128" y="134"/>
                    <a:pt x="128" y="134"/>
                    <a:pt x="128" y="134"/>
                  </a:cubicBezTo>
                  <a:cubicBezTo>
                    <a:pt x="128" y="119"/>
                    <a:pt x="128" y="119"/>
                    <a:pt x="128" y="119"/>
                  </a:cubicBezTo>
                  <a:cubicBezTo>
                    <a:pt x="130" y="118"/>
                    <a:pt x="130" y="118"/>
                    <a:pt x="130" y="118"/>
                  </a:cubicBezTo>
                  <a:cubicBezTo>
                    <a:pt x="128" y="116"/>
                    <a:pt x="128" y="116"/>
                    <a:pt x="128" y="116"/>
                  </a:cubicBezTo>
                  <a:cubicBezTo>
                    <a:pt x="128" y="86"/>
                    <a:pt x="128" y="86"/>
                    <a:pt x="128" y="86"/>
                  </a:cubicBezTo>
                  <a:cubicBezTo>
                    <a:pt x="144" y="107"/>
                    <a:pt x="144" y="107"/>
                    <a:pt x="144" y="107"/>
                  </a:cubicBezTo>
                  <a:close/>
                  <a:moveTo>
                    <a:pt x="144" y="159"/>
                  </a:moveTo>
                  <a:cubicBezTo>
                    <a:pt x="144" y="193"/>
                    <a:pt x="144" y="193"/>
                    <a:pt x="144" y="193"/>
                  </a:cubicBezTo>
                  <a:cubicBezTo>
                    <a:pt x="135" y="180"/>
                    <a:pt x="135" y="180"/>
                    <a:pt x="135" y="180"/>
                  </a:cubicBezTo>
                  <a:cubicBezTo>
                    <a:pt x="128" y="185"/>
                    <a:pt x="128" y="185"/>
                    <a:pt x="128" y="185"/>
                  </a:cubicBezTo>
                  <a:cubicBezTo>
                    <a:pt x="128" y="141"/>
                    <a:pt x="128" y="141"/>
                    <a:pt x="128" y="141"/>
                  </a:cubicBezTo>
                  <a:cubicBezTo>
                    <a:pt x="142" y="160"/>
                    <a:pt x="142" y="160"/>
                    <a:pt x="142" y="160"/>
                  </a:cubicBezTo>
                  <a:cubicBezTo>
                    <a:pt x="144" y="159"/>
                    <a:pt x="144" y="159"/>
                    <a:pt x="144" y="159"/>
                  </a:cubicBezTo>
                  <a:close/>
                  <a:moveTo>
                    <a:pt x="144" y="210"/>
                  </a:moveTo>
                  <a:cubicBezTo>
                    <a:pt x="144" y="249"/>
                    <a:pt x="144" y="249"/>
                    <a:pt x="144" y="249"/>
                  </a:cubicBezTo>
                  <a:cubicBezTo>
                    <a:pt x="132" y="233"/>
                    <a:pt x="132" y="233"/>
                    <a:pt x="132" y="233"/>
                  </a:cubicBezTo>
                  <a:cubicBezTo>
                    <a:pt x="128" y="236"/>
                    <a:pt x="128" y="236"/>
                    <a:pt x="128" y="236"/>
                  </a:cubicBezTo>
                  <a:cubicBezTo>
                    <a:pt x="128" y="197"/>
                    <a:pt x="128" y="197"/>
                    <a:pt x="128" y="197"/>
                  </a:cubicBezTo>
                  <a:cubicBezTo>
                    <a:pt x="139" y="213"/>
                    <a:pt x="139" y="213"/>
                    <a:pt x="139" y="213"/>
                  </a:cubicBezTo>
                  <a:lnTo>
                    <a:pt x="144" y="210"/>
                  </a:lnTo>
                  <a:close/>
                  <a:moveTo>
                    <a:pt x="124" y="17"/>
                  </a:moveTo>
                  <a:cubicBezTo>
                    <a:pt x="128" y="14"/>
                    <a:pt x="128" y="14"/>
                    <a:pt x="128" y="14"/>
                  </a:cubicBezTo>
                  <a:cubicBezTo>
                    <a:pt x="128" y="83"/>
                    <a:pt x="128" y="83"/>
                    <a:pt x="128" y="83"/>
                  </a:cubicBezTo>
                  <a:cubicBezTo>
                    <a:pt x="127" y="84"/>
                    <a:pt x="127" y="84"/>
                    <a:pt x="127" y="84"/>
                  </a:cubicBezTo>
                  <a:cubicBezTo>
                    <a:pt x="128" y="86"/>
                    <a:pt x="128" y="86"/>
                    <a:pt x="128" y="86"/>
                  </a:cubicBezTo>
                  <a:cubicBezTo>
                    <a:pt x="128" y="116"/>
                    <a:pt x="128" y="116"/>
                    <a:pt x="128" y="116"/>
                  </a:cubicBezTo>
                  <a:cubicBezTo>
                    <a:pt x="124" y="110"/>
                    <a:pt x="124" y="110"/>
                    <a:pt x="124" y="110"/>
                  </a:cubicBezTo>
                  <a:cubicBezTo>
                    <a:pt x="124" y="17"/>
                    <a:pt x="124" y="17"/>
                    <a:pt x="124" y="17"/>
                  </a:cubicBezTo>
                  <a:close/>
                  <a:moveTo>
                    <a:pt x="128" y="287"/>
                  </a:moveTo>
                  <a:cubicBezTo>
                    <a:pt x="124" y="280"/>
                    <a:pt x="124" y="280"/>
                    <a:pt x="124" y="280"/>
                  </a:cubicBezTo>
                  <a:cubicBezTo>
                    <a:pt x="124" y="246"/>
                    <a:pt x="124" y="246"/>
                    <a:pt x="124" y="246"/>
                  </a:cubicBezTo>
                  <a:cubicBezTo>
                    <a:pt x="128" y="252"/>
                    <a:pt x="128" y="252"/>
                    <a:pt x="128" y="252"/>
                  </a:cubicBezTo>
                  <a:cubicBezTo>
                    <a:pt x="128" y="287"/>
                    <a:pt x="128" y="287"/>
                    <a:pt x="128" y="287"/>
                  </a:cubicBezTo>
                  <a:close/>
                  <a:moveTo>
                    <a:pt x="128" y="119"/>
                  </a:moveTo>
                  <a:cubicBezTo>
                    <a:pt x="128" y="134"/>
                    <a:pt x="128" y="134"/>
                    <a:pt x="128" y="134"/>
                  </a:cubicBezTo>
                  <a:cubicBezTo>
                    <a:pt x="125" y="136"/>
                    <a:pt x="125" y="136"/>
                    <a:pt x="125" y="136"/>
                  </a:cubicBezTo>
                  <a:cubicBezTo>
                    <a:pt x="128" y="141"/>
                    <a:pt x="128" y="141"/>
                    <a:pt x="128" y="141"/>
                  </a:cubicBezTo>
                  <a:cubicBezTo>
                    <a:pt x="128" y="185"/>
                    <a:pt x="128" y="185"/>
                    <a:pt x="128" y="185"/>
                  </a:cubicBezTo>
                  <a:cubicBezTo>
                    <a:pt x="124" y="188"/>
                    <a:pt x="124" y="188"/>
                    <a:pt x="124" y="188"/>
                  </a:cubicBezTo>
                  <a:cubicBezTo>
                    <a:pt x="124" y="122"/>
                    <a:pt x="124" y="122"/>
                    <a:pt x="124" y="122"/>
                  </a:cubicBezTo>
                  <a:cubicBezTo>
                    <a:pt x="128" y="119"/>
                    <a:pt x="128" y="119"/>
                    <a:pt x="128" y="119"/>
                  </a:cubicBezTo>
                  <a:close/>
                  <a:moveTo>
                    <a:pt x="128" y="197"/>
                  </a:moveTo>
                  <a:cubicBezTo>
                    <a:pt x="128" y="236"/>
                    <a:pt x="128" y="236"/>
                    <a:pt x="128" y="236"/>
                  </a:cubicBezTo>
                  <a:cubicBezTo>
                    <a:pt x="124" y="239"/>
                    <a:pt x="124" y="239"/>
                    <a:pt x="124" y="239"/>
                  </a:cubicBezTo>
                  <a:cubicBezTo>
                    <a:pt x="124" y="223"/>
                    <a:pt x="124" y="223"/>
                    <a:pt x="124" y="223"/>
                  </a:cubicBezTo>
                  <a:cubicBezTo>
                    <a:pt x="125" y="222"/>
                    <a:pt x="125" y="222"/>
                    <a:pt x="125" y="222"/>
                  </a:cubicBezTo>
                  <a:cubicBezTo>
                    <a:pt x="124" y="221"/>
                    <a:pt x="124" y="221"/>
                    <a:pt x="124" y="221"/>
                  </a:cubicBezTo>
                  <a:cubicBezTo>
                    <a:pt x="124" y="191"/>
                    <a:pt x="124" y="191"/>
                    <a:pt x="124" y="191"/>
                  </a:cubicBezTo>
                  <a:lnTo>
                    <a:pt x="128" y="197"/>
                  </a:lnTo>
                  <a:close/>
                  <a:moveTo>
                    <a:pt x="115" y="23"/>
                  </a:moveTo>
                  <a:cubicBezTo>
                    <a:pt x="124" y="17"/>
                    <a:pt x="124" y="17"/>
                    <a:pt x="124" y="17"/>
                  </a:cubicBezTo>
                  <a:cubicBezTo>
                    <a:pt x="124" y="110"/>
                    <a:pt x="124" y="110"/>
                    <a:pt x="124" y="110"/>
                  </a:cubicBezTo>
                  <a:cubicBezTo>
                    <a:pt x="115" y="98"/>
                    <a:pt x="115" y="98"/>
                    <a:pt x="115" y="98"/>
                  </a:cubicBezTo>
                  <a:cubicBezTo>
                    <a:pt x="115" y="23"/>
                    <a:pt x="115" y="23"/>
                    <a:pt x="115" y="23"/>
                  </a:cubicBezTo>
                  <a:close/>
                  <a:moveTo>
                    <a:pt x="124" y="280"/>
                  </a:moveTo>
                  <a:cubicBezTo>
                    <a:pt x="115" y="268"/>
                    <a:pt x="115" y="268"/>
                    <a:pt x="115" y="268"/>
                  </a:cubicBezTo>
                  <a:cubicBezTo>
                    <a:pt x="115" y="229"/>
                    <a:pt x="115" y="229"/>
                    <a:pt x="115" y="229"/>
                  </a:cubicBezTo>
                  <a:cubicBezTo>
                    <a:pt x="124" y="223"/>
                    <a:pt x="124" y="223"/>
                    <a:pt x="124" y="223"/>
                  </a:cubicBezTo>
                  <a:cubicBezTo>
                    <a:pt x="124" y="239"/>
                    <a:pt x="124" y="239"/>
                    <a:pt x="124" y="239"/>
                  </a:cubicBezTo>
                  <a:cubicBezTo>
                    <a:pt x="121" y="241"/>
                    <a:pt x="121" y="241"/>
                    <a:pt x="121" y="241"/>
                  </a:cubicBezTo>
                  <a:cubicBezTo>
                    <a:pt x="124" y="246"/>
                    <a:pt x="124" y="246"/>
                    <a:pt x="124" y="246"/>
                  </a:cubicBezTo>
                  <a:cubicBezTo>
                    <a:pt x="124" y="280"/>
                    <a:pt x="124" y="280"/>
                    <a:pt x="124" y="280"/>
                  </a:cubicBezTo>
                  <a:close/>
                  <a:moveTo>
                    <a:pt x="124" y="122"/>
                  </a:moveTo>
                  <a:cubicBezTo>
                    <a:pt x="124" y="188"/>
                    <a:pt x="124" y="188"/>
                    <a:pt x="124" y="188"/>
                  </a:cubicBezTo>
                  <a:cubicBezTo>
                    <a:pt x="123" y="189"/>
                    <a:pt x="123" y="189"/>
                    <a:pt x="123" y="189"/>
                  </a:cubicBezTo>
                  <a:cubicBezTo>
                    <a:pt x="124" y="191"/>
                    <a:pt x="124" y="191"/>
                    <a:pt x="124" y="191"/>
                  </a:cubicBezTo>
                  <a:cubicBezTo>
                    <a:pt x="124" y="221"/>
                    <a:pt x="124" y="221"/>
                    <a:pt x="124" y="221"/>
                  </a:cubicBezTo>
                  <a:cubicBezTo>
                    <a:pt x="115" y="208"/>
                    <a:pt x="115" y="208"/>
                    <a:pt x="115" y="208"/>
                  </a:cubicBezTo>
                  <a:cubicBezTo>
                    <a:pt x="115" y="123"/>
                    <a:pt x="115" y="123"/>
                    <a:pt x="115" y="123"/>
                  </a:cubicBezTo>
                  <a:cubicBezTo>
                    <a:pt x="118" y="126"/>
                    <a:pt x="118" y="126"/>
                    <a:pt x="118" y="126"/>
                  </a:cubicBezTo>
                  <a:lnTo>
                    <a:pt x="124" y="122"/>
                  </a:lnTo>
                  <a:close/>
                  <a:moveTo>
                    <a:pt x="102" y="32"/>
                  </a:moveTo>
                  <a:cubicBezTo>
                    <a:pt x="115" y="23"/>
                    <a:pt x="115" y="23"/>
                    <a:pt x="115" y="23"/>
                  </a:cubicBezTo>
                  <a:cubicBezTo>
                    <a:pt x="115" y="98"/>
                    <a:pt x="115" y="98"/>
                    <a:pt x="115" y="98"/>
                  </a:cubicBezTo>
                  <a:cubicBezTo>
                    <a:pt x="113" y="94"/>
                    <a:pt x="113" y="94"/>
                    <a:pt x="113" y="94"/>
                  </a:cubicBezTo>
                  <a:cubicBezTo>
                    <a:pt x="102" y="102"/>
                    <a:pt x="102" y="102"/>
                    <a:pt x="102" y="102"/>
                  </a:cubicBezTo>
                  <a:cubicBezTo>
                    <a:pt x="102" y="86"/>
                    <a:pt x="102" y="86"/>
                    <a:pt x="102" y="86"/>
                  </a:cubicBezTo>
                  <a:cubicBezTo>
                    <a:pt x="106" y="84"/>
                    <a:pt x="106" y="84"/>
                    <a:pt x="106" y="84"/>
                  </a:cubicBezTo>
                  <a:cubicBezTo>
                    <a:pt x="102" y="79"/>
                    <a:pt x="102" y="79"/>
                    <a:pt x="102" y="79"/>
                  </a:cubicBezTo>
                  <a:cubicBezTo>
                    <a:pt x="102" y="32"/>
                    <a:pt x="102" y="32"/>
                    <a:pt x="102" y="32"/>
                  </a:cubicBezTo>
                  <a:close/>
                  <a:moveTo>
                    <a:pt x="115" y="268"/>
                  </a:moveTo>
                  <a:cubicBezTo>
                    <a:pt x="102" y="249"/>
                    <a:pt x="102" y="249"/>
                    <a:pt x="102" y="249"/>
                  </a:cubicBezTo>
                  <a:cubicBezTo>
                    <a:pt x="102" y="215"/>
                    <a:pt x="102" y="215"/>
                    <a:pt x="102" y="215"/>
                  </a:cubicBezTo>
                  <a:cubicBezTo>
                    <a:pt x="113" y="231"/>
                    <a:pt x="113" y="231"/>
                    <a:pt x="113" y="231"/>
                  </a:cubicBezTo>
                  <a:cubicBezTo>
                    <a:pt x="115" y="229"/>
                    <a:pt x="115" y="229"/>
                    <a:pt x="115" y="229"/>
                  </a:cubicBezTo>
                  <a:cubicBezTo>
                    <a:pt x="115" y="268"/>
                    <a:pt x="115" y="268"/>
                    <a:pt x="115" y="268"/>
                  </a:cubicBezTo>
                  <a:close/>
                  <a:moveTo>
                    <a:pt x="115" y="123"/>
                  </a:moveTo>
                  <a:cubicBezTo>
                    <a:pt x="115" y="208"/>
                    <a:pt x="115" y="208"/>
                    <a:pt x="115" y="208"/>
                  </a:cubicBezTo>
                  <a:cubicBezTo>
                    <a:pt x="109" y="199"/>
                    <a:pt x="109" y="199"/>
                    <a:pt x="109" y="199"/>
                  </a:cubicBezTo>
                  <a:cubicBezTo>
                    <a:pt x="102" y="203"/>
                    <a:pt x="102" y="203"/>
                    <a:pt x="102" y="203"/>
                  </a:cubicBezTo>
                  <a:cubicBezTo>
                    <a:pt x="102" y="137"/>
                    <a:pt x="102" y="137"/>
                    <a:pt x="102" y="137"/>
                  </a:cubicBezTo>
                  <a:cubicBezTo>
                    <a:pt x="104" y="136"/>
                    <a:pt x="104" y="136"/>
                    <a:pt x="104" y="136"/>
                  </a:cubicBezTo>
                  <a:cubicBezTo>
                    <a:pt x="102" y="134"/>
                    <a:pt x="102" y="134"/>
                    <a:pt x="102" y="134"/>
                  </a:cubicBezTo>
                  <a:cubicBezTo>
                    <a:pt x="102" y="104"/>
                    <a:pt x="102" y="104"/>
                    <a:pt x="102" y="104"/>
                  </a:cubicBezTo>
                  <a:lnTo>
                    <a:pt x="115" y="123"/>
                  </a:lnTo>
                  <a:close/>
                  <a:moveTo>
                    <a:pt x="91" y="40"/>
                  </a:moveTo>
                  <a:cubicBezTo>
                    <a:pt x="102" y="32"/>
                    <a:pt x="102" y="32"/>
                    <a:pt x="102" y="32"/>
                  </a:cubicBezTo>
                  <a:cubicBezTo>
                    <a:pt x="102" y="79"/>
                    <a:pt x="102" y="79"/>
                    <a:pt x="102" y="79"/>
                  </a:cubicBezTo>
                  <a:cubicBezTo>
                    <a:pt x="91" y="64"/>
                    <a:pt x="91" y="64"/>
                    <a:pt x="91" y="64"/>
                  </a:cubicBezTo>
                  <a:cubicBezTo>
                    <a:pt x="91" y="40"/>
                    <a:pt x="91" y="40"/>
                    <a:pt x="91" y="40"/>
                  </a:cubicBezTo>
                  <a:close/>
                  <a:moveTo>
                    <a:pt x="102" y="249"/>
                  </a:moveTo>
                  <a:cubicBezTo>
                    <a:pt x="91" y="234"/>
                    <a:pt x="91" y="234"/>
                    <a:pt x="91" y="234"/>
                  </a:cubicBezTo>
                  <a:cubicBezTo>
                    <a:pt x="91" y="195"/>
                    <a:pt x="91" y="195"/>
                    <a:pt x="91" y="195"/>
                  </a:cubicBezTo>
                  <a:cubicBezTo>
                    <a:pt x="101" y="188"/>
                    <a:pt x="101" y="188"/>
                    <a:pt x="101" y="188"/>
                  </a:cubicBezTo>
                  <a:cubicBezTo>
                    <a:pt x="91" y="174"/>
                    <a:pt x="91" y="174"/>
                    <a:pt x="91" y="174"/>
                  </a:cubicBezTo>
                  <a:cubicBezTo>
                    <a:pt x="91" y="144"/>
                    <a:pt x="91" y="144"/>
                    <a:pt x="91" y="144"/>
                  </a:cubicBezTo>
                  <a:cubicBezTo>
                    <a:pt x="92" y="144"/>
                    <a:pt x="92" y="144"/>
                    <a:pt x="92" y="144"/>
                  </a:cubicBezTo>
                  <a:cubicBezTo>
                    <a:pt x="102" y="137"/>
                    <a:pt x="102" y="137"/>
                    <a:pt x="102" y="137"/>
                  </a:cubicBezTo>
                  <a:cubicBezTo>
                    <a:pt x="102" y="203"/>
                    <a:pt x="102" y="203"/>
                    <a:pt x="102" y="203"/>
                  </a:cubicBezTo>
                  <a:cubicBezTo>
                    <a:pt x="97" y="207"/>
                    <a:pt x="97" y="207"/>
                    <a:pt x="97" y="207"/>
                  </a:cubicBezTo>
                  <a:cubicBezTo>
                    <a:pt x="102" y="215"/>
                    <a:pt x="102" y="215"/>
                    <a:pt x="102" y="215"/>
                  </a:cubicBezTo>
                  <a:cubicBezTo>
                    <a:pt x="102" y="249"/>
                    <a:pt x="102" y="249"/>
                    <a:pt x="102" y="249"/>
                  </a:cubicBezTo>
                  <a:close/>
                  <a:moveTo>
                    <a:pt x="102" y="86"/>
                  </a:moveTo>
                  <a:cubicBezTo>
                    <a:pt x="102" y="102"/>
                    <a:pt x="102" y="102"/>
                    <a:pt x="102" y="102"/>
                  </a:cubicBezTo>
                  <a:cubicBezTo>
                    <a:pt x="101" y="102"/>
                    <a:pt x="101" y="102"/>
                    <a:pt x="101" y="102"/>
                  </a:cubicBezTo>
                  <a:cubicBezTo>
                    <a:pt x="102" y="104"/>
                    <a:pt x="102" y="104"/>
                    <a:pt x="102" y="104"/>
                  </a:cubicBezTo>
                  <a:cubicBezTo>
                    <a:pt x="102" y="134"/>
                    <a:pt x="102" y="134"/>
                    <a:pt x="102" y="134"/>
                  </a:cubicBezTo>
                  <a:cubicBezTo>
                    <a:pt x="91" y="119"/>
                    <a:pt x="91" y="119"/>
                    <a:pt x="91" y="119"/>
                  </a:cubicBezTo>
                  <a:cubicBezTo>
                    <a:pt x="91" y="89"/>
                    <a:pt x="91" y="89"/>
                    <a:pt x="91" y="89"/>
                  </a:cubicBezTo>
                  <a:cubicBezTo>
                    <a:pt x="94" y="92"/>
                    <a:pt x="94" y="92"/>
                    <a:pt x="94" y="92"/>
                  </a:cubicBezTo>
                  <a:lnTo>
                    <a:pt x="102" y="86"/>
                  </a:lnTo>
                  <a:close/>
                  <a:moveTo>
                    <a:pt x="78" y="49"/>
                  </a:moveTo>
                  <a:cubicBezTo>
                    <a:pt x="91" y="40"/>
                    <a:pt x="91" y="40"/>
                    <a:pt x="91" y="40"/>
                  </a:cubicBezTo>
                  <a:cubicBezTo>
                    <a:pt x="91" y="64"/>
                    <a:pt x="91" y="64"/>
                    <a:pt x="91" y="64"/>
                  </a:cubicBezTo>
                  <a:cubicBezTo>
                    <a:pt x="89" y="60"/>
                    <a:pt x="89" y="60"/>
                    <a:pt x="89" y="60"/>
                  </a:cubicBezTo>
                  <a:cubicBezTo>
                    <a:pt x="78" y="68"/>
                    <a:pt x="78" y="68"/>
                    <a:pt x="78" y="68"/>
                  </a:cubicBezTo>
                  <a:cubicBezTo>
                    <a:pt x="78" y="49"/>
                    <a:pt x="78" y="49"/>
                    <a:pt x="78" y="49"/>
                  </a:cubicBezTo>
                  <a:close/>
                  <a:moveTo>
                    <a:pt x="91" y="234"/>
                  </a:moveTo>
                  <a:cubicBezTo>
                    <a:pt x="78" y="215"/>
                    <a:pt x="78" y="215"/>
                    <a:pt x="78" y="215"/>
                  </a:cubicBezTo>
                  <a:cubicBezTo>
                    <a:pt x="78" y="181"/>
                    <a:pt x="78" y="181"/>
                    <a:pt x="78" y="181"/>
                  </a:cubicBezTo>
                  <a:cubicBezTo>
                    <a:pt x="90" y="197"/>
                    <a:pt x="90" y="197"/>
                    <a:pt x="90" y="197"/>
                  </a:cubicBezTo>
                  <a:cubicBezTo>
                    <a:pt x="91" y="195"/>
                    <a:pt x="91" y="195"/>
                    <a:pt x="91" y="195"/>
                  </a:cubicBezTo>
                  <a:cubicBezTo>
                    <a:pt x="91" y="234"/>
                    <a:pt x="91" y="234"/>
                    <a:pt x="91" y="234"/>
                  </a:cubicBezTo>
                  <a:close/>
                  <a:moveTo>
                    <a:pt x="91" y="89"/>
                  </a:moveTo>
                  <a:cubicBezTo>
                    <a:pt x="91" y="119"/>
                    <a:pt x="91" y="119"/>
                    <a:pt x="91" y="119"/>
                  </a:cubicBezTo>
                  <a:cubicBezTo>
                    <a:pt x="87" y="112"/>
                    <a:pt x="87" y="112"/>
                    <a:pt x="87" y="112"/>
                  </a:cubicBezTo>
                  <a:cubicBezTo>
                    <a:pt x="78" y="118"/>
                    <a:pt x="78" y="118"/>
                    <a:pt x="78" y="118"/>
                  </a:cubicBezTo>
                  <a:cubicBezTo>
                    <a:pt x="78" y="103"/>
                    <a:pt x="78" y="103"/>
                    <a:pt x="78" y="103"/>
                  </a:cubicBezTo>
                  <a:cubicBezTo>
                    <a:pt x="80" y="102"/>
                    <a:pt x="80" y="102"/>
                    <a:pt x="80" y="102"/>
                  </a:cubicBezTo>
                  <a:cubicBezTo>
                    <a:pt x="78" y="100"/>
                    <a:pt x="78" y="100"/>
                    <a:pt x="78" y="100"/>
                  </a:cubicBezTo>
                  <a:cubicBezTo>
                    <a:pt x="78" y="70"/>
                    <a:pt x="78" y="70"/>
                    <a:pt x="78" y="70"/>
                  </a:cubicBezTo>
                  <a:cubicBezTo>
                    <a:pt x="91" y="89"/>
                    <a:pt x="91" y="89"/>
                    <a:pt x="91" y="89"/>
                  </a:cubicBezTo>
                  <a:close/>
                  <a:moveTo>
                    <a:pt x="91" y="144"/>
                  </a:moveTo>
                  <a:cubicBezTo>
                    <a:pt x="91" y="174"/>
                    <a:pt x="91" y="174"/>
                    <a:pt x="91" y="174"/>
                  </a:cubicBezTo>
                  <a:cubicBezTo>
                    <a:pt x="85" y="165"/>
                    <a:pt x="85" y="165"/>
                    <a:pt x="85" y="165"/>
                  </a:cubicBezTo>
                  <a:cubicBezTo>
                    <a:pt x="78" y="169"/>
                    <a:pt x="78" y="169"/>
                    <a:pt x="78" y="169"/>
                  </a:cubicBezTo>
                  <a:cubicBezTo>
                    <a:pt x="78" y="126"/>
                    <a:pt x="78" y="126"/>
                    <a:pt x="78" y="126"/>
                  </a:cubicBezTo>
                  <a:lnTo>
                    <a:pt x="91" y="144"/>
                  </a:lnTo>
                  <a:close/>
                  <a:moveTo>
                    <a:pt x="65" y="58"/>
                  </a:moveTo>
                  <a:cubicBezTo>
                    <a:pt x="78" y="49"/>
                    <a:pt x="78" y="49"/>
                    <a:pt x="78" y="49"/>
                  </a:cubicBezTo>
                  <a:cubicBezTo>
                    <a:pt x="78" y="68"/>
                    <a:pt x="78" y="68"/>
                    <a:pt x="78" y="68"/>
                  </a:cubicBezTo>
                  <a:cubicBezTo>
                    <a:pt x="77" y="68"/>
                    <a:pt x="77" y="68"/>
                    <a:pt x="77" y="68"/>
                  </a:cubicBezTo>
                  <a:cubicBezTo>
                    <a:pt x="78" y="70"/>
                    <a:pt x="78" y="70"/>
                    <a:pt x="78" y="70"/>
                  </a:cubicBezTo>
                  <a:cubicBezTo>
                    <a:pt x="78" y="100"/>
                    <a:pt x="78" y="100"/>
                    <a:pt x="78" y="100"/>
                  </a:cubicBezTo>
                  <a:cubicBezTo>
                    <a:pt x="65" y="82"/>
                    <a:pt x="65" y="82"/>
                    <a:pt x="65" y="82"/>
                  </a:cubicBezTo>
                  <a:cubicBezTo>
                    <a:pt x="65" y="58"/>
                    <a:pt x="65" y="58"/>
                    <a:pt x="65" y="58"/>
                  </a:cubicBezTo>
                  <a:close/>
                  <a:moveTo>
                    <a:pt x="78" y="215"/>
                  </a:moveTo>
                  <a:cubicBezTo>
                    <a:pt x="78" y="215"/>
                    <a:pt x="78" y="215"/>
                    <a:pt x="78" y="215"/>
                  </a:cubicBezTo>
                  <a:cubicBezTo>
                    <a:pt x="65" y="197"/>
                    <a:pt x="65" y="197"/>
                    <a:pt x="65" y="197"/>
                  </a:cubicBezTo>
                  <a:cubicBezTo>
                    <a:pt x="65" y="107"/>
                    <a:pt x="65" y="107"/>
                    <a:pt x="65" y="107"/>
                  </a:cubicBezTo>
                  <a:cubicBezTo>
                    <a:pt x="68" y="110"/>
                    <a:pt x="68" y="110"/>
                    <a:pt x="68" y="110"/>
                  </a:cubicBezTo>
                  <a:cubicBezTo>
                    <a:pt x="78" y="103"/>
                    <a:pt x="78" y="103"/>
                    <a:pt x="78" y="103"/>
                  </a:cubicBezTo>
                  <a:cubicBezTo>
                    <a:pt x="78" y="118"/>
                    <a:pt x="78" y="118"/>
                    <a:pt x="78" y="118"/>
                  </a:cubicBezTo>
                  <a:cubicBezTo>
                    <a:pt x="75" y="121"/>
                    <a:pt x="75" y="121"/>
                    <a:pt x="75" y="121"/>
                  </a:cubicBezTo>
                  <a:cubicBezTo>
                    <a:pt x="78" y="126"/>
                    <a:pt x="78" y="126"/>
                    <a:pt x="78" y="126"/>
                  </a:cubicBezTo>
                  <a:cubicBezTo>
                    <a:pt x="78" y="169"/>
                    <a:pt x="78" y="169"/>
                    <a:pt x="78" y="169"/>
                  </a:cubicBezTo>
                  <a:cubicBezTo>
                    <a:pt x="73" y="173"/>
                    <a:pt x="73" y="173"/>
                    <a:pt x="73" y="173"/>
                  </a:cubicBezTo>
                  <a:cubicBezTo>
                    <a:pt x="78" y="181"/>
                    <a:pt x="78" y="181"/>
                    <a:pt x="78" y="181"/>
                  </a:cubicBezTo>
                  <a:lnTo>
                    <a:pt x="78" y="215"/>
                  </a:lnTo>
                  <a:close/>
                  <a:moveTo>
                    <a:pt x="52" y="67"/>
                  </a:moveTo>
                  <a:cubicBezTo>
                    <a:pt x="65" y="58"/>
                    <a:pt x="65" y="58"/>
                    <a:pt x="65" y="58"/>
                  </a:cubicBezTo>
                  <a:cubicBezTo>
                    <a:pt x="65" y="82"/>
                    <a:pt x="65" y="82"/>
                    <a:pt x="65" y="82"/>
                  </a:cubicBezTo>
                  <a:cubicBezTo>
                    <a:pt x="63" y="78"/>
                    <a:pt x="63" y="78"/>
                    <a:pt x="63" y="78"/>
                  </a:cubicBezTo>
                  <a:cubicBezTo>
                    <a:pt x="52" y="86"/>
                    <a:pt x="52" y="86"/>
                    <a:pt x="52" y="86"/>
                  </a:cubicBezTo>
                  <a:cubicBezTo>
                    <a:pt x="52" y="67"/>
                    <a:pt x="52" y="67"/>
                    <a:pt x="52" y="67"/>
                  </a:cubicBezTo>
                  <a:close/>
                  <a:moveTo>
                    <a:pt x="65" y="197"/>
                  </a:moveTo>
                  <a:cubicBezTo>
                    <a:pt x="52" y="178"/>
                    <a:pt x="52" y="178"/>
                    <a:pt x="52" y="178"/>
                  </a:cubicBezTo>
                  <a:cubicBezTo>
                    <a:pt x="52" y="121"/>
                    <a:pt x="52" y="121"/>
                    <a:pt x="52" y="121"/>
                  </a:cubicBezTo>
                  <a:cubicBezTo>
                    <a:pt x="54" y="120"/>
                    <a:pt x="54" y="120"/>
                    <a:pt x="54" y="120"/>
                  </a:cubicBezTo>
                  <a:cubicBezTo>
                    <a:pt x="52" y="119"/>
                    <a:pt x="52" y="119"/>
                    <a:pt x="52" y="119"/>
                  </a:cubicBezTo>
                  <a:cubicBezTo>
                    <a:pt x="52" y="88"/>
                    <a:pt x="52" y="88"/>
                    <a:pt x="52" y="88"/>
                  </a:cubicBezTo>
                  <a:cubicBezTo>
                    <a:pt x="65" y="107"/>
                    <a:pt x="65" y="107"/>
                    <a:pt x="65" y="107"/>
                  </a:cubicBezTo>
                  <a:lnTo>
                    <a:pt x="65" y="197"/>
                  </a:lnTo>
                  <a:close/>
                  <a:moveTo>
                    <a:pt x="39" y="76"/>
                  </a:moveTo>
                  <a:cubicBezTo>
                    <a:pt x="52" y="67"/>
                    <a:pt x="52" y="67"/>
                    <a:pt x="52" y="67"/>
                  </a:cubicBezTo>
                  <a:cubicBezTo>
                    <a:pt x="52" y="86"/>
                    <a:pt x="52" y="86"/>
                    <a:pt x="52" y="86"/>
                  </a:cubicBezTo>
                  <a:cubicBezTo>
                    <a:pt x="51" y="87"/>
                    <a:pt x="51" y="87"/>
                    <a:pt x="51" y="87"/>
                  </a:cubicBezTo>
                  <a:cubicBezTo>
                    <a:pt x="52" y="88"/>
                    <a:pt x="52" y="88"/>
                    <a:pt x="52" y="88"/>
                  </a:cubicBezTo>
                  <a:cubicBezTo>
                    <a:pt x="52" y="119"/>
                    <a:pt x="52" y="119"/>
                    <a:pt x="52" y="119"/>
                  </a:cubicBezTo>
                  <a:cubicBezTo>
                    <a:pt x="39" y="100"/>
                    <a:pt x="39" y="100"/>
                    <a:pt x="39" y="100"/>
                  </a:cubicBezTo>
                  <a:cubicBezTo>
                    <a:pt x="39" y="76"/>
                    <a:pt x="39" y="76"/>
                    <a:pt x="39" y="76"/>
                  </a:cubicBezTo>
                  <a:close/>
                  <a:moveTo>
                    <a:pt x="52" y="178"/>
                  </a:moveTo>
                  <a:cubicBezTo>
                    <a:pt x="39" y="160"/>
                    <a:pt x="39" y="160"/>
                    <a:pt x="39" y="160"/>
                  </a:cubicBezTo>
                  <a:cubicBezTo>
                    <a:pt x="39" y="125"/>
                    <a:pt x="39" y="125"/>
                    <a:pt x="39" y="125"/>
                  </a:cubicBezTo>
                  <a:cubicBezTo>
                    <a:pt x="42" y="129"/>
                    <a:pt x="42" y="129"/>
                    <a:pt x="42" y="129"/>
                  </a:cubicBezTo>
                  <a:cubicBezTo>
                    <a:pt x="52" y="121"/>
                    <a:pt x="52" y="121"/>
                    <a:pt x="52" y="121"/>
                  </a:cubicBezTo>
                  <a:lnTo>
                    <a:pt x="52" y="178"/>
                  </a:lnTo>
                  <a:close/>
                  <a:moveTo>
                    <a:pt x="0" y="104"/>
                  </a:moveTo>
                  <a:cubicBezTo>
                    <a:pt x="39" y="76"/>
                    <a:pt x="39" y="76"/>
                    <a:pt x="39" y="76"/>
                  </a:cubicBezTo>
                  <a:cubicBezTo>
                    <a:pt x="39" y="100"/>
                    <a:pt x="39" y="100"/>
                    <a:pt x="39" y="100"/>
                  </a:cubicBezTo>
                  <a:cubicBezTo>
                    <a:pt x="37" y="97"/>
                    <a:pt x="37" y="97"/>
                    <a:pt x="37" y="97"/>
                  </a:cubicBezTo>
                  <a:cubicBezTo>
                    <a:pt x="33" y="100"/>
                    <a:pt x="29" y="102"/>
                    <a:pt x="25" y="105"/>
                  </a:cubicBezTo>
                  <a:cubicBezTo>
                    <a:pt x="39" y="125"/>
                    <a:pt x="39" y="125"/>
                    <a:pt x="39" y="125"/>
                  </a:cubicBezTo>
                  <a:cubicBezTo>
                    <a:pt x="39" y="160"/>
                    <a:pt x="39" y="160"/>
                    <a:pt x="39" y="160"/>
                  </a:cubicBezTo>
                  <a:lnTo>
                    <a:pt x="0" y="104"/>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7" name="ïŝľîḋè">
              <a:extLst>
                <a:ext uri="{FF2B5EF4-FFF2-40B4-BE49-F238E27FC236}">
                  <a16:creationId xmlns:a16="http://schemas.microsoft.com/office/drawing/2014/main" id="{AB94BC1B-7E93-4450-A56F-C200E2C920BE}"/>
                </a:ext>
              </a:extLst>
            </p:cNvPr>
            <p:cNvSpPr/>
            <p:nvPr/>
          </p:nvSpPr>
          <p:spPr bwMode="auto">
            <a:xfrm flipH="1">
              <a:off x="3977638" y="2203459"/>
              <a:ext cx="239292" cy="498501"/>
            </a:xfrm>
            <a:custGeom>
              <a:avLst/>
              <a:gdLst>
                <a:gd name="T0" fmla="*/ 129 w 143"/>
                <a:gd name="T1" fmla="*/ 305 h 305"/>
                <a:gd name="T2" fmla="*/ 143 w 143"/>
                <a:gd name="T3" fmla="*/ 301 h 305"/>
                <a:gd name="T4" fmla="*/ 109 w 143"/>
                <a:gd name="T5" fmla="*/ 199 h 305"/>
                <a:gd name="T6" fmla="*/ 78 w 143"/>
                <a:gd name="T7" fmla="*/ 105 h 305"/>
                <a:gd name="T8" fmla="*/ 87 w 143"/>
                <a:gd name="T9" fmla="*/ 73 h 305"/>
                <a:gd name="T10" fmla="*/ 86 w 143"/>
                <a:gd name="T11" fmla="*/ 71 h 305"/>
                <a:gd name="T12" fmla="*/ 100 w 143"/>
                <a:gd name="T13" fmla="*/ 43 h 305"/>
                <a:gd name="T14" fmla="*/ 83 w 143"/>
                <a:gd name="T15" fmla="*/ 28 h 305"/>
                <a:gd name="T16" fmla="*/ 82 w 143"/>
                <a:gd name="T17" fmla="*/ 24 h 305"/>
                <a:gd name="T18" fmla="*/ 45 w 143"/>
                <a:gd name="T19" fmla="*/ 5 h 305"/>
                <a:gd name="T20" fmla="*/ 27 w 143"/>
                <a:gd name="T21" fmla="*/ 21 h 305"/>
                <a:gd name="T22" fmla="*/ 24 w 143"/>
                <a:gd name="T23" fmla="*/ 22 h 305"/>
                <a:gd name="T24" fmla="*/ 5 w 143"/>
                <a:gd name="T25" fmla="*/ 59 h 305"/>
                <a:gd name="T26" fmla="*/ 29 w 143"/>
                <a:gd name="T27" fmla="*/ 79 h 305"/>
                <a:gd name="T28" fmla="*/ 31 w 143"/>
                <a:gd name="T29" fmla="*/ 92 h 305"/>
                <a:gd name="T30" fmla="*/ 65 w 143"/>
                <a:gd name="T31" fmla="*/ 111 h 305"/>
                <a:gd name="T32" fmla="*/ 95 w 143"/>
                <a:gd name="T33" fmla="*/ 203 h 305"/>
                <a:gd name="T34" fmla="*/ 129 w 143"/>
                <a:gd name="T3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305">
                  <a:moveTo>
                    <a:pt x="129" y="305"/>
                  </a:moveTo>
                  <a:cubicBezTo>
                    <a:pt x="133" y="304"/>
                    <a:pt x="138" y="302"/>
                    <a:pt x="143" y="301"/>
                  </a:cubicBezTo>
                  <a:cubicBezTo>
                    <a:pt x="131" y="267"/>
                    <a:pt x="120" y="233"/>
                    <a:pt x="109" y="199"/>
                  </a:cubicBezTo>
                  <a:cubicBezTo>
                    <a:pt x="78" y="105"/>
                    <a:pt x="78" y="105"/>
                    <a:pt x="78" y="105"/>
                  </a:cubicBezTo>
                  <a:cubicBezTo>
                    <a:pt x="87" y="97"/>
                    <a:pt x="91" y="85"/>
                    <a:pt x="87" y="73"/>
                  </a:cubicBezTo>
                  <a:cubicBezTo>
                    <a:pt x="87" y="72"/>
                    <a:pt x="86" y="72"/>
                    <a:pt x="86" y="71"/>
                  </a:cubicBezTo>
                  <a:cubicBezTo>
                    <a:pt x="97" y="67"/>
                    <a:pt x="104" y="54"/>
                    <a:pt x="100" y="43"/>
                  </a:cubicBezTo>
                  <a:cubicBezTo>
                    <a:pt x="97" y="35"/>
                    <a:pt x="91" y="30"/>
                    <a:pt x="83" y="28"/>
                  </a:cubicBezTo>
                  <a:cubicBezTo>
                    <a:pt x="83" y="26"/>
                    <a:pt x="83" y="25"/>
                    <a:pt x="82" y="24"/>
                  </a:cubicBezTo>
                  <a:cubicBezTo>
                    <a:pt x="77" y="8"/>
                    <a:pt x="60" y="0"/>
                    <a:pt x="45" y="5"/>
                  </a:cubicBezTo>
                  <a:cubicBezTo>
                    <a:pt x="37" y="8"/>
                    <a:pt x="30" y="14"/>
                    <a:pt x="27" y="21"/>
                  </a:cubicBezTo>
                  <a:cubicBezTo>
                    <a:pt x="26" y="21"/>
                    <a:pt x="25" y="21"/>
                    <a:pt x="24" y="22"/>
                  </a:cubicBezTo>
                  <a:cubicBezTo>
                    <a:pt x="9" y="27"/>
                    <a:pt x="0" y="43"/>
                    <a:pt x="5" y="59"/>
                  </a:cubicBezTo>
                  <a:cubicBezTo>
                    <a:pt x="9" y="70"/>
                    <a:pt x="18" y="78"/>
                    <a:pt x="29" y="79"/>
                  </a:cubicBezTo>
                  <a:cubicBezTo>
                    <a:pt x="29" y="83"/>
                    <a:pt x="29" y="87"/>
                    <a:pt x="31" y="92"/>
                  </a:cubicBezTo>
                  <a:cubicBezTo>
                    <a:pt x="35" y="106"/>
                    <a:pt x="50" y="114"/>
                    <a:pt x="65" y="111"/>
                  </a:cubicBezTo>
                  <a:cubicBezTo>
                    <a:pt x="95" y="203"/>
                    <a:pt x="95" y="203"/>
                    <a:pt x="95" y="203"/>
                  </a:cubicBezTo>
                  <a:cubicBezTo>
                    <a:pt x="106" y="237"/>
                    <a:pt x="117" y="271"/>
                    <a:pt x="129" y="30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8" name="îṥļîďé">
              <a:extLst>
                <a:ext uri="{FF2B5EF4-FFF2-40B4-BE49-F238E27FC236}">
                  <a16:creationId xmlns:a16="http://schemas.microsoft.com/office/drawing/2014/main" id="{BD64F7EA-F62D-4BBD-A66B-E92AC6753AD3}"/>
                </a:ext>
              </a:extLst>
            </p:cNvPr>
            <p:cNvSpPr/>
            <p:nvPr/>
          </p:nvSpPr>
          <p:spPr bwMode="auto">
            <a:xfrm flipH="1">
              <a:off x="3831983" y="2353720"/>
              <a:ext cx="204958" cy="312706"/>
            </a:xfrm>
            <a:custGeom>
              <a:avLst/>
              <a:gdLst>
                <a:gd name="T0" fmla="*/ 89 w 122"/>
                <a:gd name="T1" fmla="*/ 191 h 191"/>
                <a:gd name="T2" fmla="*/ 103 w 122"/>
                <a:gd name="T3" fmla="*/ 186 h 191"/>
                <a:gd name="T4" fmla="*/ 82 w 122"/>
                <a:gd name="T5" fmla="*/ 121 h 191"/>
                <a:gd name="T6" fmla="*/ 95 w 122"/>
                <a:gd name="T7" fmla="*/ 98 h 191"/>
                <a:gd name="T8" fmla="*/ 98 w 122"/>
                <a:gd name="T9" fmla="*/ 97 h 191"/>
                <a:gd name="T10" fmla="*/ 117 w 122"/>
                <a:gd name="T11" fmla="*/ 60 h 191"/>
                <a:gd name="T12" fmla="*/ 93 w 122"/>
                <a:gd name="T13" fmla="*/ 39 h 191"/>
                <a:gd name="T14" fmla="*/ 95 w 122"/>
                <a:gd name="T15" fmla="*/ 21 h 191"/>
                <a:gd name="T16" fmla="*/ 67 w 122"/>
                <a:gd name="T17" fmla="*/ 7 h 191"/>
                <a:gd name="T18" fmla="*/ 57 w 122"/>
                <a:gd name="T19" fmla="*/ 14 h 191"/>
                <a:gd name="T20" fmla="*/ 24 w 122"/>
                <a:gd name="T21" fmla="*/ 4 h 191"/>
                <a:gd name="T22" fmla="*/ 5 w 122"/>
                <a:gd name="T23" fmla="*/ 41 h 191"/>
                <a:gd name="T24" fmla="*/ 18 w 122"/>
                <a:gd name="T25" fmla="*/ 58 h 191"/>
                <a:gd name="T26" fmla="*/ 10 w 122"/>
                <a:gd name="T27" fmla="*/ 83 h 191"/>
                <a:gd name="T28" fmla="*/ 36 w 122"/>
                <a:gd name="T29" fmla="*/ 97 h 191"/>
                <a:gd name="T30" fmla="*/ 37 w 122"/>
                <a:gd name="T31" fmla="*/ 106 h 191"/>
                <a:gd name="T32" fmla="*/ 68 w 122"/>
                <a:gd name="T33" fmla="*/ 126 h 191"/>
                <a:gd name="T34" fmla="*/ 89 w 122"/>
                <a:gd name="T3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91">
                  <a:moveTo>
                    <a:pt x="89" y="191"/>
                  </a:moveTo>
                  <a:cubicBezTo>
                    <a:pt x="94" y="189"/>
                    <a:pt x="98" y="188"/>
                    <a:pt x="103" y="186"/>
                  </a:cubicBezTo>
                  <a:cubicBezTo>
                    <a:pt x="82" y="121"/>
                    <a:pt x="82" y="121"/>
                    <a:pt x="82" y="121"/>
                  </a:cubicBezTo>
                  <a:cubicBezTo>
                    <a:pt x="90" y="116"/>
                    <a:pt x="94" y="107"/>
                    <a:pt x="95" y="98"/>
                  </a:cubicBezTo>
                  <a:cubicBezTo>
                    <a:pt x="96" y="98"/>
                    <a:pt x="97" y="97"/>
                    <a:pt x="98" y="97"/>
                  </a:cubicBezTo>
                  <a:cubicBezTo>
                    <a:pt x="114" y="92"/>
                    <a:pt x="122" y="75"/>
                    <a:pt x="117" y="60"/>
                  </a:cubicBezTo>
                  <a:cubicBezTo>
                    <a:pt x="113" y="48"/>
                    <a:pt x="104" y="41"/>
                    <a:pt x="93" y="39"/>
                  </a:cubicBezTo>
                  <a:cubicBezTo>
                    <a:pt x="96" y="34"/>
                    <a:pt x="97" y="27"/>
                    <a:pt x="95" y="21"/>
                  </a:cubicBezTo>
                  <a:cubicBezTo>
                    <a:pt x="91" y="9"/>
                    <a:pt x="79" y="3"/>
                    <a:pt x="67" y="7"/>
                  </a:cubicBezTo>
                  <a:cubicBezTo>
                    <a:pt x="63" y="8"/>
                    <a:pt x="59" y="11"/>
                    <a:pt x="57" y="14"/>
                  </a:cubicBezTo>
                  <a:cubicBezTo>
                    <a:pt x="49" y="4"/>
                    <a:pt x="36" y="0"/>
                    <a:pt x="24" y="4"/>
                  </a:cubicBezTo>
                  <a:cubicBezTo>
                    <a:pt x="8" y="9"/>
                    <a:pt x="0" y="26"/>
                    <a:pt x="5" y="41"/>
                  </a:cubicBezTo>
                  <a:cubicBezTo>
                    <a:pt x="7" y="48"/>
                    <a:pt x="12" y="54"/>
                    <a:pt x="18" y="58"/>
                  </a:cubicBezTo>
                  <a:cubicBezTo>
                    <a:pt x="10" y="63"/>
                    <a:pt x="7" y="73"/>
                    <a:pt x="10" y="83"/>
                  </a:cubicBezTo>
                  <a:cubicBezTo>
                    <a:pt x="14" y="94"/>
                    <a:pt x="25" y="100"/>
                    <a:pt x="36" y="97"/>
                  </a:cubicBezTo>
                  <a:cubicBezTo>
                    <a:pt x="36" y="100"/>
                    <a:pt x="36" y="103"/>
                    <a:pt x="37" y="106"/>
                  </a:cubicBezTo>
                  <a:cubicBezTo>
                    <a:pt x="42" y="119"/>
                    <a:pt x="54" y="127"/>
                    <a:pt x="68" y="126"/>
                  </a:cubicBezTo>
                  <a:lnTo>
                    <a:pt x="89" y="191"/>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9" name="í$ḻïďe">
              <a:extLst>
                <a:ext uri="{FF2B5EF4-FFF2-40B4-BE49-F238E27FC236}">
                  <a16:creationId xmlns:a16="http://schemas.microsoft.com/office/drawing/2014/main" id="{6F99713C-2615-4F56-A042-066D9CE2FCD4}"/>
                </a:ext>
              </a:extLst>
            </p:cNvPr>
            <p:cNvSpPr/>
            <p:nvPr/>
          </p:nvSpPr>
          <p:spPr bwMode="auto">
            <a:xfrm flipH="1">
              <a:off x="2792625" y="2208536"/>
              <a:ext cx="211201" cy="490379"/>
            </a:xfrm>
            <a:custGeom>
              <a:avLst/>
              <a:gdLst>
                <a:gd name="T0" fmla="*/ 8 w 126"/>
                <a:gd name="T1" fmla="*/ 297 h 300"/>
                <a:gd name="T2" fmla="*/ 22 w 126"/>
                <a:gd name="T3" fmla="*/ 300 h 300"/>
                <a:gd name="T4" fmla="*/ 44 w 126"/>
                <a:gd name="T5" fmla="*/ 198 h 300"/>
                <a:gd name="T6" fmla="*/ 61 w 126"/>
                <a:gd name="T7" fmla="*/ 118 h 300"/>
                <a:gd name="T8" fmla="*/ 68 w 126"/>
                <a:gd name="T9" fmla="*/ 122 h 300"/>
                <a:gd name="T10" fmla="*/ 95 w 126"/>
                <a:gd name="T11" fmla="*/ 107 h 300"/>
                <a:gd name="T12" fmla="*/ 94 w 126"/>
                <a:gd name="T13" fmla="*/ 90 h 300"/>
                <a:gd name="T14" fmla="*/ 122 w 126"/>
                <a:gd name="T15" fmla="*/ 68 h 300"/>
                <a:gd name="T16" fmla="*/ 101 w 126"/>
                <a:gd name="T17" fmla="*/ 32 h 300"/>
                <a:gd name="T18" fmla="*/ 91 w 126"/>
                <a:gd name="T19" fmla="*/ 31 h 300"/>
                <a:gd name="T20" fmla="*/ 69 w 126"/>
                <a:gd name="T21" fmla="*/ 4 h 300"/>
                <a:gd name="T22" fmla="*/ 33 w 126"/>
                <a:gd name="T23" fmla="*/ 25 h 300"/>
                <a:gd name="T24" fmla="*/ 43 w 126"/>
                <a:gd name="T25" fmla="*/ 56 h 300"/>
                <a:gd name="T26" fmla="*/ 28 w 126"/>
                <a:gd name="T27" fmla="*/ 70 h 300"/>
                <a:gd name="T28" fmla="*/ 4 w 126"/>
                <a:gd name="T29" fmla="*/ 91 h 300"/>
                <a:gd name="T30" fmla="*/ 25 w 126"/>
                <a:gd name="T31" fmla="*/ 127 h 300"/>
                <a:gd name="T32" fmla="*/ 44 w 126"/>
                <a:gd name="T33" fmla="*/ 126 h 300"/>
                <a:gd name="T34" fmla="*/ 30 w 126"/>
                <a:gd name="T35" fmla="*/ 194 h 300"/>
                <a:gd name="T36" fmla="*/ 8 w 126"/>
                <a:gd name="T37"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300">
                  <a:moveTo>
                    <a:pt x="8" y="297"/>
                  </a:moveTo>
                  <a:cubicBezTo>
                    <a:pt x="13" y="298"/>
                    <a:pt x="18" y="299"/>
                    <a:pt x="22" y="300"/>
                  </a:cubicBezTo>
                  <a:cubicBezTo>
                    <a:pt x="30" y="266"/>
                    <a:pt x="37" y="232"/>
                    <a:pt x="44" y="198"/>
                  </a:cubicBezTo>
                  <a:cubicBezTo>
                    <a:pt x="61" y="118"/>
                    <a:pt x="61" y="118"/>
                    <a:pt x="61" y="118"/>
                  </a:cubicBezTo>
                  <a:cubicBezTo>
                    <a:pt x="63" y="120"/>
                    <a:pt x="66" y="121"/>
                    <a:pt x="68" y="122"/>
                  </a:cubicBezTo>
                  <a:cubicBezTo>
                    <a:pt x="80" y="125"/>
                    <a:pt x="92" y="118"/>
                    <a:pt x="95" y="107"/>
                  </a:cubicBezTo>
                  <a:cubicBezTo>
                    <a:pt x="97" y="101"/>
                    <a:pt x="96" y="95"/>
                    <a:pt x="94" y="90"/>
                  </a:cubicBezTo>
                  <a:cubicBezTo>
                    <a:pt x="107" y="90"/>
                    <a:pt x="118" y="82"/>
                    <a:pt x="122" y="68"/>
                  </a:cubicBezTo>
                  <a:cubicBezTo>
                    <a:pt x="126" y="53"/>
                    <a:pt x="117" y="36"/>
                    <a:pt x="101" y="32"/>
                  </a:cubicBezTo>
                  <a:cubicBezTo>
                    <a:pt x="98" y="31"/>
                    <a:pt x="95" y="31"/>
                    <a:pt x="91" y="31"/>
                  </a:cubicBezTo>
                  <a:cubicBezTo>
                    <a:pt x="91" y="19"/>
                    <a:pt x="82" y="7"/>
                    <a:pt x="69" y="4"/>
                  </a:cubicBezTo>
                  <a:cubicBezTo>
                    <a:pt x="54" y="0"/>
                    <a:pt x="37" y="9"/>
                    <a:pt x="33" y="25"/>
                  </a:cubicBezTo>
                  <a:cubicBezTo>
                    <a:pt x="30" y="36"/>
                    <a:pt x="34" y="48"/>
                    <a:pt x="43" y="56"/>
                  </a:cubicBezTo>
                  <a:cubicBezTo>
                    <a:pt x="37" y="58"/>
                    <a:pt x="31" y="63"/>
                    <a:pt x="28" y="70"/>
                  </a:cubicBezTo>
                  <a:cubicBezTo>
                    <a:pt x="17" y="71"/>
                    <a:pt x="7" y="80"/>
                    <a:pt x="4" y="91"/>
                  </a:cubicBezTo>
                  <a:cubicBezTo>
                    <a:pt x="0" y="107"/>
                    <a:pt x="9" y="123"/>
                    <a:pt x="25" y="127"/>
                  </a:cubicBezTo>
                  <a:cubicBezTo>
                    <a:pt x="32" y="129"/>
                    <a:pt x="38" y="129"/>
                    <a:pt x="44" y="126"/>
                  </a:cubicBezTo>
                  <a:cubicBezTo>
                    <a:pt x="30" y="194"/>
                    <a:pt x="30" y="194"/>
                    <a:pt x="30" y="194"/>
                  </a:cubicBezTo>
                  <a:cubicBezTo>
                    <a:pt x="22" y="228"/>
                    <a:pt x="15" y="263"/>
                    <a:pt x="8" y="297"/>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0" name="íṧḷîḓê">
              <a:extLst>
                <a:ext uri="{FF2B5EF4-FFF2-40B4-BE49-F238E27FC236}">
                  <a16:creationId xmlns:a16="http://schemas.microsoft.com/office/drawing/2014/main" id="{E6108474-EE21-413F-9477-5E832998E43A}"/>
                </a:ext>
              </a:extLst>
            </p:cNvPr>
            <p:cNvSpPr/>
            <p:nvPr/>
          </p:nvSpPr>
          <p:spPr bwMode="auto">
            <a:xfrm flipH="1">
              <a:off x="2914351" y="2259299"/>
              <a:ext cx="299635" cy="404081"/>
            </a:xfrm>
            <a:custGeom>
              <a:avLst/>
              <a:gdLst>
                <a:gd name="T0" fmla="*/ 31 w 179"/>
                <a:gd name="T1" fmla="*/ 244 h 247"/>
                <a:gd name="T2" fmla="*/ 45 w 179"/>
                <a:gd name="T3" fmla="*/ 247 h 247"/>
                <a:gd name="T4" fmla="*/ 60 w 179"/>
                <a:gd name="T5" fmla="*/ 176 h 247"/>
                <a:gd name="T6" fmla="*/ 70 w 179"/>
                <a:gd name="T7" fmla="*/ 179 h 247"/>
                <a:gd name="T8" fmla="*/ 92 w 179"/>
                <a:gd name="T9" fmla="*/ 160 h 247"/>
                <a:gd name="T10" fmla="*/ 101 w 179"/>
                <a:gd name="T11" fmla="*/ 161 h 247"/>
                <a:gd name="T12" fmla="*/ 131 w 179"/>
                <a:gd name="T13" fmla="*/ 133 h 247"/>
                <a:gd name="T14" fmla="*/ 112 w 179"/>
                <a:gd name="T15" fmla="*/ 104 h 247"/>
                <a:gd name="T16" fmla="*/ 114 w 179"/>
                <a:gd name="T17" fmla="*/ 94 h 247"/>
                <a:gd name="T18" fmla="*/ 86 w 179"/>
                <a:gd name="T19" fmla="*/ 64 h 247"/>
                <a:gd name="T20" fmla="*/ 57 w 179"/>
                <a:gd name="T21" fmla="*/ 84 h 247"/>
                <a:gd name="T22" fmla="*/ 41 w 179"/>
                <a:gd name="T23" fmla="*/ 77 h 247"/>
                <a:gd name="T24" fmla="*/ 19 w 179"/>
                <a:gd name="T25" fmla="*/ 98 h 247"/>
                <a:gd name="T26" fmla="*/ 22 w 179"/>
                <a:gd name="T27" fmla="*/ 111 h 247"/>
                <a:gd name="T28" fmla="*/ 0 w 179"/>
                <a:gd name="T29" fmla="*/ 138 h 247"/>
                <a:gd name="T30" fmla="*/ 29 w 179"/>
                <a:gd name="T31" fmla="*/ 169 h 247"/>
                <a:gd name="T32" fmla="*/ 48 w 179"/>
                <a:gd name="T33" fmla="*/ 163 h 247"/>
                <a:gd name="T34" fmla="*/ 31 w 179"/>
                <a:gd name="T35" fmla="*/ 244 h 247"/>
                <a:gd name="T36" fmla="*/ 149 w 179"/>
                <a:gd name="T37" fmla="*/ 45 h 247"/>
                <a:gd name="T38" fmla="*/ 176 w 179"/>
                <a:gd name="T39" fmla="*/ 30 h 247"/>
                <a:gd name="T40" fmla="*/ 160 w 179"/>
                <a:gd name="T41" fmla="*/ 3 h 247"/>
                <a:gd name="T42" fmla="*/ 133 w 179"/>
                <a:gd name="T43" fmla="*/ 18 h 247"/>
                <a:gd name="T44" fmla="*/ 149 w 179"/>
                <a:gd name="T45"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247">
                  <a:moveTo>
                    <a:pt x="31" y="244"/>
                  </a:moveTo>
                  <a:cubicBezTo>
                    <a:pt x="36" y="245"/>
                    <a:pt x="41" y="246"/>
                    <a:pt x="45" y="247"/>
                  </a:cubicBezTo>
                  <a:cubicBezTo>
                    <a:pt x="60" y="176"/>
                    <a:pt x="60" y="176"/>
                    <a:pt x="60" y="176"/>
                  </a:cubicBezTo>
                  <a:cubicBezTo>
                    <a:pt x="63" y="178"/>
                    <a:pt x="66" y="179"/>
                    <a:pt x="70" y="179"/>
                  </a:cubicBezTo>
                  <a:cubicBezTo>
                    <a:pt x="81" y="179"/>
                    <a:pt x="91" y="171"/>
                    <a:pt x="92" y="160"/>
                  </a:cubicBezTo>
                  <a:cubicBezTo>
                    <a:pt x="95" y="161"/>
                    <a:pt x="98" y="161"/>
                    <a:pt x="101" y="161"/>
                  </a:cubicBezTo>
                  <a:cubicBezTo>
                    <a:pt x="117" y="162"/>
                    <a:pt x="131" y="150"/>
                    <a:pt x="131" y="133"/>
                  </a:cubicBezTo>
                  <a:cubicBezTo>
                    <a:pt x="132" y="120"/>
                    <a:pt x="124" y="108"/>
                    <a:pt x="112" y="104"/>
                  </a:cubicBezTo>
                  <a:cubicBezTo>
                    <a:pt x="113" y="101"/>
                    <a:pt x="114" y="98"/>
                    <a:pt x="114" y="94"/>
                  </a:cubicBezTo>
                  <a:cubicBezTo>
                    <a:pt x="115" y="78"/>
                    <a:pt x="102" y="64"/>
                    <a:pt x="86" y="64"/>
                  </a:cubicBezTo>
                  <a:cubicBezTo>
                    <a:pt x="72" y="63"/>
                    <a:pt x="61" y="72"/>
                    <a:pt x="57" y="84"/>
                  </a:cubicBezTo>
                  <a:cubicBezTo>
                    <a:pt x="53" y="80"/>
                    <a:pt x="47" y="78"/>
                    <a:pt x="41" y="77"/>
                  </a:cubicBezTo>
                  <a:cubicBezTo>
                    <a:pt x="29" y="77"/>
                    <a:pt x="19" y="86"/>
                    <a:pt x="19" y="98"/>
                  </a:cubicBezTo>
                  <a:cubicBezTo>
                    <a:pt x="18" y="103"/>
                    <a:pt x="20" y="107"/>
                    <a:pt x="22" y="111"/>
                  </a:cubicBezTo>
                  <a:cubicBezTo>
                    <a:pt x="10" y="114"/>
                    <a:pt x="1" y="125"/>
                    <a:pt x="0" y="138"/>
                  </a:cubicBezTo>
                  <a:cubicBezTo>
                    <a:pt x="0" y="154"/>
                    <a:pt x="12" y="168"/>
                    <a:pt x="29" y="169"/>
                  </a:cubicBezTo>
                  <a:cubicBezTo>
                    <a:pt x="36" y="169"/>
                    <a:pt x="43" y="167"/>
                    <a:pt x="48" y="163"/>
                  </a:cubicBezTo>
                  <a:cubicBezTo>
                    <a:pt x="31" y="244"/>
                    <a:pt x="31" y="244"/>
                    <a:pt x="31" y="244"/>
                  </a:cubicBezTo>
                  <a:close/>
                  <a:moveTo>
                    <a:pt x="149" y="45"/>
                  </a:moveTo>
                  <a:cubicBezTo>
                    <a:pt x="160" y="48"/>
                    <a:pt x="172" y="41"/>
                    <a:pt x="176" y="30"/>
                  </a:cubicBezTo>
                  <a:cubicBezTo>
                    <a:pt x="179" y="18"/>
                    <a:pt x="172" y="6"/>
                    <a:pt x="160" y="3"/>
                  </a:cubicBezTo>
                  <a:cubicBezTo>
                    <a:pt x="148" y="0"/>
                    <a:pt x="136" y="6"/>
                    <a:pt x="133" y="18"/>
                  </a:cubicBezTo>
                  <a:cubicBezTo>
                    <a:pt x="130" y="30"/>
                    <a:pt x="137" y="42"/>
                    <a:pt x="149" y="4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îşlïḋê">
              <a:extLst>
                <a:ext uri="{FF2B5EF4-FFF2-40B4-BE49-F238E27FC236}">
                  <a16:creationId xmlns:a16="http://schemas.microsoft.com/office/drawing/2014/main" id="{07DC7448-DE5C-4314-B152-4C8479051D80}"/>
                </a:ext>
              </a:extLst>
            </p:cNvPr>
            <p:cNvSpPr/>
            <p:nvPr/>
          </p:nvSpPr>
          <p:spPr bwMode="auto">
            <a:xfrm flipH="1">
              <a:off x="2400395" y="2562867"/>
              <a:ext cx="392230" cy="338088"/>
            </a:xfrm>
            <a:custGeom>
              <a:avLst/>
              <a:gdLst>
                <a:gd name="T0" fmla="*/ 202 w 234"/>
                <a:gd name="T1" fmla="*/ 132 h 207"/>
                <a:gd name="T2" fmla="*/ 215 w 234"/>
                <a:gd name="T3" fmla="*/ 102 h 207"/>
                <a:gd name="T4" fmla="*/ 222 w 234"/>
                <a:gd name="T5" fmla="*/ 94 h 207"/>
                <a:gd name="T6" fmla="*/ 210 w 234"/>
                <a:gd name="T7" fmla="*/ 168 h 207"/>
                <a:gd name="T8" fmla="*/ 193 w 234"/>
                <a:gd name="T9" fmla="*/ 97 h 207"/>
                <a:gd name="T10" fmla="*/ 202 w 234"/>
                <a:gd name="T11" fmla="*/ 124 h 207"/>
                <a:gd name="T12" fmla="*/ 184 w 234"/>
                <a:gd name="T13" fmla="*/ 92 h 207"/>
                <a:gd name="T14" fmla="*/ 202 w 234"/>
                <a:gd name="T15" fmla="*/ 81 h 207"/>
                <a:gd name="T16" fmla="*/ 179 w 234"/>
                <a:gd name="T17" fmla="*/ 132 h 207"/>
                <a:gd name="T18" fmla="*/ 189 w 234"/>
                <a:gd name="T19" fmla="*/ 159 h 207"/>
                <a:gd name="T20" fmla="*/ 202 w 234"/>
                <a:gd name="T21" fmla="*/ 180 h 207"/>
                <a:gd name="T22" fmla="*/ 170 w 234"/>
                <a:gd name="T23" fmla="*/ 75 h 207"/>
                <a:gd name="T24" fmla="*/ 154 w 234"/>
                <a:gd name="T25" fmla="*/ 52 h 207"/>
                <a:gd name="T26" fmla="*/ 154 w 234"/>
                <a:gd name="T27" fmla="*/ 102 h 207"/>
                <a:gd name="T28" fmla="*/ 179 w 234"/>
                <a:gd name="T29" fmla="*/ 101 h 207"/>
                <a:gd name="T30" fmla="*/ 154 w 234"/>
                <a:gd name="T31" fmla="*/ 116 h 207"/>
                <a:gd name="T32" fmla="*/ 154 w 234"/>
                <a:gd name="T33" fmla="*/ 141 h 207"/>
                <a:gd name="T34" fmla="*/ 178 w 234"/>
                <a:gd name="T35" fmla="*/ 202 h 207"/>
                <a:gd name="T36" fmla="*/ 167 w 234"/>
                <a:gd name="T37" fmla="*/ 154 h 207"/>
                <a:gd name="T38" fmla="*/ 179 w 234"/>
                <a:gd name="T39" fmla="*/ 124 h 207"/>
                <a:gd name="T40" fmla="*/ 162 w 234"/>
                <a:gd name="T41" fmla="*/ 193 h 207"/>
                <a:gd name="T42" fmla="*/ 154 w 234"/>
                <a:gd name="T43" fmla="*/ 93 h 207"/>
                <a:gd name="T44" fmla="*/ 146 w 234"/>
                <a:gd name="T45" fmla="*/ 81 h 207"/>
                <a:gd name="T46" fmla="*/ 136 w 234"/>
                <a:gd name="T47" fmla="*/ 54 h 207"/>
                <a:gd name="T48" fmla="*/ 136 w 234"/>
                <a:gd name="T49" fmla="*/ 98 h 207"/>
                <a:gd name="T50" fmla="*/ 154 w 234"/>
                <a:gd name="T51" fmla="*/ 116 h 207"/>
                <a:gd name="T52" fmla="*/ 140 w 234"/>
                <a:gd name="T53" fmla="*/ 179 h 207"/>
                <a:gd name="T54" fmla="*/ 154 w 234"/>
                <a:gd name="T55" fmla="*/ 141 h 207"/>
                <a:gd name="T56" fmla="*/ 154 w 234"/>
                <a:gd name="T57" fmla="*/ 198 h 207"/>
                <a:gd name="T58" fmla="*/ 126 w 234"/>
                <a:gd name="T59" fmla="*/ 57 h 207"/>
                <a:gd name="T60" fmla="*/ 136 w 234"/>
                <a:gd name="T61" fmla="*/ 84 h 207"/>
                <a:gd name="T62" fmla="*/ 118 w 234"/>
                <a:gd name="T63" fmla="*/ 52 h 207"/>
                <a:gd name="T64" fmla="*/ 136 w 234"/>
                <a:gd name="T65" fmla="*/ 41 h 207"/>
                <a:gd name="T66" fmla="*/ 114 w 234"/>
                <a:gd name="T67" fmla="*/ 92 h 207"/>
                <a:gd name="T68" fmla="*/ 113 w 234"/>
                <a:gd name="T69" fmla="*/ 121 h 207"/>
                <a:gd name="T70" fmla="*/ 136 w 234"/>
                <a:gd name="T71" fmla="*/ 135 h 207"/>
                <a:gd name="T72" fmla="*/ 136 w 234"/>
                <a:gd name="T73" fmla="*/ 98 h 207"/>
                <a:gd name="T74" fmla="*/ 93 w 234"/>
                <a:gd name="T75" fmla="*/ 36 h 207"/>
                <a:gd name="T76" fmla="*/ 112 w 234"/>
                <a:gd name="T77" fmla="*/ 60 h 207"/>
                <a:gd name="T78" fmla="*/ 80 w 234"/>
                <a:gd name="T79" fmla="*/ 39 h 207"/>
                <a:gd name="T80" fmla="*/ 80 w 234"/>
                <a:gd name="T81" fmla="*/ 7 h 207"/>
                <a:gd name="T82" fmla="*/ 80 w 234"/>
                <a:gd name="T83" fmla="*/ 71 h 207"/>
                <a:gd name="T84" fmla="*/ 90 w 234"/>
                <a:gd name="T85" fmla="*/ 98 h 207"/>
                <a:gd name="T86" fmla="*/ 108 w 234"/>
                <a:gd name="T87" fmla="*/ 159 h 207"/>
                <a:gd name="T88" fmla="*/ 100 w 234"/>
                <a:gd name="T89" fmla="*/ 113 h 207"/>
                <a:gd name="T90" fmla="*/ 113 w 234"/>
                <a:gd name="T91" fmla="*/ 84 h 207"/>
                <a:gd name="T92" fmla="*/ 56 w 234"/>
                <a:gd name="T93" fmla="*/ 117 h 207"/>
                <a:gd name="T94" fmla="*/ 70 w 234"/>
                <a:gd name="T95" fmla="*/ 14 h 207"/>
                <a:gd name="T96" fmla="*/ 76 w 234"/>
                <a:gd name="T97" fmla="*/ 4 h 207"/>
                <a:gd name="T98" fmla="*/ 56 w 234"/>
                <a:gd name="T99" fmla="*/ 42 h 207"/>
                <a:gd name="T100" fmla="*/ 79 w 234"/>
                <a:gd name="T101" fmla="*/ 40 h 207"/>
                <a:gd name="T102" fmla="*/ 56 w 234"/>
                <a:gd name="T103" fmla="*/ 56 h 207"/>
                <a:gd name="T104" fmla="*/ 56 w 234"/>
                <a:gd name="T105" fmla="*/ 112 h 207"/>
                <a:gd name="T106" fmla="*/ 80 w 234"/>
                <a:gd name="T107" fmla="*/ 101 h 207"/>
                <a:gd name="T108" fmla="*/ 70 w 234"/>
                <a:gd name="T109" fmla="*/ 74 h 207"/>
                <a:gd name="T110" fmla="*/ 50 w 234"/>
                <a:gd name="T111" fmla="*/ 136 h 207"/>
                <a:gd name="T112" fmla="*/ 56 w 234"/>
                <a:gd name="T113" fmla="*/ 5 h 207"/>
                <a:gd name="T114" fmla="*/ 56 w 234"/>
                <a:gd name="T115" fmla="*/ 42 h 207"/>
                <a:gd name="T116" fmla="*/ 56 w 234"/>
                <a:gd name="T117" fmla="*/ 56 h 207"/>
                <a:gd name="T118" fmla="*/ 0 w 234"/>
                <a:gd name="T119" fmla="*/ 94 h 207"/>
                <a:gd name="T120" fmla="*/ 34 w 234"/>
                <a:gd name="T121" fmla="*/ 11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207">
                  <a:moveTo>
                    <a:pt x="202" y="180"/>
                  </a:moveTo>
                  <a:cubicBezTo>
                    <a:pt x="202" y="137"/>
                    <a:pt x="202" y="137"/>
                    <a:pt x="202" y="137"/>
                  </a:cubicBezTo>
                  <a:cubicBezTo>
                    <a:pt x="205" y="133"/>
                    <a:pt x="205" y="133"/>
                    <a:pt x="205" y="133"/>
                  </a:cubicBezTo>
                  <a:cubicBezTo>
                    <a:pt x="202" y="132"/>
                    <a:pt x="202" y="132"/>
                    <a:pt x="202" y="132"/>
                  </a:cubicBezTo>
                  <a:cubicBezTo>
                    <a:pt x="202" y="124"/>
                    <a:pt x="202" y="124"/>
                    <a:pt x="202" y="124"/>
                  </a:cubicBezTo>
                  <a:cubicBezTo>
                    <a:pt x="206" y="126"/>
                    <a:pt x="210" y="125"/>
                    <a:pt x="212" y="121"/>
                  </a:cubicBezTo>
                  <a:cubicBezTo>
                    <a:pt x="214" y="118"/>
                    <a:pt x="216" y="115"/>
                    <a:pt x="218" y="112"/>
                  </a:cubicBezTo>
                  <a:cubicBezTo>
                    <a:pt x="220" y="109"/>
                    <a:pt x="219" y="104"/>
                    <a:pt x="215" y="102"/>
                  </a:cubicBezTo>
                  <a:cubicBezTo>
                    <a:pt x="211" y="100"/>
                    <a:pt x="207" y="97"/>
                    <a:pt x="203" y="95"/>
                  </a:cubicBezTo>
                  <a:cubicBezTo>
                    <a:pt x="203" y="95"/>
                    <a:pt x="203" y="95"/>
                    <a:pt x="202" y="94"/>
                  </a:cubicBezTo>
                  <a:cubicBezTo>
                    <a:pt x="202" y="81"/>
                    <a:pt x="202" y="81"/>
                    <a:pt x="202" y="81"/>
                  </a:cubicBezTo>
                  <a:cubicBezTo>
                    <a:pt x="222" y="94"/>
                    <a:pt x="222" y="94"/>
                    <a:pt x="222" y="94"/>
                  </a:cubicBezTo>
                  <a:cubicBezTo>
                    <a:pt x="231" y="99"/>
                    <a:pt x="234" y="109"/>
                    <a:pt x="229" y="117"/>
                  </a:cubicBezTo>
                  <a:cubicBezTo>
                    <a:pt x="221" y="130"/>
                    <a:pt x="213" y="143"/>
                    <a:pt x="205" y="156"/>
                  </a:cubicBezTo>
                  <a:cubicBezTo>
                    <a:pt x="206" y="156"/>
                    <a:pt x="206" y="157"/>
                    <a:pt x="206" y="157"/>
                  </a:cubicBezTo>
                  <a:cubicBezTo>
                    <a:pt x="210" y="159"/>
                    <a:pt x="212" y="164"/>
                    <a:pt x="210" y="168"/>
                  </a:cubicBezTo>
                  <a:lnTo>
                    <a:pt x="202" y="180"/>
                  </a:lnTo>
                  <a:close/>
                  <a:moveTo>
                    <a:pt x="202" y="81"/>
                  </a:moveTo>
                  <a:cubicBezTo>
                    <a:pt x="202" y="94"/>
                    <a:pt x="202" y="94"/>
                    <a:pt x="202" y="94"/>
                  </a:cubicBezTo>
                  <a:cubicBezTo>
                    <a:pt x="199" y="93"/>
                    <a:pt x="195" y="94"/>
                    <a:pt x="193" y="97"/>
                  </a:cubicBezTo>
                  <a:cubicBezTo>
                    <a:pt x="191" y="100"/>
                    <a:pt x="189" y="103"/>
                    <a:pt x="187" y="106"/>
                  </a:cubicBezTo>
                  <a:cubicBezTo>
                    <a:pt x="185" y="110"/>
                    <a:pt x="186" y="114"/>
                    <a:pt x="190" y="116"/>
                  </a:cubicBezTo>
                  <a:cubicBezTo>
                    <a:pt x="194" y="119"/>
                    <a:pt x="198" y="121"/>
                    <a:pt x="202" y="124"/>
                  </a:cubicBezTo>
                  <a:cubicBezTo>
                    <a:pt x="202" y="124"/>
                    <a:pt x="202" y="124"/>
                    <a:pt x="202" y="124"/>
                  </a:cubicBezTo>
                  <a:cubicBezTo>
                    <a:pt x="202" y="132"/>
                    <a:pt x="202" y="132"/>
                    <a:pt x="202" y="132"/>
                  </a:cubicBezTo>
                  <a:cubicBezTo>
                    <a:pt x="179" y="118"/>
                    <a:pt x="179" y="118"/>
                    <a:pt x="179" y="118"/>
                  </a:cubicBezTo>
                  <a:cubicBezTo>
                    <a:pt x="179" y="100"/>
                    <a:pt x="179" y="100"/>
                    <a:pt x="179" y="100"/>
                  </a:cubicBezTo>
                  <a:cubicBezTo>
                    <a:pt x="184" y="92"/>
                    <a:pt x="184" y="92"/>
                    <a:pt x="184" y="92"/>
                  </a:cubicBezTo>
                  <a:cubicBezTo>
                    <a:pt x="186" y="89"/>
                    <a:pt x="185" y="84"/>
                    <a:pt x="182" y="82"/>
                  </a:cubicBezTo>
                  <a:cubicBezTo>
                    <a:pt x="179" y="80"/>
                    <a:pt x="179" y="80"/>
                    <a:pt x="179" y="80"/>
                  </a:cubicBezTo>
                  <a:cubicBezTo>
                    <a:pt x="179" y="68"/>
                    <a:pt x="179" y="68"/>
                    <a:pt x="179" y="68"/>
                  </a:cubicBezTo>
                  <a:cubicBezTo>
                    <a:pt x="202" y="81"/>
                    <a:pt x="202" y="81"/>
                    <a:pt x="202" y="81"/>
                  </a:cubicBezTo>
                  <a:close/>
                  <a:moveTo>
                    <a:pt x="202" y="137"/>
                  </a:moveTo>
                  <a:cubicBezTo>
                    <a:pt x="202" y="138"/>
                    <a:pt x="202" y="138"/>
                    <a:pt x="202" y="138"/>
                  </a:cubicBezTo>
                  <a:cubicBezTo>
                    <a:pt x="179" y="124"/>
                    <a:pt x="179" y="124"/>
                    <a:pt x="179" y="124"/>
                  </a:cubicBezTo>
                  <a:cubicBezTo>
                    <a:pt x="179" y="132"/>
                    <a:pt x="179" y="132"/>
                    <a:pt x="179" y="132"/>
                  </a:cubicBezTo>
                  <a:cubicBezTo>
                    <a:pt x="180" y="132"/>
                    <a:pt x="180" y="132"/>
                    <a:pt x="180" y="132"/>
                  </a:cubicBezTo>
                  <a:cubicBezTo>
                    <a:pt x="184" y="135"/>
                    <a:pt x="188" y="137"/>
                    <a:pt x="192" y="140"/>
                  </a:cubicBezTo>
                  <a:cubicBezTo>
                    <a:pt x="196" y="142"/>
                    <a:pt x="197" y="146"/>
                    <a:pt x="195" y="150"/>
                  </a:cubicBezTo>
                  <a:cubicBezTo>
                    <a:pt x="193" y="153"/>
                    <a:pt x="191" y="156"/>
                    <a:pt x="189" y="159"/>
                  </a:cubicBezTo>
                  <a:cubicBezTo>
                    <a:pt x="187" y="162"/>
                    <a:pt x="183" y="163"/>
                    <a:pt x="179" y="162"/>
                  </a:cubicBezTo>
                  <a:cubicBezTo>
                    <a:pt x="179" y="203"/>
                    <a:pt x="179" y="203"/>
                    <a:pt x="179" y="203"/>
                  </a:cubicBezTo>
                  <a:cubicBezTo>
                    <a:pt x="186" y="207"/>
                    <a:pt x="186" y="207"/>
                    <a:pt x="186" y="207"/>
                  </a:cubicBezTo>
                  <a:cubicBezTo>
                    <a:pt x="202" y="180"/>
                    <a:pt x="202" y="180"/>
                    <a:pt x="202" y="180"/>
                  </a:cubicBezTo>
                  <a:lnTo>
                    <a:pt x="202" y="137"/>
                  </a:lnTo>
                  <a:close/>
                  <a:moveTo>
                    <a:pt x="179" y="68"/>
                  </a:moveTo>
                  <a:cubicBezTo>
                    <a:pt x="179" y="80"/>
                    <a:pt x="179" y="80"/>
                    <a:pt x="179" y="80"/>
                  </a:cubicBezTo>
                  <a:cubicBezTo>
                    <a:pt x="170" y="75"/>
                    <a:pt x="170" y="75"/>
                    <a:pt x="170" y="75"/>
                  </a:cubicBezTo>
                  <a:cubicBezTo>
                    <a:pt x="166" y="72"/>
                    <a:pt x="161" y="73"/>
                    <a:pt x="159" y="77"/>
                  </a:cubicBezTo>
                  <a:cubicBezTo>
                    <a:pt x="158" y="80"/>
                    <a:pt x="156" y="83"/>
                    <a:pt x="154" y="86"/>
                  </a:cubicBezTo>
                  <a:cubicBezTo>
                    <a:pt x="154" y="86"/>
                    <a:pt x="154" y="86"/>
                    <a:pt x="154" y="86"/>
                  </a:cubicBezTo>
                  <a:cubicBezTo>
                    <a:pt x="154" y="52"/>
                    <a:pt x="154" y="52"/>
                    <a:pt x="154" y="52"/>
                  </a:cubicBezTo>
                  <a:cubicBezTo>
                    <a:pt x="179" y="68"/>
                    <a:pt x="179" y="68"/>
                    <a:pt x="179" y="68"/>
                  </a:cubicBezTo>
                  <a:close/>
                  <a:moveTo>
                    <a:pt x="179" y="100"/>
                  </a:moveTo>
                  <a:cubicBezTo>
                    <a:pt x="179" y="118"/>
                    <a:pt x="179" y="118"/>
                    <a:pt x="179" y="118"/>
                  </a:cubicBezTo>
                  <a:cubicBezTo>
                    <a:pt x="154" y="102"/>
                    <a:pt x="154" y="102"/>
                    <a:pt x="154" y="102"/>
                  </a:cubicBezTo>
                  <a:cubicBezTo>
                    <a:pt x="154" y="93"/>
                    <a:pt x="154" y="93"/>
                    <a:pt x="154" y="93"/>
                  </a:cubicBezTo>
                  <a:cubicBezTo>
                    <a:pt x="154" y="94"/>
                    <a:pt x="155" y="95"/>
                    <a:pt x="157" y="96"/>
                  </a:cubicBezTo>
                  <a:cubicBezTo>
                    <a:pt x="161" y="99"/>
                    <a:pt x="165" y="101"/>
                    <a:pt x="169" y="104"/>
                  </a:cubicBezTo>
                  <a:cubicBezTo>
                    <a:pt x="172" y="106"/>
                    <a:pt x="177" y="105"/>
                    <a:pt x="179" y="101"/>
                  </a:cubicBezTo>
                  <a:cubicBezTo>
                    <a:pt x="179" y="100"/>
                    <a:pt x="179" y="100"/>
                    <a:pt x="179" y="100"/>
                  </a:cubicBezTo>
                  <a:close/>
                  <a:moveTo>
                    <a:pt x="179" y="124"/>
                  </a:moveTo>
                  <a:cubicBezTo>
                    <a:pt x="154" y="108"/>
                    <a:pt x="154" y="108"/>
                    <a:pt x="154" y="108"/>
                  </a:cubicBezTo>
                  <a:cubicBezTo>
                    <a:pt x="154" y="116"/>
                    <a:pt x="154" y="116"/>
                    <a:pt x="154" y="116"/>
                  </a:cubicBezTo>
                  <a:cubicBezTo>
                    <a:pt x="159" y="119"/>
                    <a:pt x="159" y="119"/>
                    <a:pt x="159" y="119"/>
                  </a:cubicBezTo>
                  <a:cubicBezTo>
                    <a:pt x="162" y="121"/>
                    <a:pt x="164" y="126"/>
                    <a:pt x="161" y="130"/>
                  </a:cubicBezTo>
                  <a:cubicBezTo>
                    <a:pt x="160" y="133"/>
                    <a:pt x="158" y="135"/>
                    <a:pt x="156" y="138"/>
                  </a:cubicBezTo>
                  <a:cubicBezTo>
                    <a:pt x="155" y="139"/>
                    <a:pt x="155" y="140"/>
                    <a:pt x="154" y="141"/>
                  </a:cubicBezTo>
                  <a:cubicBezTo>
                    <a:pt x="154" y="172"/>
                    <a:pt x="154" y="172"/>
                    <a:pt x="154" y="172"/>
                  </a:cubicBezTo>
                  <a:cubicBezTo>
                    <a:pt x="156" y="172"/>
                    <a:pt x="159" y="172"/>
                    <a:pt x="162" y="174"/>
                  </a:cubicBezTo>
                  <a:cubicBezTo>
                    <a:pt x="169" y="178"/>
                    <a:pt x="171" y="188"/>
                    <a:pt x="167" y="195"/>
                  </a:cubicBezTo>
                  <a:cubicBezTo>
                    <a:pt x="170" y="197"/>
                    <a:pt x="174" y="200"/>
                    <a:pt x="178" y="202"/>
                  </a:cubicBezTo>
                  <a:cubicBezTo>
                    <a:pt x="179" y="203"/>
                    <a:pt x="179" y="203"/>
                    <a:pt x="179" y="203"/>
                  </a:cubicBezTo>
                  <a:cubicBezTo>
                    <a:pt x="179" y="162"/>
                    <a:pt x="179" y="162"/>
                    <a:pt x="179" y="162"/>
                  </a:cubicBezTo>
                  <a:cubicBezTo>
                    <a:pt x="179" y="161"/>
                    <a:pt x="179" y="161"/>
                    <a:pt x="179" y="161"/>
                  </a:cubicBezTo>
                  <a:cubicBezTo>
                    <a:pt x="175" y="159"/>
                    <a:pt x="171" y="156"/>
                    <a:pt x="167" y="154"/>
                  </a:cubicBezTo>
                  <a:cubicBezTo>
                    <a:pt x="163" y="152"/>
                    <a:pt x="162" y="147"/>
                    <a:pt x="164" y="143"/>
                  </a:cubicBezTo>
                  <a:cubicBezTo>
                    <a:pt x="166" y="141"/>
                    <a:pt x="168" y="138"/>
                    <a:pt x="170" y="135"/>
                  </a:cubicBezTo>
                  <a:cubicBezTo>
                    <a:pt x="172" y="131"/>
                    <a:pt x="176" y="130"/>
                    <a:pt x="179" y="132"/>
                  </a:cubicBezTo>
                  <a:cubicBezTo>
                    <a:pt x="179" y="124"/>
                    <a:pt x="179" y="124"/>
                    <a:pt x="179" y="124"/>
                  </a:cubicBezTo>
                  <a:close/>
                  <a:moveTo>
                    <a:pt x="154" y="198"/>
                  </a:moveTo>
                  <a:cubicBezTo>
                    <a:pt x="154" y="177"/>
                    <a:pt x="154" y="177"/>
                    <a:pt x="154" y="177"/>
                  </a:cubicBezTo>
                  <a:cubicBezTo>
                    <a:pt x="155" y="177"/>
                    <a:pt x="157" y="177"/>
                    <a:pt x="159" y="178"/>
                  </a:cubicBezTo>
                  <a:cubicBezTo>
                    <a:pt x="164" y="181"/>
                    <a:pt x="165" y="188"/>
                    <a:pt x="162" y="193"/>
                  </a:cubicBezTo>
                  <a:cubicBezTo>
                    <a:pt x="160" y="196"/>
                    <a:pt x="157" y="198"/>
                    <a:pt x="154" y="198"/>
                  </a:cubicBezTo>
                  <a:close/>
                  <a:moveTo>
                    <a:pt x="154" y="52"/>
                  </a:moveTo>
                  <a:cubicBezTo>
                    <a:pt x="154" y="86"/>
                    <a:pt x="154" y="86"/>
                    <a:pt x="154" y="86"/>
                  </a:cubicBezTo>
                  <a:cubicBezTo>
                    <a:pt x="153" y="88"/>
                    <a:pt x="153" y="91"/>
                    <a:pt x="154" y="93"/>
                  </a:cubicBezTo>
                  <a:cubicBezTo>
                    <a:pt x="154" y="102"/>
                    <a:pt x="154" y="102"/>
                    <a:pt x="154" y="102"/>
                  </a:cubicBezTo>
                  <a:cubicBezTo>
                    <a:pt x="136" y="91"/>
                    <a:pt x="136" y="91"/>
                    <a:pt x="136" y="91"/>
                  </a:cubicBezTo>
                  <a:cubicBezTo>
                    <a:pt x="136" y="84"/>
                    <a:pt x="136" y="84"/>
                    <a:pt x="136" y="84"/>
                  </a:cubicBezTo>
                  <a:cubicBezTo>
                    <a:pt x="139" y="85"/>
                    <a:pt x="144" y="84"/>
                    <a:pt x="146" y="81"/>
                  </a:cubicBezTo>
                  <a:cubicBezTo>
                    <a:pt x="147" y="78"/>
                    <a:pt x="149" y="75"/>
                    <a:pt x="151" y="72"/>
                  </a:cubicBezTo>
                  <a:cubicBezTo>
                    <a:pt x="153" y="68"/>
                    <a:pt x="152" y="64"/>
                    <a:pt x="149" y="62"/>
                  </a:cubicBezTo>
                  <a:cubicBezTo>
                    <a:pt x="145" y="59"/>
                    <a:pt x="141" y="57"/>
                    <a:pt x="137" y="54"/>
                  </a:cubicBezTo>
                  <a:cubicBezTo>
                    <a:pt x="136" y="54"/>
                    <a:pt x="136" y="54"/>
                    <a:pt x="136" y="54"/>
                  </a:cubicBezTo>
                  <a:cubicBezTo>
                    <a:pt x="136" y="41"/>
                    <a:pt x="136" y="41"/>
                    <a:pt x="136" y="41"/>
                  </a:cubicBezTo>
                  <a:cubicBezTo>
                    <a:pt x="154" y="52"/>
                    <a:pt x="154" y="52"/>
                    <a:pt x="154" y="52"/>
                  </a:cubicBezTo>
                  <a:close/>
                  <a:moveTo>
                    <a:pt x="154" y="108"/>
                  </a:moveTo>
                  <a:cubicBezTo>
                    <a:pt x="136" y="98"/>
                    <a:pt x="136" y="98"/>
                    <a:pt x="136" y="98"/>
                  </a:cubicBezTo>
                  <a:cubicBezTo>
                    <a:pt x="136" y="115"/>
                    <a:pt x="136" y="115"/>
                    <a:pt x="136" y="115"/>
                  </a:cubicBezTo>
                  <a:cubicBezTo>
                    <a:pt x="136" y="114"/>
                    <a:pt x="136" y="114"/>
                    <a:pt x="136" y="114"/>
                  </a:cubicBezTo>
                  <a:cubicBezTo>
                    <a:pt x="139" y="111"/>
                    <a:pt x="143" y="110"/>
                    <a:pt x="147" y="112"/>
                  </a:cubicBezTo>
                  <a:cubicBezTo>
                    <a:pt x="154" y="116"/>
                    <a:pt x="154" y="116"/>
                    <a:pt x="154" y="116"/>
                  </a:cubicBezTo>
                  <a:cubicBezTo>
                    <a:pt x="154" y="108"/>
                    <a:pt x="154" y="108"/>
                    <a:pt x="154" y="108"/>
                  </a:cubicBezTo>
                  <a:close/>
                  <a:moveTo>
                    <a:pt x="154" y="141"/>
                  </a:moveTo>
                  <a:cubicBezTo>
                    <a:pt x="154" y="172"/>
                    <a:pt x="154" y="172"/>
                    <a:pt x="154" y="172"/>
                  </a:cubicBezTo>
                  <a:cubicBezTo>
                    <a:pt x="148" y="172"/>
                    <a:pt x="143" y="174"/>
                    <a:pt x="140" y="179"/>
                  </a:cubicBezTo>
                  <a:cubicBezTo>
                    <a:pt x="136" y="176"/>
                    <a:pt x="136" y="176"/>
                    <a:pt x="136" y="176"/>
                  </a:cubicBezTo>
                  <a:cubicBezTo>
                    <a:pt x="136" y="135"/>
                    <a:pt x="136" y="135"/>
                    <a:pt x="136" y="135"/>
                  </a:cubicBezTo>
                  <a:cubicBezTo>
                    <a:pt x="146" y="141"/>
                    <a:pt x="146" y="141"/>
                    <a:pt x="146" y="141"/>
                  </a:cubicBezTo>
                  <a:cubicBezTo>
                    <a:pt x="148" y="142"/>
                    <a:pt x="151" y="142"/>
                    <a:pt x="154" y="141"/>
                  </a:cubicBezTo>
                  <a:close/>
                  <a:moveTo>
                    <a:pt x="154" y="177"/>
                  </a:moveTo>
                  <a:cubicBezTo>
                    <a:pt x="150" y="177"/>
                    <a:pt x="147" y="178"/>
                    <a:pt x="145" y="182"/>
                  </a:cubicBezTo>
                  <a:cubicBezTo>
                    <a:pt x="142" y="187"/>
                    <a:pt x="143" y="193"/>
                    <a:pt x="148" y="196"/>
                  </a:cubicBezTo>
                  <a:cubicBezTo>
                    <a:pt x="150" y="197"/>
                    <a:pt x="152" y="198"/>
                    <a:pt x="154" y="198"/>
                  </a:cubicBezTo>
                  <a:lnTo>
                    <a:pt x="154" y="177"/>
                  </a:lnTo>
                  <a:close/>
                  <a:moveTo>
                    <a:pt x="136" y="41"/>
                  </a:moveTo>
                  <a:cubicBezTo>
                    <a:pt x="136" y="54"/>
                    <a:pt x="136" y="54"/>
                    <a:pt x="136" y="54"/>
                  </a:cubicBezTo>
                  <a:cubicBezTo>
                    <a:pt x="133" y="52"/>
                    <a:pt x="128" y="53"/>
                    <a:pt x="126" y="57"/>
                  </a:cubicBezTo>
                  <a:cubicBezTo>
                    <a:pt x="124" y="60"/>
                    <a:pt x="123" y="63"/>
                    <a:pt x="121" y="66"/>
                  </a:cubicBezTo>
                  <a:cubicBezTo>
                    <a:pt x="119" y="69"/>
                    <a:pt x="120" y="74"/>
                    <a:pt x="123" y="76"/>
                  </a:cubicBezTo>
                  <a:cubicBezTo>
                    <a:pt x="127" y="78"/>
                    <a:pt x="131" y="81"/>
                    <a:pt x="135" y="83"/>
                  </a:cubicBezTo>
                  <a:cubicBezTo>
                    <a:pt x="136" y="83"/>
                    <a:pt x="136" y="83"/>
                    <a:pt x="136" y="84"/>
                  </a:cubicBezTo>
                  <a:cubicBezTo>
                    <a:pt x="136" y="91"/>
                    <a:pt x="136" y="91"/>
                    <a:pt x="136" y="91"/>
                  </a:cubicBezTo>
                  <a:cubicBezTo>
                    <a:pt x="113" y="77"/>
                    <a:pt x="113" y="77"/>
                    <a:pt x="113" y="77"/>
                  </a:cubicBezTo>
                  <a:cubicBezTo>
                    <a:pt x="113" y="59"/>
                    <a:pt x="113" y="59"/>
                    <a:pt x="113" y="59"/>
                  </a:cubicBezTo>
                  <a:cubicBezTo>
                    <a:pt x="118" y="52"/>
                    <a:pt x="118" y="52"/>
                    <a:pt x="118" y="52"/>
                  </a:cubicBezTo>
                  <a:cubicBezTo>
                    <a:pt x="120" y="48"/>
                    <a:pt x="119" y="43"/>
                    <a:pt x="115" y="41"/>
                  </a:cubicBezTo>
                  <a:cubicBezTo>
                    <a:pt x="113" y="40"/>
                    <a:pt x="113" y="40"/>
                    <a:pt x="113" y="40"/>
                  </a:cubicBezTo>
                  <a:cubicBezTo>
                    <a:pt x="113" y="27"/>
                    <a:pt x="113" y="27"/>
                    <a:pt x="113" y="27"/>
                  </a:cubicBezTo>
                  <a:cubicBezTo>
                    <a:pt x="136" y="41"/>
                    <a:pt x="136" y="41"/>
                    <a:pt x="136" y="41"/>
                  </a:cubicBezTo>
                  <a:close/>
                  <a:moveTo>
                    <a:pt x="136" y="98"/>
                  </a:moveTo>
                  <a:cubicBezTo>
                    <a:pt x="113" y="84"/>
                    <a:pt x="113" y="84"/>
                    <a:pt x="113" y="84"/>
                  </a:cubicBezTo>
                  <a:cubicBezTo>
                    <a:pt x="113" y="91"/>
                    <a:pt x="113" y="91"/>
                    <a:pt x="113" y="91"/>
                  </a:cubicBezTo>
                  <a:cubicBezTo>
                    <a:pt x="113" y="91"/>
                    <a:pt x="114" y="92"/>
                    <a:pt x="114" y="92"/>
                  </a:cubicBezTo>
                  <a:cubicBezTo>
                    <a:pt x="118" y="94"/>
                    <a:pt x="122" y="97"/>
                    <a:pt x="126" y="99"/>
                  </a:cubicBezTo>
                  <a:cubicBezTo>
                    <a:pt x="129" y="101"/>
                    <a:pt x="130" y="106"/>
                    <a:pt x="128" y="109"/>
                  </a:cubicBezTo>
                  <a:cubicBezTo>
                    <a:pt x="126" y="112"/>
                    <a:pt x="125" y="115"/>
                    <a:pt x="123" y="118"/>
                  </a:cubicBezTo>
                  <a:cubicBezTo>
                    <a:pt x="121" y="121"/>
                    <a:pt x="117" y="123"/>
                    <a:pt x="113" y="121"/>
                  </a:cubicBezTo>
                  <a:cubicBezTo>
                    <a:pt x="113" y="162"/>
                    <a:pt x="113" y="162"/>
                    <a:pt x="113" y="162"/>
                  </a:cubicBezTo>
                  <a:cubicBezTo>
                    <a:pt x="119" y="166"/>
                    <a:pt x="119" y="166"/>
                    <a:pt x="119" y="166"/>
                  </a:cubicBezTo>
                  <a:cubicBezTo>
                    <a:pt x="136" y="176"/>
                    <a:pt x="136" y="176"/>
                    <a:pt x="136" y="176"/>
                  </a:cubicBezTo>
                  <a:cubicBezTo>
                    <a:pt x="136" y="135"/>
                    <a:pt x="136" y="135"/>
                    <a:pt x="136" y="135"/>
                  </a:cubicBezTo>
                  <a:cubicBezTo>
                    <a:pt x="134" y="134"/>
                    <a:pt x="134" y="134"/>
                    <a:pt x="134" y="134"/>
                  </a:cubicBezTo>
                  <a:cubicBezTo>
                    <a:pt x="130" y="131"/>
                    <a:pt x="129" y="127"/>
                    <a:pt x="131" y="123"/>
                  </a:cubicBezTo>
                  <a:cubicBezTo>
                    <a:pt x="136" y="115"/>
                    <a:pt x="136" y="115"/>
                    <a:pt x="136" y="115"/>
                  </a:cubicBezTo>
                  <a:lnTo>
                    <a:pt x="136" y="98"/>
                  </a:lnTo>
                  <a:close/>
                  <a:moveTo>
                    <a:pt x="113" y="27"/>
                  </a:moveTo>
                  <a:cubicBezTo>
                    <a:pt x="113" y="40"/>
                    <a:pt x="113" y="40"/>
                    <a:pt x="113" y="40"/>
                  </a:cubicBezTo>
                  <a:cubicBezTo>
                    <a:pt x="103" y="34"/>
                    <a:pt x="103" y="34"/>
                    <a:pt x="103" y="34"/>
                  </a:cubicBezTo>
                  <a:cubicBezTo>
                    <a:pt x="100" y="32"/>
                    <a:pt x="95" y="33"/>
                    <a:pt x="93" y="36"/>
                  </a:cubicBezTo>
                  <a:cubicBezTo>
                    <a:pt x="91" y="39"/>
                    <a:pt x="89" y="42"/>
                    <a:pt x="88" y="45"/>
                  </a:cubicBezTo>
                  <a:cubicBezTo>
                    <a:pt x="86" y="49"/>
                    <a:pt x="87" y="53"/>
                    <a:pt x="90" y="56"/>
                  </a:cubicBezTo>
                  <a:cubicBezTo>
                    <a:pt x="94" y="58"/>
                    <a:pt x="98" y="61"/>
                    <a:pt x="102" y="63"/>
                  </a:cubicBezTo>
                  <a:cubicBezTo>
                    <a:pt x="106" y="65"/>
                    <a:pt x="110" y="64"/>
                    <a:pt x="112" y="60"/>
                  </a:cubicBezTo>
                  <a:cubicBezTo>
                    <a:pt x="113" y="59"/>
                    <a:pt x="113" y="59"/>
                    <a:pt x="113" y="59"/>
                  </a:cubicBezTo>
                  <a:cubicBezTo>
                    <a:pt x="113" y="77"/>
                    <a:pt x="113" y="77"/>
                    <a:pt x="113" y="77"/>
                  </a:cubicBezTo>
                  <a:cubicBezTo>
                    <a:pt x="80" y="57"/>
                    <a:pt x="80" y="57"/>
                    <a:pt x="80" y="57"/>
                  </a:cubicBezTo>
                  <a:cubicBezTo>
                    <a:pt x="80" y="39"/>
                    <a:pt x="80" y="39"/>
                    <a:pt x="80" y="39"/>
                  </a:cubicBezTo>
                  <a:cubicBezTo>
                    <a:pt x="85" y="31"/>
                    <a:pt x="85" y="31"/>
                    <a:pt x="85" y="31"/>
                  </a:cubicBezTo>
                  <a:cubicBezTo>
                    <a:pt x="87" y="28"/>
                    <a:pt x="86" y="23"/>
                    <a:pt x="82" y="21"/>
                  </a:cubicBezTo>
                  <a:cubicBezTo>
                    <a:pt x="80" y="20"/>
                    <a:pt x="80" y="20"/>
                    <a:pt x="80" y="20"/>
                  </a:cubicBezTo>
                  <a:cubicBezTo>
                    <a:pt x="80" y="7"/>
                    <a:pt x="80" y="7"/>
                    <a:pt x="80" y="7"/>
                  </a:cubicBezTo>
                  <a:cubicBezTo>
                    <a:pt x="113" y="27"/>
                    <a:pt x="113" y="27"/>
                    <a:pt x="113" y="27"/>
                  </a:cubicBezTo>
                  <a:close/>
                  <a:moveTo>
                    <a:pt x="113" y="84"/>
                  </a:moveTo>
                  <a:cubicBezTo>
                    <a:pt x="80" y="63"/>
                    <a:pt x="80" y="63"/>
                    <a:pt x="80" y="63"/>
                  </a:cubicBezTo>
                  <a:cubicBezTo>
                    <a:pt x="80" y="71"/>
                    <a:pt x="80" y="71"/>
                    <a:pt x="80" y="71"/>
                  </a:cubicBezTo>
                  <a:cubicBezTo>
                    <a:pt x="80" y="71"/>
                    <a:pt x="80" y="71"/>
                    <a:pt x="80" y="71"/>
                  </a:cubicBezTo>
                  <a:cubicBezTo>
                    <a:pt x="85" y="74"/>
                    <a:pt x="89" y="76"/>
                    <a:pt x="93" y="79"/>
                  </a:cubicBezTo>
                  <a:cubicBezTo>
                    <a:pt x="96" y="81"/>
                    <a:pt x="97" y="85"/>
                    <a:pt x="95" y="89"/>
                  </a:cubicBezTo>
                  <a:cubicBezTo>
                    <a:pt x="93" y="92"/>
                    <a:pt x="91" y="95"/>
                    <a:pt x="90" y="98"/>
                  </a:cubicBezTo>
                  <a:cubicBezTo>
                    <a:pt x="88" y="101"/>
                    <a:pt x="83" y="102"/>
                    <a:pt x="80" y="101"/>
                  </a:cubicBezTo>
                  <a:cubicBezTo>
                    <a:pt x="80" y="142"/>
                    <a:pt x="80" y="142"/>
                    <a:pt x="80" y="142"/>
                  </a:cubicBezTo>
                  <a:cubicBezTo>
                    <a:pt x="104" y="157"/>
                    <a:pt x="104" y="157"/>
                    <a:pt x="104" y="157"/>
                  </a:cubicBezTo>
                  <a:cubicBezTo>
                    <a:pt x="105" y="158"/>
                    <a:pt x="107" y="158"/>
                    <a:pt x="108" y="159"/>
                  </a:cubicBezTo>
                  <a:cubicBezTo>
                    <a:pt x="113" y="162"/>
                    <a:pt x="113" y="162"/>
                    <a:pt x="113" y="162"/>
                  </a:cubicBezTo>
                  <a:cubicBezTo>
                    <a:pt x="113" y="121"/>
                    <a:pt x="113" y="121"/>
                    <a:pt x="113" y="121"/>
                  </a:cubicBezTo>
                  <a:cubicBezTo>
                    <a:pt x="113" y="121"/>
                    <a:pt x="113" y="121"/>
                    <a:pt x="113" y="121"/>
                  </a:cubicBezTo>
                  <a:cubicBezTo>
                    <a:pt x="109" y="118"/>
                    <a:pt x="105" y="116"/>
                    <a:pt x="100" y="113"/>
                  </a:cubicBezTo>
                  <a:cubicBezTo>
                    <a:pt x="97" y="111"/>
                    <a:pt x="96" y="107"/>
                    <a:pt x="98" y="103"/>
                  </a:cubicBezTo>
                  <a:cubicBezTo>
                    <a:pt x="100" y="100"/>
                    <a:pt x="102" y="97"/>
                    <a:pt x="103" y="94"/>
                  </a:cubicBezTo>
                  <a:cubicBezTo>
                    <a:pt x="106" y="91"/>
                    <a:pt x="110" y="90"/>
                    <a:pt x="113" y="91"/>
                  </a:cubicBezTo>
                  <a:lnTo>
                    <a:pt x="113" y="84"/>
                  </a:lnTo>
                  <a:close/>
                  <a:moveTo>
                    <a:pt x="61" y="118"/>
                  </a:moveTo>
                  <a:cubicBezTo>
                    <a:pt x="66" y="122"/>
                    <a:pt x="68" y="128"/>
                    <a:pt x="65" y="133"/>
                  </a:cubicBezTo>
                  <a:cubicBezTo>
                    <a:pt x="63" y="136"/>
                    <a:pt x="59" y="138"/>
                    <a:pt x="56" y="138"/>
                  </a:cubicBezTo>
                  <a:cubicBezTo>
                    <a:pt x="56" y="117"/>
                    <a:pt x="56" y="117"/>
                    <a:pt x="56" y="117"/>
                  </a:cubicBezTo>
                  <a:cubicBezTo>
                    <a:pt x="58" y="117"/>
                    <a:pt x="59" y="117"/>
                    <a:pt x="61" y="118"/>
                  </a:cubicBezTo>
                  <a:close/>
                  <a:moveTo>
                    <a:pt x="80" y="7"/>
                  </a:moveTo>
                  <a:cubicBezTo>
                    <a:pt x="80" y="20"/>
                    <a:pt x="80" y="20"/>
                    <a:pt x="80" y="20"/>
                  </a:cubicBezTo>
                  <a:cubicBezTo>
                    <a:pt x="70" y="14"/>
                    <a:pt x="70" y="14"/>
                    <a:pt x="70" y="14"/>
                  </a:cubicBezTo>
                  <a:cubicBezTo>
                    <a:pt x="67" y="12"/>
                    <a:pt x="62" y="13"/>
                    <a:pt x="60" y="16"/>
                  </a:cubicBezTo>
                  <a:cubicBezTo>
                    <a:pt x="56" y="23"/>
                    <a:pt x="56" y="23"/>
                    <a:pt x="56" y="23"/>
                  </a:cubicBezTo>
                  <a:cubicBezTo>
                    <a:pt x="56" y="5"/>
                    <a:pt x="56" y="5"/>
                    <a:pt x="56" y="5"/>
                  </a:cubicBezTo>
                  <a:cubicBezTo>
                    <a:pt x="61" y="1"/>
                    <a:pt x="69" y="0"/>
                    <a:pt x="76" y="4"/>
                  </a:cubicBezTo>
                  <a:cubicBezTo>
                    <a:pt x="80" y="7"/>
                    <a:pt x="80" y="7"/>
                    <a:pt x="80" y="7"/>
                  </a:cubicBezTo>
                  <a:close/>
                  <a:moveTo>
                    <a:pt x="80" y="39"/>
                  </a:moveTo>
                  <a:cubicBezTo>
                    <a:pt x="80" y="57"/>
                    <a:pt x="80" y="57"/>
                    <a:pt x="80" y="57"/>
                  </a:cubicBezTo>
                  <a:cubicBezTo>
                    <a:pt x="56" y="42"/>
                    <a:pt x="56" y="42"/>
                    <a:pt x="56" y="42"/>
                  </a:cubicBezTo>
                  <a:cubicBezTo>
                    <a:pt x="56" y="34"/>
                    <a:pt x="56" y="34"/>
                    <a:pt x="56" y="34"/>
                  </a:cubicBezTo>
                  <a:cubicBezTo>
                    <a:pt x="56" y="35"/>
                    <a:pt x="56" y="35"/>
                    <a:pt x="57" y="35"/>
                  </a:cubicBezTo>
                  <a:cubicBezTo>
                    <a:pt x="61" y="38"/>
                    <a:pt x="65" y="40"/>
                    <a:pt x="69" y="43"/>
                  </a:cubicBezTo>
                  <a:cubicBezTo>
                    <a:pt x="73" y="45"/>
                    <a:pt x="77" y="44"/>
                    <a:pt x="79" y="40"/>
                  </a:cubicBezTo>
                  <a:cubicBezTo>
                    <a:pt x="80" y="39"/>
                    <a:pt x="80" y="39"/>
                    <a:pt x="80" y="39"/>
                  </a:cubicBezTo>
                  <a:close/>
                  <a:moveTo>
                    <a:pt x="80" y="63"/>
                  </a:moveTo>
                  <a:cubicBezTo>
                    <a:pt x="56" y="49"/>
                    <a:pt x="56" y="49"/>
                    <a:pt x="56" y="49"/>
                  </a:cubicBezTo>
                  <a:cubicBezTo>
                    <a:pt x="56" y="56"/>
                    <a:pt x="56" y="56"/>
                    <a:pt x="56" y="56"/>
                  </a:cubicBezTo>
                  <a:cubicBezTo>
                    <a:pt x="58" y="58"/>
                    <a:pt x="58" y="58"/>
                    <a:pt x="58" y="58"/>
                  </a:cubicBezTo>
                  <a:cubicBezTo>
                    <a:pt x="62" y="60"/>
                    <a:pt x="64" y="65"/>
                    <a:pt x="62" y="69"/>
                  </a:cubicBezTo>
                  <a:cubicBezTo>
                    <a:pt x="56" y="79"/>
                    <a:pt x="56" y="79"/>
                    <a:pt x="56" y="79"/>
                  </a:cubicBezTo>
                  <a:cubicBezTo>
                    <a:pt x="56" y="112"/>
                    <a:pt x="56" y="112"/>
                    <a:pt x="56" y="112"/>
                  </a:cubicBezTo>
                  <a:cubicBezTo>
                    <a:pt x="59" y="112"/>
                    <a:pt x="61" y="113"/>
                    <a:pt x="64" y="114"/>
                  </a:cubicBezTo>
                  <a:cubicBezTo>
                    <a:pt x="71" y="119"/>
                    <a:pt x="73" y="128"/>
                    <a:pt x="69" y="136"/>
                  </a:cubicBezTo>
                  <a:cubicBezTo>
                    <a:pt x="80" y="142"/>
                    <a:pt x="80" y="142"/>
                    <a:pt x="80" y="142"/>
                  </a:cubicBezTo>
                  <a:cubicBezTo>
                    <a:pt x="80" y="101"/>
                    <a:pt x="80" y="101"/>
                    <a:pt x="80" y="101"/>
                  </a:cubicBezTo>
                  <a:cubicBezTo>
                    <a:pt x="80" y="101"/>
                    <a:pt x="80" y="100"/>
                    <a:pt x="79" y="100"/>
                  </a:cubicBezTo>
                  <a:cubicBezTo>
                    <a:pt x="75" y="98"/>
                    <a:pt x="71" y="95"/>
                    <a:pt x="67" y="93"/>
                  </a:cubicBezTo>
                  <a:cubicBezTo>
                    <a:pt x="64" y="91"/>
                    <a:pt x="63" y="86"/>
                    <a:pt x="65" y="83"/>
                  </a:cubicBezTo>
                  <a:cubicBezTo>
                    <a:pt x="67" y="80"/>
                    <a:pt x="68" y="77"/>
                    <a:pt x="70" y="74"/>
                  </a:cubicBezTo>
                  <a:cubicBezTo>
                    <a:pt x="72" y="71"/>
                    <a:pt x="77" y="69"/>
                    <a:pt x="80" y="71"/>
                  </a:cubicBezTo>
                  <a:lnTo>
                    <a:pt x="80" y="63"/>
                  </a:lnTo>
                  <a:close/>
                  <a:moveTo>
                    <a:pt x="56" y="138"/>
                  </a:moveTo>
                  <a:cubicBezTo>
                    <a:pt x="54" y="138"/>
                    <a:pt x="52" y="137"/>
                    <a:pt x="50" y="136"/>
                  </a:cubicBezTo>
                  <a:cubicBezTo>
                    <a:pt x="45" y="133"/>
                    <a:pt x="44" y="127"/>
                    <a:pt x="47" y="122"/>
                  </a:cubicBezTo>
                  <a:cubicBezTo>
                    <a:pt x="49" y="119"/>
                    <a:pt x="52" y="117"/>
                    <a:pt x="56" y="117"/>
                  </a:cubicBezTo>
                  <a:cubicBezTo>
                    <a:pt x="56" y="138"/>
                    <a:pt x="56" y="138"/>
                    <a:pt x="56" y="138"/>
                  </a:cubicBezTo>
                  <a:close/>
                  <a:moveTo>
                    <a:pt x="56" y="5"/>
                  </a:moveTo>
                  <a:cubicBezTo>
                    <a:pt x="56" y="23"/>
                    <a:pt x="56" y="23"/>
                    <a:pt x="56" y="23"/>
                  </a:cubicBezTo>
                  <a:cubicBezTo>
                    <a:pt x="54" y="25"/>
                    <a:pt x="54" y="25"/>
                    <a:pt x="54" y="25"/>
                  </a:cubicBezTo>
                  <a:cubicBezTo>
                    <a:pt x="53" y="28"/>
                    <a:pt x="53" y="32"/>
                    <a:pt x="56" y="34"/>
                  </a:cubicBezTo>
                  <a:cubicBezTo>
                    <a:pt x="56" y="42"/>
                    <a:pt x="56" y="42"/>
                    <a:pt x="56" y="42"/>
                  </a:cubicBezTo>
                  <a:cubicBezTo>
                    <a:pt x="47" y="37"/>
                    <a:pt x="47" y="37"/>
                    <a:pt x="47" y="37"/>
                  </a:cubicBezTo>
                  <a:cubicBezTo>
                    <a:pt x="46" y="39"/>
                    <a:pt x="45" y="40"/>
                    <a:pt x="44" y="42"/>
                  </a:cubicBezTo>
                  <a:cubicBezTo>
                    <a:pt x="56" y="49"/>
                    <a:pt x="56" y="49"/>
                    <a:pt x="56" y="49"/>
                  </a:cubicBezTo>
                  <a:cubicBezTo>
                    <a:pt x="56" y="56"/>
                    <a:pt x="56" y="56"/>
                    <a:pt x="56" y="56"/>
                  </a:cubicBezTo>
                  <a:cubicBezTo>
                    <a:pt x="48" y="52"/>
                    <a:pt x="48" y="52"/>
                    <a:pt x="48" y="52"/>
                  </a:cubicBezTo>
                  <a:cubicBezTo>
                    <a:pt x="44" y="49"/>
                    <a:pt x="39" y="50"/>
                    <a:pt x="37" y="54"/>
                  </a:cubicBezTo>
                  <a:cubicBezTo>
                    <a:pt x="28" y="69"/>
                    <a:pt x="18" y="84"/>
                    <a:pt x="9" y="99"/>
                  </a:cubicBezTo>
                  <a:cubicBezTo>
                    <a:pt x="6" y="97"/>
                    <a:pt x="3" y="95"/>
                    <a:pt x="0" y="94"/>
                  </a:cubicBezTo>
                  <a:cubicBezTo>
                    <a:pt x="18" y="65"/>
                    <a:pt x="35" y="37"/>
                    <a:pt x="52" y="9"/>
                  </a:cubicBezTo>
                  <a:cubicBezTo>
                    <a:pt x="53" y="7"/>
                    <a:pt x="54" y="6"/>
                    <a:pt x="56" y="5"/>
                  </a:cubicBezTo>
                  <a:close/>
                  <a:moveTo>
                    <a:pt x="56" y="79"/>
                  </a:moveTo>
                  <a:cubicBezTo>
                    <a:pt x="34" y="114"/>
                    <a:pt x="34" y="114"/>
                    <a:pt x="34" y="114"/>
                  </a:cubicBezTo>
                  <a:cubicBezTo>
                    <a:pt x="37" y="116"/>
                    <a:pt x="40" y="118"/>
                    <a:pt x="42" y="119"/>
                  </a:cubicBezTo>
                  <a:cubicBezTo>
                    <a:pt x="45" y="115"/>
                    <a:pt x="51" y="112"/>
                    <a:pt x="56" y="112"/>
                  </a:cubicBezTo>
                  <a:lnTo>
                    <a:pt x="56" y="79"/>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2" name="îsļîḓe">
              <a:extLst>
                <a:ext uri="{FF2B5EF4-FFF2-40B4-BE49-F238E27FC236}">
                  <a16:creationId xmlns:a16="http://schemas.microsoft.com/office/drawing/2014/main" id="{4FC67555-2BA4-4859-B72C-0CF76A4BCEFD}"/>
                </a:ext>
              </a:extLst>
            </p:cNvPr>
            <p:cNvSpPr/>
            <p:nvPr/>
          </p:nvSpPr>
          <p:spPr bwMode="auto">
            <a:xfrm flipH="1">
              <a:off x="4093122" y="2428851"/>
              <a:ext cx="192474" cy="313721"/>
            </a:xfrm>
            <a:custGeom>
              <a:avLst/>
              <a:gdLst>
                <a:gd name="T0" fmla="*/ 96 w 115"/>
                <a:gd name="T1" fmla="*/ 192 h 192"/>
                <a:gd name="T2" fmla="*/ 110 w 115"/>
                <a:gd name="T3" fmla="*/ 187 h 192"/>
                <a:gd name="T4" fmla="*/ 84 w 115"/>
                <a:gd name="T5" fmla="*/ 107 h 192"/>
                <a:gd name="T6" fmla="*/ 92 w 115"/>
                <a:gd name="T7" fmla="*/ 106 h 192"/>
                <a:gd name="T8" fmla="*/ 108 w 115"/>
                <a:gd name="T9" fmla="*/ 80 h 192"/>
                <a:gd name="T10" fmla="*/ 98 w 115"/>
                <a:gd name="T11" fmla="*/ 66 h 192"/>
                <a:gd name="T12" fmla="*/ 112 w 115"/>
                <a:gd name="T13" fmla="*/ 33 h 192"/>
                <a:gd name="T14" fmla="*/ 75 w 115"/>
                <a:gd name="T15" fmla="*/ 12 h 192"/>
                <a:gd name="T16" fmla="*/ 66 w 115"/>
                <a:gd name="T17" fmla="*/ 16 h 192"/>
                <a:gd name="T18" fmla="*/ 34 w 115"/>
                <a:gd name="T19" fmla="*/ 4 h 192"/>
                <a:gd name="T20" fmla="*/ 13 w 115"/>
                <a:gd name="T21" fmla="*/ 40 h 192"/>
                <a:gd name="T22" fmla="*/ 16 w 115"/>
                <a:gd name="T23" fmla="*/ 48 h 192"/>
                <a:gd name="T24" fmla="*/ 3 w 115"/>
                <a:gd name="T25" fmla="*/ 74 h 192"/>
                <a:gd name="T26" fmla="*/ 24 w 115"/>
                <a:gd name="T27" fmla="*/ 91 h 192"/>
                <a:gd name="T28" fmla="*/ 21 w 115"/>
                <a:gd name="T29" fmla="*/ 112 h 192"/>
                <a:gd name="T30" fmla="*/ 57 w 115"/>
                <a:gd name="T31" fmla="*/ 133 h 192"/>
                <a:gd name="T32" fmla="*/ 73 w 115"/>
                <a:gd name="T33" fmla="*/ 122 h 192"/>
                <a:gd name="T34" fmla="*/ 96 w 115"/>
                <a:gd name="T3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92">
                  <a:moveTo>
                    <a:pt x="96" y="192"/>
                  </a:moveTo>
                  <a:cubicBezTo>
                    <a:pt x="101" y="190"/>
                    <a:pt x="106" y="189"/>
                    <a:pt x="110" y="187"/>
                  </a:cubicBezTo>
                  <a:cubicBezTo>
                    <a:pt x="84" y="107"/>
                    <a:pt x="84" y="107"/>
                    <a:pt x="84" y="107"/>
                  </a:cubicBezTo>
                  <a:cubicBezTo>
                    <a:pt x="87" y="107"/>
                    <a:pt x="90" y="107"/>
                    <a:pt x="92" y="106"/>
                  </a:cubicBezTo>
                  <a:cubicBezTo>
                    <a:pt x="104" y="103"/>
                    <a:pt x="111" y="91"/>
                    <a:pt x="108" y="80"/>
                  </a:cubicBezTo>
                  <a:cubicBezTo>
                    <a:pt x="106" y="74"/>
                    <a:pt x="103" y="69"/>
                    <a:pt x="98" y="66"/>
                  </a:cubicBezTo>
                  <a:cubicBezTo>
                    <a:pt x="109" y="60"/>
                    <a:pt x="115" y="46"/>
                    <a:pt x="112" y="33"/>
                  </a:cubicBezTo>
                  <a:cubicBezTo>
                    <a:pt x="107" y="17"/>
                    <a:pt x="91" y="8"/>
                    <a:pt x="75" y="12"/>
                  </a:cubicBezTo>
                  <a:cubicBezTo>
                    <a:pt x="72" y="13"/>
                    <a:pt x="69" y="15"/>
                    <a:pt x="66" y="16"/>
                  </a:cubicBezTo>
                  <a:cubicBezTo>
                    <a:pt x="59" y="6"/>
                    <a:pt x="46" y="0"/>
                    <a:pt x="34" y="4"/>
                  </a:cubicBezTo>
                  <a:cubicBezTo>
                    <a:pt x="18" y="8"/>
                    <a:pt x="8" y="24"/>
                    <a:pt x="13" y="40"/>
                  </a:cubicBezTo>
                  <a:cubicBezTo>
                    <a:pt x="13" y="43"/>
                    <a:pt x="15" y="46"/>
                    <a:pt x="16" y="48"/>
                  </a:cubicBezTo>
                  <a:cubicBezTo>
                    <a:pt x="6" y="52"/>
                    <a:pt x="0" y="63"/>
                    <a:pt x="3" y="74"/>
                  </a:cubicBezTo>
                  <a:cubicBezTo>
                    <a:pt x="5" y="84"/>
                    <a:pt x="14" y="90"/>
                    <a:pt x="24" y="91"/>
                  </a:cubicBezTo>
                  <a:cubicBezTo>
                    <a:pt x="20" y="97"/>
                    <a:pt x="19" y="105"/>
                    <a:pt x="21" y="112"/>
                  </a:cubicBezTo>
                  <a:cubicBezTo>
                    <a:pt x="25" y="128"/>
                    <a:pt x="42" y="137"/>
                    <a:pt x="57" y="133"/>
                  </a:cubicBezTo>
                  <a:cubicBezTo>
                    <a:pt x="64" y="131"/>
                    <a:pt x="70" y="127"/>
                    <a:pt x="73" y="122"/>
                  </a:cubicBezTo>
                  <a:lnTo>
                    <a:pt x="96" y="192"/>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3" name="iśľíḑé">
              <a:extLst>
                <a:ext uri="{FF2B5EF4-FFF2-40B4-BE49-F238E27FC236}">
                  <a16:creationId xmlns:a16="http://schemas.microsoft.com/office/drawing/2014/main" id="{BE41C884-FE54-4FEE-8BE3-D8003A05F68B}"/>
                </a:ext>
              </a:extLst>
            </p:cNvPr>
            <p:cNvSpPr/>
            <p:nvPr/>
          </p:nvSpPr>
          <p:spPr bwMode="auto">
            <a:xfrm flipH="1">
              <a:off x="2687545" y="2398392"/>
              <a:ext cx="212241" cy="327935"/>
            </a:xfrm>
            <a:custGeom>
              <a:avLst/>
              <a:gdLst>
                <a:gd name="T0" fmla="*/ 29 w 127"/>
                <a:gd name="T1" fmla="*/ 198 h 201"/>
                <a:gd name="T2" fmla="*/ 44 w 127"/>
                <a:gd name="T3" fmla="*/ 201 h 201"/>
                <a:gd name="T4" fmla="*/ 61 w 127"/>
                <a:gd name="T5" fmla="*/ 119 h 201"/>
                <a:gd name="T6" fmla="*/ 69 w 127"/>
                <a:gd name="T7" fmla="*/ 123 h 201"/>
                <a:gd name="T8" fmla="*/ 96 w 127"/>
                <a:gd name="T9" fmla="*/ 107 h 201"/>
                <a:gd name="T10" fmla="*/ 94 w 127"/>
                <a:gd name="T11" fmla="*/ 91 h 201"/>
                <a:gd name="T12" fmla="*/ 122 w 127"/>
                <a:gd name="T13" fmla="*/ 69 h 201"/>
                <a:gd name="T14" fmla="*/ 102 w 127"/>
                <a:gd name="T15" fmla="*/ 33 h 201"/>
                <a:gd name="T16" fmla="*/ 92 w 127"/>
                <a:gd name="T17" fmla="*/ 32 h 201"/>
                <a:gd name="T18" fmla="*/ 70 w 127"/>
                <a:gd name="T19" fmla="*/ 5 h 201"/>
                <a:gd name="T20" fmla="*/ 33 w 127"/>
                <a:gd name="T21" fmla="*/ 25 h 201"/>
                <a:gd name="T22" fmla="*/ 32 w 127"/>
                <a:gd name="T23" fmla="*/ 34 h 201"/>
                <a:gd name="T24" fmla="*/ 8 w 127"/>
                <a:gd name="T25" fmla="*/ 50 h 201"/>
                <a:gd name="T26" fmla="*/ 17 w 127"/>
                <a:gd name="T27" fmla="*/ 74 h 201"/>
                <a:gd name="T28" fmla="*/ 5 w 127"/>
                <a:gd name="T29" fmla="*/ 92 h 201"/>
                <a:gd name="T30" fmla="*/ 25 w 127"/>
                <a:gd name="T31" fmla="*/ 128 h 201"/>
                <a:gd name="T32" fmla="*/ 44 w 127"/>
                <a:gd name="T33" fmla="*/ 127 h 201"/>
                <a:gd name="T34" fmla="*/ 29 w 127"/>
                <a:gd name="T3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201">
                  <a:moveTo>
                    <a:pt x="29" y="198"/>
                  </a:moveTo>
                  <a:cubicBezTo>
                    <a:pt x="34" y="199"/>
                    <a:pt x="39" y="200"/>
                    <a:pt x="44" y="201"/>
                  </a:cubicBezTo>
                  <a:cubicBezTo>
                    <a:pt x="61" y="119"/>
                    <a:pt x="61" y="119"/>
                    <a:pt x="61" y="119"/>
                  </a:cubicBezTo>
                  <a:cubicBezTo>
                    <a:pt x="63" y="121"/>
                    <a:pt x="66" y="122"/>
                    <a:pt x="69" y="123"/>
                  </a:cubicBezTo>
                  <a:cubicBezTo>
                    <a:pt x="81" y="126"/>
                    <a:pt x="93" y="119"/>
                    <a:pt x="96" y="107"/>
                  </a:cubicBezTo>
                  <a:cubicBezTo>
                    <a:pt x="97" y="102"/>
                    <a:pt x="96" y="96"/>
                    <a:pt x="94" y="91"/>
                  </a:cubicBezTo>
                  <a:cubicBezTo>
                    <a:pt x="107" y="91"/>
                    <a:pt x="119" y="82"/>
                    <a:pt x="122" y="69"/>
                  </a:cubicBezTo>
                  <a:cubicBezTo>
                    <a:pt x="127" y="53"/>
                    <a:pt x="117" y="37"/>
                    <a:pt x="102" y="33"/>
                  </a:cubicBezTo>
                  <a:cubicBezTo>
                    <a:pt x="98" y="32"/>
                    <a:pt x="95" y="32"/>
                    <a:pt x="92" y="32"/>
                  </a:cubicBezTo>
                  <a:cubicBezTo>
                    <a:pt x="91" y="19"/>
                    <a:pt x="82" y="8"/>
                    <a:pt x="70" y="5"/>
                  </a:cubicBezTo>
                  <a:cubicBezTo>
                    <a:pt x="54" y="0"/>
                    <a:pt x="38" y="10"/>
                    <a:pt x="33" y="25"/>
                  </a:cubicBezTo>
                  <a:cubicBezTo>
                    <a:pt x="33" y="28"/>
                    <a:pt x="32" y="31"/>
                    <a:pt x="32" y="34"/>
                  </a:cubicBezTo>
                  <a:cubicBezTo>
                    <a:pt x="21" y="32"/>
                    <a:pt x="11" y="39"/>
                    <a:pt x="8" y="50"/>
                  </a:cubicBezTo>
                  <a:cubicBezTo>
                    <a:pt x="5" y="60"/>
                    <a:pt x="9" y="70"/>
                    <a:pt x="17" y="74"/>
                  </a:cubicBezTo>
                  <a:cubicBezTo>
                    <a:pt x="11" y="78"/>
                    <a:pt x="7" y="84"/>
                    <a:pt x="5" y="92"/>
                  </a:cubicBezTo>
                  <a:cubicBezTo>
                    <a:pt x="0" y="108"/>
                    <a:pt x="10" y="124"/>
                    <a:pt x="25" y="128"/>
                  </a:cubicBezTo>
                  <a:cubicBezTo>
                    <a:pt x="32" y="130"/>
                    <a:pt x="39" y="129"/>
                    <a:pt x="44" y="127"/>
                  </a:cubicBezTo>
                  <a:lnTo>
                    <a:pt x="29" y="198"/>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4" name="î$ļîďé">
              <a:extLst>
                <a:ext uri="{FF2B5EF4-FFF2-40B4-BE49-F238E27FC236}">
                  <a16:creationId xmlns:a16="http://schemas.microsoft.com/office/drawing/2014/main" id="{007815A0-BA5C-4885-9F59-BA8B155D3F3A}"/>
                </a:ext>
              </a:extLst>
            </p:cNvPr>
            <p:cNvSpPr/>
            <p:nvPr/>
          </p:nvSpPr>
          <p:spPr bwMode="auto">
            <a:xfrm flipH="1">
              <a:off x="4364667" y="2417683"/>
              <a:ext cx="781339" cy="764504"/>
            </a:xfrm>
            <a:custGeom>
              <a:avLst/>
              <a:gdLst>
                <a:gd name="T0" fmla="*/ 389 w 467"/>
                <a:gd name="T1" fmla="*/ 390 h 468"/>
                <a:gd name="T2" fmla="*/ 404 w 467"/>
                <a:gd name="T3" fmla="*/ 326 h 468"/>
                <a:gd name="T4" fmla="*/ 376 w 467"/>
                <a:gd name="T5" fmla="*/ 333 h 468"/>
                <a:gd name="T6" fmla="*/ 375 w 467"/>
                <a:gd name="T7" fmla="*/ 404 h 468"/>
                <a:gd name="T8" fmla="*/ 367 w 467"/>
                <a:gd name="T9" fmla="*/ 362 h 468"/>
                <a:gd name="T10" fmla="*/ 361 w 467"/>
                <a:gd name="T11" fmla="*/ 369 h 468"/>
                <a:gd name="T12" fmla="*/ 358 w 467"/>
                <a:gd name="T13" fmla="*/ 350 h 468"/>
                <a:gd name="T14" fmla="*/ 353 w 467"/>
                <a:gd name="T15" fmla="*/ 305 h 468"/>
                <a:gd name="T16" fmla="*/ 347 w 467"/>
                <a:gd name="T17" fmla="*/ 312 h 468"/>
                <a:gd name="T18" fmla="*/ 352 w 467"/>
                <a:gd name="T19" fmla="*/ 356 h 468"/>
                <a:gd name="T20" fmla="*/ 331 w 467"/>
                <a:gd name="T21" fmla="*/ 327 h 468"/>
                <a:gd name="T22" fmla="*/ 317 w 467"/>
                <a:gd name="T23" fmla="*/ 271 h 468"/>
                <a:gd name="T24" fmla="*/ 317 w 467"/>
                <a:gd name="T25" fmla="*/ 412 h 468"/>
                <a:gd name="T26" fmla="*/ 308 w 467"/>
                <a:gd name="T27" fmla="*/ 258 h 468"/>
                <a:gd name="T28" fmla="*/ 301 w 467"/>
                <a:gd name="T29" fmla="*/ 265 h 468"/>
                <a:gd name="T30" fmla="*/ 295 w 467"/>
                <a:gd name="T31" fmla="*/ 341 h 468"/>
                <a:gd name="T32" fmla="*/ 290 w 467"/>
                <a:gd name="T33" fmla="*/ 347 h 468"/>
                <a:gd name="T34" fmla="*/ 287 w 467"/>
                <a:gd name="T35" fmla="*/ 208 h 468"/>
                <a:gd name="T36" fmla="*/ 281 w 467"/>
                <a:gd name="T37" fmla="*/ 235 h 468"/>
                <a:gd name="T38" fmla="*/ 274 w 467"/>
                <a:gd name="T39" fmla="*/ 313 h 468"/>
                <a:gd name="T40" fmla="*/ 264 w 467"/>
                <a:gd name="T41" fmla="*/ 230 h 468"/>
                <a:gd name="T42" fmla="*/ 246 w 467"/>
                <a:gd name="T43" fmla="*/ 249 h 468"/>
                <a:gd name="T44" fmla="*/ 268 w 467"/>
                <a:gd name="T45" fmla="*/ 319 h 468"/>
                <a:gd name="T46" fmla="*/ 258 w 467"/>
                <a:gd name="T47" fmla="*/ 307 h 468"/>
                <a:gd name="T48" fmla="*/ 233 w 467"/>
                <a:gd name="T49" fmla="*/ 289 h 468"/>
                <a:gd name="T50" fmla="*/ 237 w 467"/>
                <a:gd name="T51" fmla="*/ 187 h 468"/>
                <a:gd name="T52" fmla="*/ 236 w 467"/>
                <a:gd name="T53" fmla="*/ 280 h 468"/>
                <a:gd name="T54" fmla="*/ 233 w 467"/>
                <a:gd name="T55" fmla="*/ 141 h 468"/>
                <a:gd name="T56" fmla="*/ 216 w 467"/>
                <a:gd name="T57" fmla="*/ 136 h 468"/>
                <a:gd name="T58" fmla="*/ 221 w 467"/>
                <a:gd name="T59" fmla="*/ 223 h 468"/>
                <a:gd name="T60" fmla="*/ 211 w 467"/>
                <a:gd name="T61" fmla="*/ 213 h 468"/>
                <a:gd name="T62" fmla="*/ 230 w 467"/>
                <a:gd name="T63" fmla="*/ 194 h 468"/>
                <a:gd name="T64" fmla="*/ 227 w 467"/>
                <a:gd name="T65" fmla="*/ 267 h 468"/>
                <a:gd name="T66" fmla="*/ 220 w 467"/>
                <a:gd name="T67" fmla="*/ 274 h 468"/>
                <a:gd name="T68" fmla="*/ 198 w 467"/>
                <a:gd name="T69" fmla="*/ 105 h 468"/>
                <a:gd name="T70" fmla="*/ 205 w 467"/>
                <a:gd name="T71" fmla="*/ 240 h 468"/>
                <a:gd name="T72" fmla="*/ 198 w 467"/>
                <a:gd name="T73" fmla="*/ 247 h 468"/>
                <a:gd name="T74" fmla="*/ 191 w 467"/>
                <a:gd name="T75" fmla="*/ 183 h 468"/>
                <a:gd name="T76" fmla="*/ 197 w 467"/>
                <a:gd name="T77" fmla="*/ 248 h 468"/>
                <a:gd name="T78" fmla="*/ 185 w 467"/>
                <a:gd name="T79" fmla="*/ 189 h 468"/>
                <a:gd name="T80" fmla="*/ 175 w 467"/>
                <a:gd name="T81" fmla="*/ 304 h 468"/>
                <a:gd name="T82" fmla="*/ 168 w 467"/>
                <a:gd name="T83" fmla="*/ 113 h 468"/>
                <a:gd name="T84" fmla="*/ 161 w 467"/>
                <a:gd name="T85" fmla="*/ 120 h 468"/>
                <a:gd name="T86" fmla="*/ 155 w 467"/>
                <a:gd name="T87" fmla="*/ 197 h 468"/>
                <a:gd name="T88" fmla="*/ 143 w 467"/>
                <a:gd name="T89" fmla="*/ 88 h 468"/>
                <a:gd name="T90" fmla="*/ 152 w 467"/>
                <a:gd name="T91" fmla="*/ 187 h 468"/>
                <a:gd name="T92" fmla="*/ 145 w 467"/>
                <a:gd name="T93" fmla="*/ 136 h 468"/>
                <a:gd name="T94" fmla="*/ 127 w 467"/>
                <a:gd name="T95" fmla="*/ 225 h 468"/>
                <a:gd name="T96" fmla="*/ 133 w 467"/>
                <a:gd name="T97" fmla="*/ 98 h 468"/>
                <a:gd name="T98" fmla="*/ 127 w 467"/>
                <a:gd name="T99" fmla="*/ 46 h 468"/>
                <a:gd name="T100" fmla="*/ 128 w 467"/>
                <a:gd name="T101" fmla="*/ 174 h 468"/>
                <a:gd name="T102" fmla="*/ 121 w 467"/>
                <a:gd name="T103" fmla="*/ 110 h 468"/>
                <a:gd name="T104" fmla="*/ 126 w 467"/>
                <a:gd name="T105" fmla="*/ 84 h 468"/>
                <a:gd name="T106" fmla="*/ 117 w 467"/>
                <a:gd name="T107" fmla="*/ 217 h 468"/>
                <a:gd name="T108" fmla="*/ 114 w 467"/>
                <a:gd name="T109" fmla="*/ 118 h 468"/>
                <a:gd name="T110" fmla="*/ 109 w 467"/>
                <a:gd name="T111" fmla="*/ 101 h 468"/>
                <a:gd name="T112" fmla="*/ 103 w 467"/>
                <a:gd name="T113" fmla="*/ 57 h 468"/>
                <a:gd name="T114" fmla="*/ 101 w 467"/>
                <a:gd name="T115" fmla="*/ 109 h 468"/>
                <a:gd name="T116" fmla="*/ 85 w 467"/>
                <a:gd name="T117" fmla="*/ 75 h 468"/>
                <a:gd name="T118" fmla="*/ 84 w 467"/>
                <a:gd name="T119" fmla="*/ 126 h 468"/>
                <a:gd name="T120" fmla="*/ 80 w 467"/>
                <a:gd name="T121" fmla="*/ 81 h 468"/>
                <a:gd name="T122" fmla="*/ 60 w 467"/>
                <a:gd name="T123" fmla="*/ 99 h 468"/>
                <a:gd name="T124" fmla="*/ 54 w 467"/>
                <a:gd name="T125" fmla="*/ 1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7" h="468">
                  <a:moveTo>
                    <a:pt x="467" y="341"/>
                  </a:moveTo>
                  <a:cubicBezTo>
                    <a:pt x="421" y="386"/>
                    <a:pt x="421" y="386"/>
                    <a:pt x="421" y="386"/>
                  </a:cubicBezTo>
                  <a:cubicBezTo>
                    <a:pt x="421" y="343"/>
                    <a:pt x="421" y="343"/>
                    <a:pt x="421" y="343"/>
                  </a:cubicBezTo>
                  <a:cubicBezTo>
                    <a:pt x="429" y="351"/>
                    <a:pt x="429" y="351"/>
                    <a:pt x="429" y="351"/>
                  </a:cubicBezTo>
                  <a:cubicBezTo>
                    <a:pt x="432" y="347"/>
                    <a:pt x="435" y="344"/>
                    <a:pt x="439" y="341"/>
                  </a:cubicBezTo>
                  <a:cubicBezTo>
                    <a:pt x="421" y="323"/>
                    <a:pt x="421" y="323"/>
                    <a:pt x="421" y="323"/>
                  </a:cubicBezTo>
                  <a:cubicBezTo>
                    <a:pt x="421" y="295"/>
                    <a:pt x="421" y="295"/>
                    <a:pt x="421" y="295"/>
                  </a:cubicBezTo>
                  <a:lnTo>
                    <a:pt x="467" y="341"/>
                  </a:lnTo>
                  <a:close/>
                  <a:moveTo>
                    <a:pt x="421" y="386"/>
                  </a:moveTo>
                  <a:cubicBezTo>
                    <a:pt x="410" y="397"/>
                    <a:pt x="410" y="397"/>
                    <a:pt x="410" y="397"/>
                  </a:cubicBezTo>
                  <a:cubicBezTo>
                    <a:pt x="410" y="369"/>
                    <a:pt x="410" y="369"/>
                    <a:pt x="410" y="369"/>
                  </a:cubicBezTo>
                  <a:cubicBezTo>
                    <a:pt x="416" y="363"/>
                    <a:pt x="416" y="363"/>
                    <a:pt x="416" y="363"/>
                  </a:cubicBezTo>
                  <a:cubicBezTo>
                    <a:pt x="410" y="357"/>
                    <a:pt x="410" y="357"/>
                    <a:pt x="410" y="357"/>
                  </a:cubicBezTo>
                  <a:cubicBezTo>
                    <a:pt x="410" y="332"/>
                    <a:pt x="410" y="332"/>
                    <a:pt x="410" y="332"/>
                  </a:cubicBezTo>
                  <a:cubicBezTo>
                    <a:pt x="421" y="343"/>
                    <a:pt x="421" y="343"/>
                    <a:pt x="421" y="343"/>
                  </a:cubicBezTo>
                  <a:cubicBezTo>
                    <a:pt x="421" y="386"/>
                    <a:pt x="421" y="386"/>
                    <a:pt x="421" y="386"/>
                  </a:cubicBezTo>
                  <a:close/>
                  <a:moveTo>
                    <a:pt x="410" y="283"/>
                  </a:moveTo>
                  <a:cubicBezTo>
                    <a:pt x="421" y="295"/>
                    <a:pt x="421" y="295"/>
                    <a:pt x="421" y="295"/>
                  </a:cubicBezTo>
                  <a:cubicBezTo>
                    <a:pt x="421" y="323"/>
                    <a:pt x="421" y="323"/>
                    <a:pt x="421" y="323"/>
                  </a:cubicBezTo>
                  <a:cubicBezTo>
                    <a:pt x="414" y="316"/>
                    <a:pt x="414" y="316"/>
                    <a:pt x="414" y="316"/>
                  </a:cubicBezTo>
                  <a:cubicBezTo>
                    <a:pt x="410" y="320"/>
                    <a:pt x="410" y="320"/>
                    <a:pt x="410" y="320"/>
                  </a:cubicBezTo>
                  <a:lnTo>
                    <a:pt x="410" y="283"/>
                  </a:lnTo>
                  <a:close/>
                  <a:moveTo>
                    <a:pt x="410" y="397"/>
                  </a:moveTo>
                  <a:cubicBezTo>
                    <a:pt x="386" y="421"/>
                    <a:pt x="386" y="421"/>
                    <a:pt x="386" y="421"/>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7" y="393"/>
                    <a:pt x="387" y="393"/>
                    <a:pt x="387" y="393"/>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8" y="392"/>
                    <a:pt x="388" y="392"/>
                    <a:pt x="388" y="392"/>
                  </a:cubicBezTo>
                  <a:cubicBezTo>
                    <a:pt x="388" y="392"/>
                    <a:pt x="388" y="392"/>
                    <a:pt x="388" y="392"/>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90" y="390"/>
                    <a:pt x="390" y="390"/>
                    <a:pt x="390" y="390"/>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1" y="389"/>
                    <a:pt x="391" y="389"/>
                    <a:pt x="391" y="389"/>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2" y="388"/>
                    <a:pt x="392" y="388"/>
                    <a:pt x="392" y="388"/>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3" y="387"/>
                    <a:pt x="393" y="387"/>
                    <a:pt x="393" y="387"/>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4" y="385"/>
                    <a:pt x="394" y="385"/>
                    <a:pt x="394" y="385"/>
                  </a:cubicBezTo>
                  <a:cubicBezTo>
                    <a:pt x="386" y="378"/>
                    <a:pt x="386" y="378"/>
                    <a:pt x="386" y="378"/>
                  </a:cubicBezTo>
                  <a:cubicBezTo>
                    <a:pt x="386" y="353"/>
                    <a:pt x="386" y="353"/>
                    <a:pt x="386" y="353"/>
                  </a:cubicBezTo>
                  <a:cubicBezTo>
                    <a:pt x="406" y="373"/>
                    <a:pt x="406" y="373"/>
                    <a:pt x="406" y="373"/>
                  </a:cubicBezTo>
                  <a:cubicBezTo>
                    <a:pt x="410" y="369"/>
                    <a:pt x="410" y="369"/>
                    <a:pt x="410" y="369"/>
                  </a:cubicBezTo>
                  <a:cubicBezTo>
                    <a:pt x="410" y="397"/>
                    <a:pt x="410" y="397"/>
                    <a:pt x="410" y="397"/>
                  </a:cubicBezTo>
                  <a:close/>
                  <a:moveTo>
                    <a:pt x="386" y="259"/>
                  </a:moveTo>
                  <a:cubicBezTo>
                    <a:pt x="386" y="287"/>
                    <a:pt x="386" y="287"/>
                    <a:pt x="386" y="287"/>
                  </a:cubicBezTo>
                  <a:cubicBezTo>
                    <a:pt x="403" y="305"/>
                    <a:pt x="403" y="305"/>
                    <a:pt x="403" y="305"/>
                  </a:cubicBezTo>
                  <a:cubicBezTo>
                    <a:pt x="400" y="308"/>
                    <a:pt x="397" y="312"/>
                    <a:pt x="393" y="315"/>
                  </a:cubicBezTo>
                  <a:cubicBezTo>
                    <a:pt x="386" y="308"/>
                    <a:pt x="386" y="308"/>
                    <a:pt x="386" y="308"/>
                  </a:cubicBezTo>
                  <a:cubicBezTo>
                    <a:pt x="386" y="344"/>
                    <a:pt x="386" y="344"/>
                    <a:pt x="386" y="344"/>
                  </a:cubicBezTo>
                  <a:cubicBezTo>
                    <a:pt x="392" y="338"/>
                    <a:pt x="392" y="338"/>
                    <a:pt x="392" y="338"/>
                  </a:cubicBezTo>
                  <a:cubicBezTo>
                    <a:pt x="410" y="357"/>
                    <a:pt x="410" y="357"/>
                    <a:pt x="410" y="357"/>
                  </a:cubicBezTo>
                  <a:cubicBezTo>
                    <a:pt x="410" y="332"/>
                    <a:pt x="410" y="332"/>
                    <a:pt x="410" y="332"/>
                  </a:cubicBezTo>
                  <a:cubicBezTo>
                    <a:pt x="404" y="326"/>
                    <a:pt x="404" y="326"/>
                    <a:pt x="404" y="326"/>
                  </a:cubicBezTo>
                  <a:cubicBezTo>
                    <a:pt x="410" y="320"/>
                    <a:pt x="410" y="320"/>
                    <a:pt x="410" y="320"/>
                  </a:cubicBezTo>
                  <a:cubicBezTo>
                    <a:pt x="410" y="283"/>
                    <a:pt x="410" y="283"/>
                    <a:pt x="410" y="283"/>
                  </a:cubicBezTo>
                  <a:lnTo>
                    <a:pt x="386" y="259"/>
                  </a:lnTo>
                  <a:close/>
                  <a:moveTo>
                    <a:pt x="386" y="421"/>
                  </a:moveTo>
                  <a:cubicBezTo>
                    <a:pt x="375" y="432"/>
                    <a:pt x="375" y="432"/>
                    <a:pt x="375" y="432"/>
                  </a:cubicBezTo>
                  <a:cubicBezTo>
                    <a:pt x="375" y="404"/>
                    <a:pt x="375" y="404"/>
                    <a:pt x="375" y="404"/>
                  </a:cubicBezTo>
                  <a:cubicBezTo>
                    <a:pt x="383" y="396"/>
                    <a:pt x="383" y="396"/>
                    <a:pt x="383" y="396"/>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5" y="395"/>
                    <a:pt x="385" y="395"/>
                    <a:pt x="385" y="395"/>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421"/>
                    <a:pt x="386" y="421"/>
                    <a:pt x="386" y="421"/>
                  </a:cubicBezTo>
                  <a:close/>
                  <a:moveTo>
                    <a:pt x="375" y="248"/>
                  </a:moveTo>
                  <a:cubicBezTo>
                    <a:pt x="386" y="259"/>
                    <a:pt x="386" y="259"/>
                    <a:pt x="386" y="259"/>
                  </a:cubicBezTo>
                  <a:cubicBezTo>
                    <a:pt x="386" y="287"/>
                    <a:pt x="386" y="287"/>
                    <a:pt x="386" y="287"/>
                  </a:cubicBezTo>
                  <a:cubicBezTo>
                    <a:pt x="379" y="280"/>
                    <a:pt x="379" y="280"/>
                    <a:pt x="379" y="280"/>
                  </a:cubicBezTo>
                  <a:cubicBezTo>
                    <a:pt x="375" y="284"/>
                    <a:pt x="375" y="284"/>
                    <a:pt x="375" y="284"/>
                  </a:cubicBezTo>
                  <a:cubicBezTo>
                    <a:pt x="375" y="248"/>
                    <a:pt x="375" y="248"/>
                    <a:pt x="375" y="248"/>
                  </a:cubicBezTo>
                  <a:close/>
                  <a:moveTo>
                    <a:pt x="386" y="308"/>
                  </a:moveTo>
                  <a:cubicBezTo>
                    <a:pt x="386" y="344"/>
                    <a:pt x="386" y="344"/>
                    <a:pt x="386" y="344"/>
                  </a:cubicBezTo>
                  <a:cubicBezTo>
                    <a:pt x="381" y="348"/>
                    <a:pt x="381" y="348"/>
                    <a:pt x="381" y="348"/>
                  </a:cubicBezTo>
                  <a:cubicBezTo>
                    <a:pt x="386" y="353"/>
                    <a:pt x="386" y="353"/>
                    <a:pt x="386" y="353"/>
                  </a:cubicBezTo>
                  <a:cubicBezTo>
                    <a:pt x="386" y="378"/>
                    <a:pt x="386" y="378"/>
                    <a:pt x="386" y="378"/>
                  </a:cubicBezTo>
                  <a:cubicBezTo>
                    <a:pt x="375" y="366"/>
                    <a:pt x="375" y="366"/>
                    <a:pt x="375" y="366"/>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6" y="333"/>
                    <a:pt x="376" y="333"/>
                    <a:pt x="376" y="333"/>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7" y="332"/>
                    <a:pt x="377" y="332"/>
                    <a:pt x="377" y="332"/>
                  </a:cubicBezTo>
                  <a:cubicBezTo>
                    <a:pt x="377" y="332"/>
                    <a:pt x="377" y="332"/>
                    <a:pt x="377" y="332"/>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9" y="330"/>
                    <a:pt x="379" y="330"/>
                    <a:pt x="379" y="330"/>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80" y="329"/>
                    <a:pt x="380" y="329"/>
                    <a:pt x="380" y="329"/>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1" y="328"/>
                    <a:pt x="381" y="328"/>
                    <a:pt x="381" y="328"/>
                  </a:cubicBezTo>
                  <a:cubicBezTo>
                    <a:pt x="381" y="327"/>
                    <a:pt x="381" y="327"/>
                    <a:pt x="381" y="327"/>
                  </a:cubicBezTo>
                  <a:cubicBezTo>
                    <a:pt x="381" y="327"/>
                    <a:pt x="381" y="327"/>
                    <a:pt x="381" y="327"/>
                  </a:cubicBezTo>
                  <a:cubicBezTo>
                    <a:pt x="375" y="321"/>
                    <a:pt x="375" y="321"/>
                    <a:pt x="375" y="321"/>
                  </a:cubicBezTo>
                  <a:cubicBezTo>
                    <a:pt x="375" y="296"/>
                    <a:pt x="375" y="296"/>
                    <a:pt x="375" y="296"/>
                  </a:cubicBezTo>
                  <a:lnTo>
                    <a:pt x="386" y="308"/>
                  </a:lnTo>
                  <a:close/>
                  <a:moveTo>
                    <a:pt x="375" y="432"/>
                  </a:moveTo>
                  <a:cubicBezTo>
                    <a:pt x="354" y="453"/>
                    <a:pt x="354" y="453"/>
                    <a:pt x="354" y="453"/>
                  </a:cubicBezTo>
                  <a:cubicBezTo>
                    <a:pt x="354" y="425"/>
                    <a:pt x="354" y="425"/>
                    <a:pt x="354" y="425"/>
                  </a:cubicBezTo>
                  <a:cubicBezTo>
                    <a:pt x="361" y="418"/>
                    <a:pt x="361" y="418"/>
                    <a:pt x="361" y="418"/>
                  </a:cubicBezTo>
                  <a:cubicBezTo>
                    <a:pt x="371" y="408"/>
                    <a:pt x="371" y="408"/>
                    <a:pt x="371" y="408"/>
                  </a:cubicBezTo>
                  <a:cubicBezTo>
                    <a:pt x="375" y="404"/>
                    <a:pt x="375" y="404"/>
                    <a:pt x="375" y="404"/>
                  </a:cubicBezTo>
                  <a:cubicBezTo>
                    <a:pt x="375" y="432"/>
                    <a:pt x="375" y="432"/>
                    <a:pt x="375" y="432"/>
                  </a:cubicBezTo>
                  <a:close/>
                  <a:moveTo>
                    <a:pt x="354" y="226"/>
                  </a:moveTo>
                  <a:cubicBezTo>
                    <a:pt x="375" y="248"/>
                    <a:pt x="375" y="248"/>
                    <a:pt x="375" y="248"/>
                  </a:cubicBezTo>
                  <a:cubicBezTo>
                    <a:pt x="375" y="284"/>
                    <a:pt x="375" y="284"/>
                    <a:pt x="375" y="284"/>
                  </a:cubicBezTo>
                  <a:cubicBezTo>
                    <a:pt x="369" y="290"/>
                    <a:pt x="369" y="290"/>
                    <a:pt x="369" y="290"/>
                  </a:cubicBezTo>
                  <a:cubicBezTo>
                    <a:pt x="375" y="296"/>
                    <a:pt x="375" y="296"/>
                    <a:pt x="375" y="296"/>
                  </a:cubicBezTo>
                  <a:cubicBezTo>
                    <a:pt x="375" y="321"/>
                    <a:pt x="375" y="321"/>
                    <a:pt x="375" y="321"/>
                  </a:cubicBezTo>
                  <a:cubicBezTo>
                    <a:pt x="356" y="302"/>
                    <a:pt x="356" y="302"/>
                    <a:pt x="356" y="302"/>
                  </a:cubicBezTo>
                  <a:cubicBezTo>
                    <a:pt x="356" y="303"/>
                    <a:pt x="356" y="303"/>
                    <a:pt x="356" y="303"/>
                  </a:cubicBezTo>
                  <a:cubicBezTo>
                    <a:pt x="356" y="303"/>
                    <a:pt x="356" y="303"/>
                    <a:pt x="356" y="303"/>
                  </a:cubicBezTo>
                  <a:cubicBezTo>
                    <a:pt x="356" y="303"/>
                    <a:pt x="356" y="303"/>
                    <a:pt x="356" y="303"/>
                  </a:cubicBezTo>
                  <a:cubicBezTo>
                    <a:pt x="356" y="303"/>
                    <a:pt x="356" y="303"/>
                    <a:pt x="356" y="303"/>
                  </a:cubicBezTo>
                  <a:cubicBezTo>
                    <a:pt x="355" y="303"/>
                    <a:pt x="355" y="303"/>
                    <a:pt x="355" y="303"/>
                  </a:cubicBezTo>
                  <a:cubicBezTo>
                    <a:pt x="355" y="303"/>
                    <a:pt x="355" y="303"/>
                    <a:pt x="355" y="303"/>
                  </a:cubicBezTo>
                  <a:cubicBezTo>
                    <a:pt x="355" y="303"/>
                    <a:pt x="355" y="303"/>
                    <a:pt x="355" y="303"/>
                  </a:cubicBezTo>
                  <a:cubicBezTo>
                    <a:pt x="355" y="303"/>
                    <a:pt x="355" y="303"/>
                    <a:pt x="355" y="303"/>
                  </a:cubicBezTo>
                  <a:cubicBezTo>
                    <a:pt x="355" y="304"/>
                    <a:pt x="355" y="304"/>
                    <a:pt x="355" y="304"/>
                  </a:cubicBezTo>
                  <a:cubicBezTo>
                    <a:pt x="355" y="304"/>
                    <a:pt x="355" y="304"/>
                    <a:pt x="355" y="304"/>
                  </a:cubicBezTo>
                  <a:cubicBezTo>
                    <a:pt x="355" y="304"/>
                    <a:pt x="355" y="304"/>
                    <a:pt x="355" y="304"/>
                  </a:cubicBezTo>
                  <a:cubicBezTo>
                    <a:pt x="354" y="304"/>
                    <a:pt x="354" y="304"/>
                    <a:pt x="354" y="304"/>
                  </a:cubicBezTo>
                  <a:cubicBezTo>
                    <a:pt x="354" y="304"/>
                    <a:pt x="354" y="304"/>
                    <a:pt x="354" y="304"/>
                  </a:cubicBezTo>
                  <a:cubicBezTo>
                    <a:pt x="354" y="304"/>
                    <a:pt x="354" y="304"/>
                    <a:pt x="354" y="304"/>
                  </a:cubicBezTo>
                  <a:cubicBezTo>
                    <a:pt x="354" y="304"/>
                    <a:pt x="354" y="304"/>
                    <a:pt x="354" y="304"/>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275"/>
                    <a:pt x="354" y="275"/>
                    <a:pt x="354" y="275"/>
                  </a:cubicBezTo>
                  <a:cubicBezTo>
                    <a:pt x="358" y="279"/>
                    <a:pt x="358" y="279"/>
                    <a:pt x="358" y="279"/>
                  </a:cubicBezTo>
                  <a:cubicBezTo>
                    <a:pt x="361" y="276"/>
                    <a:pt x="364" y="273"/>
                    <a:pt x="368" y="269"/>
                  </a:cubicBezTo>
                  <a:cubicBezTo>
                    <a:pt x="354" y="255"/>
                    <a:pt x="354" y="255"/>
                    <a:pt x="354" y="255"/>
                  </a:cubicBezTo>
                  <a:cubicBezTo>
                    <a:pt x="354" y="226"/>
                    <a:pt x="354" y="226"/>
                    <a:pt x="354" y="226"/>
                  </a:cubicBezTo>
                  <a:close/>
                  <a:moveTo>
                    <a:pt x="375" y="333"/>
                  </a:moveTo>
                  <a:cubicBezTo>
                    <a:pt x="375" y="366"/>
                    <a:pt x="375" y="366"/>
                    <a:pt x="375" y="366"/>
                  </a:cubicBezTo>
                  <a:cubicBezTo>
                    <a:pt x="369" y="361"/>
                    <a:pt x="369" y="361"/>
                    <a:pt x="369" y="361"/>
                  </a:cubicBezTo>
                  <a:cubicBezTo>
                    <a:pt x="369" y="361"/>
                    <a:pt x="369" y="361"/>
                    <a:pt x="369" y="361"/>
                  </a:cubicBezTo>
                  <a:cubicBezTo>
                    <a:pt x="369" y="361"/>
                    <a:pt x="369" y="361"/>
                    <a:pt x="369" y="361"/>
                  </a:cubicBezTo>
                  <a:cubicBezTo>
                    <a:pt x="368" y="361"/>
                    <a:pt x="368" y="361"/>
                    <a:pt x="368" y="361"/>
                  </a:cubicBezTo>
                  <a:cubicBezTo>
                    <a:pt x="368" y="361"/>
                    <a:pt x="368" y="361"/>
                    <a:pt x="368" y="361"/>
                  </a:cubicBezTo>
                  <a:cubicBezTo>
                    <a:pt x="368" y="361"/>
                    <a:pt x="368" y="361"/>
                    <a:pt x="368" y="361"/>
                  </a:cubicBezTo>
                  <a:cubicBezTo>
                    <a:pt x="368" y="361"/>
                    <a:pt x="368" y="361"/>
                    <a:pt x="368" y="361"/>
                  </a:cubicBezTo>
                  <a:cubicBezTo>
                    <a:pt x="368" y="362"/>
                    <a:pt x="368" y="362"/>
                    <a:pt x="368" y="362"/>
                  </a:cubicBezTo>
                  <a:cubicBezTo>
                    <a:pt x="368" y="362"/>
                    <a:pt x="368" y="362"/>
                    <a:pt x="368" y="362"/>
                  </a:cubicBezTo>
                  <a:cubicBezTo>
                    <a:pt x="368" y="362"/>
                    <a:pt x="368" y="362"/>
                    <a:pt x="368" y="362"/>
                  </a:cubicBezTo>
                  <a:cubicBezTo>
                    <a:pt x="367" y="362"/>
                    <a:pt x="367" y="362"/>
                    <a:pt x="367" y="362"/>
                  </a:cubicBezTo>
                  <a:cubicBezTo>
                    <a:pt x="367" y="362"/>
                    <a:pt x="367" y="362"/>
                    <a:pt x="367" y="362"/>
                  </a:cubicBezTo>
                  <a:cubicBezTo>
                    <a:pt x="367" y="362"/>
                    <a:pt x="367" y="362"/>
                    <a:pt x="367" y="362"/>
                  </a:cubicBezTo>
                  <a:cubicBezTo>
                    <a:pt x="367" y="362"/>
                    <a:pt x="367" y="362"/>
                    <a:pt x="367" y="362"/>
                  </a:cubicBezTo>
                  <a:cubicBezTo>
                    <a:pt x="367" y="363"/>
                    <a:pt x="367" y="363"/>
                    <a:pt x="367" y="363"/>
                  </a:cubicBezTo>
                  <a:cubicBezTo>
                    <a:pt x="367" y="363"/>
                    <a:pt x="367" y="363"/>
                    <a:pt x="367" y="363"/>
                  </a:cubicBezTo>
                  <a:cubicBezTo>
                    <a:pt x="367" y="363"/>
                    <a:pt x="367" y="363"/>
                    <a:pt x="367"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4"/>
                    <a:pt x="366" y="364"/>
                    <a:pt x="366" y="364"/>
                  </a:cubicBezTo>
                  <a:cubicBezTo>
                    <a:pt x="366" y="364"/>
                    <a:pt x="366" y="364"/>
                    <a:pt x="366" y="364"/>
                  </a:cubicBezTo>
                  <a:cubicBezTo>
                    <a:pt x="366" y="364"/>
                    <a:pt x="366" y="364"/>
                    <a:pt x="366" y="364"/>
                  </a:cubicBezTo>
                  <a:cubicBezTo>
                    <a:pt x="365" y="364"/>
                    <a:pt x="365" y="364"/>
                    <a:pt x="365" y="364"/>
                  </a:cubicBezTo>
                  <a:cubicBezTo>
                    <a:pt x="365" y="364"/>
                    <a:pt x="365" y="364"/>
                    <a:pt x="365" y="364"/>
                  </a:cubicBezTo>
                  <a:cubicBezTo>
                    <a:pt x="365" y="364"/>
                    <a:pt x="365" y="364"/>
                    <a:pt x="365" y="364"/>
                  </a:cubicBezTo>
                  <a:cubicBezTo>
                    <a:pt x="365" y="364"/>
                    <a:pt x="365" y="364"/>
                    <a:pt x="365" y="364"/>
                  </a:cubicBezTo>
                  <a:cubicBezTo>
                    <a:pt x="365" y="365"/>
                    <a:pt x="365" y="365"/>
                    <a:pt x="365" y="365"/>
                  </a:cubicBezTo>
                  <a:cubicBezTo>
                    <a:pt x="365" y="365"/>
                    <a:pt x="365" y="365"/>
                    <a:pt x="365" y="365"/>
                  </a:cubicBezTo>
                  <a:cubicBezTo>
                    <a:pt x="365" y="365"/>
                    <a:pt x="365" y="365"/>
                    <a:pt x="365" y="365"/>
                  </a:cubicBezTo>
                  <a:cubicBezTo>
                    <a:pt x="365" y="365"/>
                    <a:pt x="365" y="365"/>
                    <a:pt x="365" y="365"/>
                  </a:cubicBezTo>
                  <a:cubicBezTo>
                    <a:pt x="364" y="365"/>
                    <a:pt x="364" y="365"/>
                    <a:pt x="364" y="365"/>
                  </a:cubicBezTo>
                  <a:cubicBezTo>
                    <a:pt x="364" y="365"/>
                    <a:pt x="364" y="365"/>
                    <a:pt x="364" y="365"/>
                  </a:cubicBezTo>
                  <a:cubicBezTo>
                    <a:pt x="364" y="365"/>
                    <a:pt x="364" y="365"/>
                    <a:pt x="364" y="365"/>
                  </a:cubicBezTo>
                  <a:cubicBezTo>
                    <a:pt x="364" y="366"/>
                    <a:pt x="364" y="366"/>
                    <a:pt x="364" y="366"/>
                  </a:cubicBezTo>
                  <a:cubicBezTo>
                    <a:pt x="364" y="366"/>
                    <a:pt x="364" y="366"/>
                    <a:pt x="364" y="366"/>
                  </a:cubicBezTo>
                  <a:cubicBezTo>
                    <a:pt x="364" y="366"/>
                    <a:pt x="364" y="366"/>
                    <a:pt x="364" y="366"/>
                  </a:cubicBezTo>
                  <a:cubicBezTo>
                    <a:pt x="364" y="366"/>
                    <a:pt x="364" y="366"/>
                    <a:pt x="364" y="366"/>
                  </a:cubicBezTo>
                  <a:cubicBezTo>
                    <a:pt x="363" y="366"/>
                    <a:pt x="363" y="366"/>
                    <a:pt x="363" y="366"/>
                  </a:cubicBezTo>
                  <a:cubicBezTo>
                    <a:pt x="363" y="366"/>
                    <a:pt x="363" y="366"/>
                    <a:pt x="363" y="366"/>
                  </a:cubicBezTo>
                  <a:cubicBezTo>
                    <a:pt x="363" y="366"/>
                    <a:pt x="363" y="366"/>
                    <a:pt x="363" y="366"/>
                  </a:cubicBezTo>
                  <a:cubicBezTo>
                    <a:pt x="363" y="366"/>
                    <a:pt x="363" y="366"/>
                    <a:pt x="363" y="366"/>
                  </a:cubicBezTo>
                  <a:cubicBezTo>
                    <a:pt x="363" y="367"/>
                    <a:pt x="363" y="367"/>
                    <a:pt x="363" y="367"/>
                  </a:cubicBezTo>
                  <a:cubicBezTo>
                    <a:pt x="363" y="367"/>
                    <a:pt x="363" y="367"/>
                    <a:pt x="363" y="367"/>
                  </a:cubicBezTo>
                  <a:cubicBezTo>
                    <a:pt x="363" y="367"/>
                    <a:pt x="363" y="367"/>
                    <a:pt x="363"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8"/>
                    <a:pt x="362" y="368"/>
                    <a:pt x="362" y="368"/>
                  </a:cubicBezTo>
                  <a:cubicBezTo>
                    <a:pt x="362" y="368"/>
                    <a:pt x="362" y="368"/>
                    <a:pt x="362" y="368"/>
                  </a:cubicBezTo>
                  <a:cubicBezTo>
                    <a:pt x="362" y="368"/>
                    <a:pt x="362" y="368"/>
                    <a:pt x="362" y="368"/>
                  </a:cubicBezTo>
                  <a:cubicBezTo>
                    <a:pt x="361" y="368"/>
                    <a:pt x="361" y="368"/>
                    <a:pt x="361" y="368"/>
                  </a:cubicBezTo>
                  <a:cubicBezTo>
                    <a:pt x="361" y="368"/>
                    <a:pt x="361" y="368"/>
                    <a:pt x="361" y="368"/>
                  </a:cubicBezTo>
                  <a:cubicBezTo>
                    <a:pt x="361" y="368"/>
                    <a:pt x="361" y="368"/>
                    <a:pt x="361" y="368"/>
                  </a:cubicBezTo>
                  <a:cubicBezTo>
                    <a:pt x="361" y="368"/>
                    <a:pt x="361" y="368"/>
                    <a:pt x="361" y="368"/>
                  </a:cubicBezTo>
                  <a:cubicBezTo>
                    <a:pt x="361" y="369"/>
                    <a:pt x="361" y="369"/>
                    <a:pt x="361" y="369"/>
                  </a:cubicBezTo>
                  <a:cubicBezTo>
                    <a:pt x="361" y="369"/>
                    <a:pt x="361" y="369"/>
                    <a:pt x="361" y="369"/>
                  </a:cubicBezTo>
                  <a:cubicBezTo>
                    <a:pt x="361" y="369"/>
                    <a:pt x="361" y="369"/>
                    <a:pt x="361"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70"/>
                    <a:pt x="360" y="370"/>
                    <a:pt x="360" y="370"/>
                  </a:cubicBezTo>
                  <a:cubicBezTo>
                    <a:pt x="360" y="370"/>
                    <a:pt x="360" y="370"/>
                    <a:pt x="360"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1"/>
                    <a:pt x="359" y="371"/>
                    <a:pt x="359" y="371"/>
                  </a:cubicBezTo>
                  <a:cubicBezTo>
                    <a:pt x="359" y="371"/>
                    <a:pt x="359" y="371"/>
                    <a:pt x="359" y="371"/>
                  </a:cubicBezTo>
                  <a:cubicBezTo>
                    <a:pt x="354" y="376"/>
                    <a:pt x="354" y="376"/>
                    <a:pt x="354" y="376"/>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3"/>
                    <a:pt x="354" y="353"/>
                    <a:pt x="354"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2"/>
                    <a:pt x="355" y="352"/>
                    <a:pt x="355"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0"/>
                    <a:pt x="357" y="350"/>
                    <a:pt x="357"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3" y="336"/>
                    <a:pt x="373" y="336"/>
                    <a:pt x="373" y="336"/>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5" y="333"/>
                    <a:pt x="375" y="333"/>
                    <a:pt x="375" y="333"/>
                  </a:cubicBezTo>
                  <a:close/>
                  <a:moveTo>
                    <a:pt x="354" y="453"/>
                  </a:moveTo>
                  <a:cubicBezTo>
                    <a:pt x="339" y="467"/>
                    <a:pt x="339" y="467"/>
                    <a:pt x="339" y="467"/>
                  </a:cubicBezTo>
                  <a:cubicBezTo>
                    <a:pt x="339" y="439"/>
                    <a:pt x="339" y="439"/>
                    <a:pt x="339" y="439"/>
                  </a:cubicBezTo>
                  <a:cubicBezTo>
                    <a:pt x="354" y="425"/>
                    <a:pt x="354" y="425"/>
                    <a:pt x="354" y="425"/>
                  </a:cubicBezTo>
                  <a:cubicBezTo>
                    <a:pt x="354" y="453"/>
                    <a:pt x="354" y="453"/>
                    <a:pt x="354" y="453"/>
                  </a:cubicBezTo>
                  <a:close/>
                  <a:moveTo>
                    <a:pt x="339" y="212"/>
                  </a:moveTo>
                  <a:cubicBezTo>
                    <a:pt x="354" y="226"/>
                    <a:pt x="354" y="226"/>
                    <a:pt x="354" y="226"/>
                  </a:cubicBezTo>
                  <a:cubicBezTo>
                    <a:pt x="354" y="255"/>
                    <a:pt x="354" y="255"/>
                    <a:pt x="354" y="255"/>
                  </a:cubicBezTo>
                  <a:cubicBezTo>
                    <a:pt x="343" y="244"/>
                    <a:pt x="343" y="244"/>
                    <a:pt x="343" y="244"/>
                  </a:cubicBezTo>
                  <a:cubicBezTo>
                    <a:pt x="339" y="248"/>
                    <a:pt x="339" y="248"/>
                    <a:pt x="339" y="248"/>
                  </a:cubicBezTo>
                  <a:cubicBezTo>
                    <a:pt x="339" y="212"/>
                    <a:pt x="339" y="212"/>
                    <a:pt x="339" y="212"/>
                  </a:cubicBezTo>
                  <a:close/>
                  <a:moveTo>
                    <a:pt x="354" y="275"/>
                  </a:moveTo>
                  <a:cubicBezTo>
                    <a:pt x="354" y="305"/>
                    <a:pt x="354" y="305"/>
                    <a:pt x="354" y="305"/>
                  </a:cubicBezTo>
                  <a:cubicBezTo>
                    <a:pt x="353" y="305"/>
                    <a:pt x="353" y="305"/>
                    <a:pt x="353" y="305"/>
                  </a:cubicBezTo>
                  <a:cubicBezTo>
                    <a:pt x="353" y="305"/>
                    <a:pt x="353" y="305"/>
                    <a:pt x="353" y="305"/>
                  </a:cubicBezTo>
                  <a:cubicBezTo>
                    <a:pt x="353" y="305"/>
                    <a:pt x="353" y="305"/>
                    <a:pt x="353" y="305"/>
                  </a:cubicBezTo>
                  <a:cubicBezTo>
                    <a:pt x="353" y="306"/>
                    <a:pt x="353" y="306"/>
                    <a:pt x="353" y="306"/>
                  </a:cubicBezTo>
                  <a:cubicBezTo>
                    <a:pt x="353" y="306"/>
                    <a:pt x="353" y="306"/>
                    <a:pt x="353" y="306"/>
                  </a:cubicBezTo>
                  <a:cubicBezTo>
                    <a:pt x="353" y="306"/>
                    <a:pt x="353" y="306"/>
                    <a:pt x="353" y="306"/>
                  </a:cubicBezTo>
                  <a:cubicBezTo>
                    <a:pt x="353" y="306"/>
                    <a:pt x="353" y="306"/>
                    <a:pt x="353" y="306"/>
                  </a:cubicBezTo>
                  <a:cubicBezTo>
                    <a:pt x="352" y="306"/>
                    <a:pt x="352" y="306"/>
                    <a:pt x="352" y="306"/>
                  </a:cubicBezTo>
                  <a:cubicBezTo>
                    <a:pt x="352" y="306"/>
                    <a:pt x="352" y="306"/>
                    <a:pt x="352" y="306"/>
                  </a:cubicBezTo>
                  <a:cubicBezTo>
                    <a:pt x="352" y="306"/>
                    <a:pt x="352" y="306"/>
                    <a:pt x="352" y="306"/>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1" y="307"/>
                    <a:pt x="351" y="307"/>
                    <a:pt x="351" y="307"/>
                  </a:cubicBezTo>
                  <a:cubicBezTo>
                    <a:pt x="351" y="307"/>
                    <a:pt x="351" y="307"/>
                    <a:pt x="351" y="307"/>
                  </a:cubicBezTo>
                  <a:cubicBezTo>
                    <a:pt x="351" y="307"/>
                    <a:pt x="351" y="307"/>
                    <a:pt x="351" y="307"/>
                  </a:cubicBezTo>
                  <a:cubicBezTo>
                    <a:pt x="351" y="308"/>
                    <a:pt x="351" y="308"/>
                    <a:pt x="351" y="308"/>
                  </a:cubicBezTo>
                  <a:cubicBezTo>
                    <a:pt x="351" y="308"/>
                    <a:pt x="351" y="308"/>
                    <a:pt x="351" y="308"/>
                  </a:cubicBezTo>
                  <a:cubicBezTo>
                    <a:pt x="351" y="308"/>
                    <a:pt x="351" y="308"/>
                    <a:pt x="351" y="308"/>
                  </a:cubicBezTo>
                  <a:cubicBezTo>
                    <a:pt x="351" y="308"/>
                    <a:pt x="351" y="308"/>
                    <a:pt x="351" y="308"/>
                  </a:cubicBezTo>
                  <a:cubicBezTo>
                    <a:pt x="350" y="308"/>
                    <a:pt x="350" y="308"/>
                    <a:pt x="350" y="308"/>
                  </a:cubicBezTo>
                  <a:cubicBezTo>
                    <a:pt x="350" y="308"/>
                    <a:pt x="350" y="308"/>
                    <a:pt x="350" y="308"/>
                  </a:cubicBezTo>
                  <a:cubicBezTo>
                    <a:pt x="350" y="308"/>
                    <a:pt x="350" y="308"/>
                    <a:pt x="350" y="308"/>
                  </a:cubicBezTo>
                  <a:cubicBezTo>
                    <a:pt x="350" y="308"/>
                    <a:pt x="350" y="308"/>
                    <a:pt x="350" y="308"/>
                  </a:cubicBezTo>
                  <a:cubicBezTo>
                    <a:pt x="350" y="309"/>
                    <a:pt x="350" y="309"/>
                    <a:pt x="350" y="309"/>
                  </a:cubicBezTo>
                  <a:cubicBezTo>
                    <a:pt x="350" y="309"/>
                    <a:pt x="350" y="309"/>
                    <a:pt x="350" y="309"/>
                  </a:cubicBezTo>
                  <a:cubicBezTo>
                    <a:pt x="350" y="309"/>
                    <a:pt x="350" y="309"/>
                    <a:pt x="350" y="309"/>
                  </a:cubicBezTo>
                  <a:cubicBezTo>
                    <a:pt x="349" y="309"/>
                    <a:pt x="349" y="309"/>
                    <a:pt x="349" y="309"/>
                  </a:cubicBezTo>
                  <a:cubicBezTo>
                    <a:pt x="349" y="309"/>
                    <a:pt x="349" y="309"/>
                    <a:pt x="349" y="309"/>
                  </a:cubicBezTo>
                  <a:cubicBezTo>
                    <a:pt x="349" y="309"/>
                    <a:pt x="349" y="309"/>
                    <a:pt x="349" y="309"/>
                  </a:cubicBezTo>
                  <a:cubicBezTo>
                    <a:pt x="349" y="309"/>
                    <a:pt x="349" y="309"/>
                    <a:pt x="349" y="309"/>
                  </a:cubicBezTo>
                  <a:cubicBezTo>
                    <a:pt x="349" y="310"/>
                    <a:pt x="349" y="310"/>
                    <a:pt x="349" y="310"/>
                  </a:cubicBezTo>
                  <a:cubicBezTo>
                    <a:pt x="349" y="310"/>
                    <a:pt x="349" y="310"/>
                    <a:pt x="349" y="310"/>
                  </a:cubicBezTo>
                  <a:cubicBezTo>
                    <a:pt x="349" y="310"/>
                    <a:pt x="349" y="310"/>
                    <a:pt x="349"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1"/>
                    <a:pt x="348" y="311"/>
                    <a:pt x="348" y="311"/>
                  </a:cubicBezTo>
                  <a:cubicBezTo>
                    <a:pt x="348" y="311"/>
                    <a:pt x="348" y="311"/>
                    <a:pt x="348" y="311"/>
                  </a:cubicBezTo>
                  <a:cubicBezTo>
                    <a:pt x="348" y="311"/>
                    <a:pt x="348" y="311"/>
                    <a:pt x="348" y="311"/>
                  </a:cubicBezTo>
                  <a:cubicBezTo>
                    <a:pt x="348" y="311"/>
                    <a:pt x="348" y="311"/>
                    <a:pt x="348" y="311"/>
                  </a:cubicBezTo>
                  <a:cubicBezTo>
                    <a:pt x="347" y="311"/>
                    <a:pt x="347" y="311"/>
                    <a:pt x="347" y="311"/>
                  </a:cubicBezTo>
                  <a:cubicBezTo>
                    <a:pt x="347" y="311"/>
                    <a:pt x="347" y="311"/>
                    <a:pt x="347" y="311"/>
                  </a:cubicBezTo>
                  <a:cubicBezTo>
                    <a:pt x="347" y="311"/>
                    <a:pt x="347" y="311"/>
                    <a:pt x="347" y="311"/>
                  </a:cubicBezTo>
                  <a:cubicBezTo>
                    <a:pt x="347" y="312"/>
                    <a:pt x="347" y="312"/>
                    <a:pt x="347" y="312"/>
                  </a:cubicBezTo>
                  <a:cubicBezTo>
                    <a:pt x="347" y="312"/>
                    <a:pt x="347" y="312"/>
                    <a:pt x="347" y="312"/>
                  </a:cubicBezTo>
                  <a:cubicBezTo>
                    <a:pt x="347" y="312"/>
                    <a:pt x="347" y="312"/>
                    <a:pt x="347" y="312"/>
                  </a:cubicBezTo>
                  <a:cubicBezTo>
                    <a:pt x="347" y="312"/>
                    <a:pt x="347" y="312"/>
                    <a:pt x="347" y="312"/>
                  </a:cubicBezTo>
                  <a:cubicBezTo>
                    <a:pt x="346" y="312"/>
                    <a:pt x="346" y="312"/>
                    <a:pt x="346" y="312"/>
                  </a:cubicBezTo>
                  <a:cubicBezTo>
                    <a:pt x="346" y="312"/>
                    <a:pt x="346" y="312"/>
                    <a:pt x="346" y="312"/>
                  </a:cubicBezTo>
                  <a:cubicBezTo>
                    <a:pt x="346" y="312"/>
                    <a:pt x="346" y="312"/>
                    <a:pt x="346" y="312"/>
                  </a:cubicBezTo>
                  <a:cubicBezTo>
                    <a:pt x="346" y="312"/>
                    <a:pt x="346" y="312"/>
                    <a:pt x="346" y="312"/>
                  </a:cubicBezTo>
                  <a:cubicBezTo>
                    <a:pt x="339" y="319"/>
                    <a:pt x="339" y="319"/>
                    <a:pt x="339" y="319"/>
                  </a:cubicBezTo>
                  <a:cubicBezTo>
                    <a:pt x="339" y="298"/>
                    <a:pt x="339" y="298"/>
                    <a:pt x="339" y="298"/>
                  </a:cubicBezTo>
                  <a:cubicBezTo>
                    <a:pt x="345" y="292"/>
                    <a:pt x="345" y="292"/>
                    <a:pt x="345" y="292"/>
                  </a:cubicBezTo>
                  <a:cubicBezTo>
                    <a:pt x="339" y="285"/>
                    <a:pt x="339" y="285"/>
                    <a:pt x="339" y="285"/>
                  </a:cubicBezTo>
                  <a:cubicBezTo>
                    <a:pt x="339" y="261"/>
                    <a:pt x="339" y="261"/>
                    <a:pt x="339" y="261"/>
                  </a:cubicBezTo>
                  <a:cubicBezTo>
                    <a:pt x="354" y="275"/>
                    <a:pt x="354" y="275"/>
                    <a:pt x="354" y="275"/>
                  </a:cubicBezTo>
                  <a:close/>
                  <a:moveTo>
                    <a:pt x="354" y="354"/>
                  </a:moveTo>
                  <a:cubicBezTo>
                    <a:pt x="354" y="376"/>
                    <a:pt x="354" y="376"/>
                    <a:pt x="354" y="376"/>
                  </a:cubicBezTo>
                  <a:cubicBezTo>
                    <a:pt x="346" y="383"/>
                    <a:pt x="346" y="383"/>
                    <a:pt x="346" y="383"/>
                  </a:cubicBezTo>
                  <a:cubicBezTo>
                    <a:pt x="339" y="390"/>
                    <a:pt x="339" y="390"/>
                    <a:pt x="339" y="390"/>
                  </a:cubicBezTo>
                  <a:cubicBezTo>
                    <a:pt x="339" y="368"/>
                    <a:pt x="339" y="368"/>
                    <a:pt x="339" y="368"/>
                  </a:cubicBezTo>
                  <a:cubicBezTo>
                    <a:pt x="348" y="360"/>
                    <a:pt x="348" y="360"/>
                    <a:pt x="348" y="360"/>
                  </a:cubicBezTo>
                  <a:cubicBezTo>
                    <a:pt x="348" y="360"/>
                    <a:pt x="348" y="360"/>
                    <a:pt x="348" y="360"/>
                  </a:cubicBezTo>
                  <a:cubicBezTo>
                    <a:pt x="348" y="360"/>
                    <a:pt x="348" y="360"/>
                    <a:pt x="348" y="360"/>
                  </a:cubicBezTo>
                  <a:cubicBezTo>
                    <a:pt x="348" y="359"/>
                    <a:pt x="348" y="359"/>
                    <a:pt x="348"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8"/>
                    <a:pt x="349" y="358"/>
                    <a:pt x="349"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7"/>
                    <a:pt x="350" y="357"/>
                    <a:pt x="350"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6"/>
                    <a:pt x="351" y="356"/>
                    <a:pt x="351" y="356"/>
                  </a:cubicBezTo>
                  <a:cubicBezTo>
                    <a:pt x="351" y="356"/>
                    <a:pt x="351" y="356"/>
                    <a:pt x="351"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5"/>
                    <a:pt x="352" y="355"/>
                    <a:pt x="352"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4" y="354"/>
                    <a:pt x="354" y="354"/>
                    <a:pt x="354" y="354"/>
                  </a:cubicBezTo>
                  <a:close/>
                  <a:moveTo>
                    <a:pt x="339" y="467"/>
                  </a:moveTo>
                  <a:cubicBezTo>
                    <a:pt x="338" y="468"/>
                    <a:pt x="338" y="468"/>
                    <a:pt x="338" y="468"/>
                  </a:cubicBezTo>
                  <a:cubicBezTo>
                    <a:pt x="328" y="458"/>
                    <a:pt x="328" y="458"/>
                    <a:pt x="328" y="458"/>
                  </a:cubicBezTo>
                  <a:cubicBezTo>
                    <a:pt x="328" y="430"/>
                    <a:pt x="328" y="430"/>
                    <a:pt x="328" y="430"/>
                  </a:cubicBezTo>
                  <a:cubicBezTo>
                    <a:pt x="338" y="440"/>
                    <a:pt x="338" y="440"/>
                    <a:pt x="338" y="440"/>
                  </a:cubicBezTo>
                  <a:cubicBezTo>
                    <a:pt x="339" y="439"/>
                    <a:pt x="339" y="439"/>
                    <a:pt x="339" y="439"/>
                  </a:cubicBezTo>
                  <a:cubicBezTo>
                    <a:pt x="339" y="467"/>
                    <a:pt x="339" y="467"/>
                    <a:pt x="339" y="467"/>
                  </a:cubicBezTo>
                  <a:close/>
                  <a:moveTo>
                    <a:pt x="328" y="200"/>
                  </a:moveTo>
                  <a:cubicBezTo>
                    <a:pt x="339" y="212"/>
                    <a:pt x="339" y="212"/>
                    <a:pt x="339" y="212"/>
                  </a:cubicBezTo>
                  <a:cubicBezTo>
                    <a:pt x="339" y="248"/>
                    <a:pt x="339" y="248"/>
                    <a:pt x="339" y="248"/>
                  </a:cubicBezTo>
                  <a:cubicBezTo>
                    <a:pt x="333" y="254"/>
                    <a:pt x="333" y="254"/>
                    <a:pt x="333" y="254"/>
                  </a:cubicBezTo>
                  <a:cubicBezTo>
                    <a:pt x="339" y="261"/>
                    <a:pt x="339" y="261"/>
                    <a:pt x="339" y="261"/>
                  </a:cubicBezTo>
                  <a:cubicBezTo>
                    <a:pt x="339" y="285"/>
                    <a:pt x="339" y="285"/>
                    <a:pt x="339" y="285"/>
                  </a:cubicBezTo>
                  <a:cubicBezTo>
                    <a:pt x="328" y="274"/>
                    <a:pt x="328" y="274"/>
                    <a:pt x="328" y="274"/>
                  </a:cubicBezTo>
                  <a:cubicBezTo>
                    <a:pt x="328" y="238"/>
                    <a:pt x="328" y="238"/>
                    <a:pt x="328" y="238"/>
                  </a:cubicBezTo>
                  <a:cubicBezTo>
                    <a:pt x="333" y="233"/>
                    <a:pt x="333" y="233"/>
                    <a:pt x="333" y="233"/>
                  </a:cubicBezTo>
                  <a:cubicBezTo>
                    <a:pt x="328" y="229"/>
                    <a:pt x="328" y="229"/>
                    <a:pt x="328" y="229"/>
                  </a:cubicBezTo>
                  <a:cubicBezTo>
                    <a:pt x="328" y="200"/>
                    <a:pt x="328" y="200"/>
                    <a:pt x="328" y="200"/>
                  </a:cubicBezTo>
                  <a:close/>
                  <a:moveTo>
                    <a:pt x="339" y="298"/>
                  </a:moveTo>
                  <a:cubicBezTo>
                    <a:pt x="339" y="319"/>
                    <a:pt x="339" y="319"/>
                    <a:pt x="339" y="319"/>
                  </a:cubicBezTo>
                  <a:cubicBezTo>
                    <a:pt x="334" y="325"/>
                    <a:pt x="334" y="325"/>
                    <a:pt x="334" y="325"/>
                  </a:cubicBezTo>
                  <a:cubicBezTo>
                    <a:pt x="333" y="325"/>
                    <a:pt x="333" y="325"/>
                    <a:pt x="333" y="325"/>
                  </a:cubicBezTo>
                  <a:cubicBezTo>
                    <a:pt x="333" y="325"/>
                    <a:pt x="333" y="325"/>
                    <a:pt x="333" y="325"/>
                  </a:cubicBezTo>
                  <a:cubicBezTo>
                    <a:pt x="333" y="325"/>
                    <a:pt x="333" y="325"/>
                    <a:pt x="333" y="325"/>
                  </a:cubicBezTo>
                  <a:cubicBezTo>
                    <a:pt x="333" y="325"/>
                    <a:pt x="333" y="325"/>
                    <a:pt x="333" y="325"/>
                  </a:cubicBezTo>
                  <a:cubicBezTo>
                    <a:pt x="333" y="326"/>
                    <a:pt x="333" y="326"/>
                    <a:pt x="333" y="326"/>
                  </a:cubicBezTo>
                  <a:cubicBezTo>
                    <a:pt x="333" y="326"/>
                    <a:pt x="333" y="326"/>
                    <a:pt x="333" y="326"/>
                  </a:cubicBezTo>
                  <a:cubicBezTo>
                    <a:pt x="333" y="326"/>
                    <a:pt x="333" y="326"/>
                    <a:pt x="333"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7"/>
                    <a:pt x="332" y="327"/>
                    <a:pt x="332" y="327"/>
                  </a:cubicBezTo>
                  <a:cubicBezTo>
                    <a:pt x="332" y="327"/>
                    <a:pt x="332" y="327"/>
                    <a:pt x="332"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8"/>
                    <a:pt x="331" y="328"/>
                    <a:pt x="331" y="328"/>
                  </a:cubicBezTo>
                  <a:cubicBezTo>
                    <a:pt x="331" y="328"/>
                    <a:pt x="331" y="328"/>
                    <a:pt x="331"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9"/>
                    <a:pt x="330" y="329"/>
                    <a:pt x="330" y="329"/>
                  </a:cubicBezTo>
                  <a:cubicBezTo>
                    <a:pt x="330" y="329"/>
                    <a:pt x="330" y="329"/>
                    <a:pt x="330"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30"/>
                    <a:pt x="329" y="330"/>
                    <a:pt x="329" y="330"/>
                  </a:cubicBezTo>
                  <a:cubicBezTo>
                    <a:pt x="329" y="330"/>
                    <a:pt x="329" y="330"/>
                    <a:pt x="329"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294"/>
                    <a:pt x="328" y="294"/>
                    <a:pt x="328" y="294"/>
                  </a:cubicBezTo>
                  <a:cubicBezTo>
                    <a:pt x="335" y="302"/>
                    <a:pt x="335" y="302"/>
                    <a:pt x="335" y="302"/>
                  </a:cubicBezTo>
                  <a:cubicBezTo>
                    <a:pt x="339" y="298"/>
                    <a:pt x="339" y="298"/>
                    <a:pt x="339" y="298"/>
                  </a:cubicBezTo>
                  <a:close/>
                  <a:moveTo>
                    <a:pt x="339" y="368"/>
                  </a:moveTo>
                  <a:cubicBezTo>
                    <a:pt x="339" y="390"/>
                    <a:pt x="339" y="390"/>
                    <a:pt x="339" y="390"/>
                  </a:cubicBezTo>
                  <a:cubicBezTo>
                    <a:pt x="336" y="393"/>
                    <a:pt x="336" y="393"/>
                    <a:pt x="336" y="393"/>
                  </a:cubicBezTo>
                  <a:cubicBezTo>
                    <a:pt x="328" y="401"/>
                    <a:pt x="328" y="401"/>
                    <a:pt x="328" y="401"/>
                  </a:cubicBezTo>
                  <a:cubicBezTo>
                    <a:pt x="328" y="380"/>
                    <a:pt x="328" y="380"/>
                    <a:pt x="328" y="380"/>
                  </a:cubicBezTo>
                  <a:lnTo>
                    <a:pt x="339" y="368"/>
                  </a:lnTo>
                  <a:close/>
                  <a:moveTo>
                    <a:pt x="328" y="458"/>
                  </a:moveTo>
                  <a:cubicBezTo>
                    <a:pt x="317" y="447"/>
                    <a:pt x="317" y="447"/>
                    <a:pt x="317" y="447"/>
                  </a:cubicBezTo>
                  <a:cubicBezTo>
                    <a:pt x="317" y="419"/>
                    <a:pt x="317" y="419"/>
                    <a:pt x="317" y="419"/>
                  </a:cubicBezTo>
                  <a:cubicBezTo>
                    <a:pt x="328" y="430"/>
                    <a:pt x="328" y="430"/>
                    <a:pt x="328" y="430"/>
                  </a:cubicBezTo>
                  <a:cubicBezTo>
                    <a:pt x="328" y="458"/>
                    <a:pt x="328" y="458"/>
                    <a:pt x="328" y="458"/>
                  </a:cubicBezTo>
                  <a:close/>
                  <a:moveTo>
                    <a:pt x="317" y="189"/>
                  </a:moveTo>
                  <a:cubicBezTo>
                    <a:pt x="328" y="200"/>
                    <a:pt x="328" y="200"/>
                    <a:pt x="328" y="200"/>
                  </a:cubicBezTo>
                  <a:cubicBezTo>
                    <a:pt x="328" y="229"/>
                    <a:pt x="328" y="229"/>
                    <a:pt x="328" y="229"/>
                  </a:cubicBezTo>
                  <a:cubicBezTo>
                    <a:pt x="317" y="217"/>
                    <a:pt x="317" y="217"/>
                    <a:pt x="317" y="217"/>
                  </a:cubicBezTo>
                  <a:cubicBezTo>
                    <a:pt x="317" y="189"/>
                    <a:pt x="317" y="189"/>
                    <a:pt x="317" y="189"/>
                  </a:cubicBezTo>
                  <a:close/>
                  <a:moveTo>
                    <a:pt x="328" y="238"/>
                  </a:moveTo>
                  <a:cubicBezTo>
                    <a:pt x="328" y="274"/>
                    <a:pt x="328" y="274"/>
                    <a:pt x="328" y="274"/>
                  </a:cubicBezTo>
                  <a:cubicBezTo>
                    <a:pt x="321" y="267"/>
                    <a:pt x="321" y="267"/>
                    <a:pt x="321" y="267"/>
                  </a:cubicBezTo>
                  <a:cubicBezTo>
                    <a:pt x="317" y="271"/>
                    <a:pt x="317" y="271"/>
                    <a:pt x="317" y="271"/>
                  </a:cubicBezTo>
                  <a:cubicBezTo>
                    <a:pt x="317" y="249"/>
                    <a:pt x="317" y="249"/>
                    <a:pt x="317" y="249"/>
                  </a:cubicBezTo>
                  <a:cubicBezTo>
                    <a:pt x="328" y="238"/>
                    <a:pt x="328" y="238"/>
                    <a:pt x="328" y="238"/>
                  </a:cubicBezTo>
                  <a:close/>
                  <a:moveTo>
                    <a:pt x="328" y="294"/>
                  </a:moveTo>
                  <a:cubicBezTo>
                    <a:pt x="328" y="330"/>
                    <a:pt x="328" y="330"/>
                    <a:pt x="328" y="330"/>
                  </a:cubicBezTo>
                  <a:cubicBezTo>
                    <a:pt x="328" y="330"/>
                    <a:pt x="328" y="330"/>
                    <a:pt x="328" y="330"/>
                  </a:cubicBezTo>
                  <a:cubicBezTo>
                    <a:pt x="328" y="331"/>
                    <a:pt x="328" y="331"/>
                    <a:pt x="328" y="331"/>
                  </a:cubicBezTo>
                  <a:cubicBezTo>
                    <a:pt x="328" y="331"/>
                    <a:pt x="328" y="331"/>
                    <a:pt x="328" y="331"/>
                  </a:cubicBezTo>
                  <a:cubicBezTo>
                    <a:pt x="328" y="331"/>
                    <a:pt x="328" y="331"/>
                    <a:pt x="328" y="331"/>
                  </a:cubicBezTo>
                  <a:cubicBezTo>
                    <a:pt x="327" y="331"/>
                    <a:pt x="327" y="331"/>
                    <a:pt x="327" y="331"/>
                  </a:cubicBezTo>
                  <a:cubicBezTo>
                    <a:pt x="327" y="331"/>
                    <a:pt x="327" y="331"/>
                    <a:pt x="327" y="331"/>
                  </a:cubicBezTo>
                  <a:cubicBezTo>
                    <a:pt x="327" y="331"/>
                    <a:pt x="327" y="331"/>
                    <a:pt x="327" y="331"/>
                  </a:cubicBezTo>
                  <a:cubicBezTo>
                    <a:pt x="327" y="331"/>
                    <a:pt x="327" y="331"/>
                    <a:pt x="327" y="331"/>
                  </a:cubicBezTo>
                  <a:cubicBezTo>
                    <a:pt x="327" y="332"/>
                    <a:pt x="327" y="332"/>
                    <a:pt x="327" y="332"/>
                  </a:cubicBezTo>
                  <a:cubicBezTo>
                    <a:pt x="327" y="332"/>
                    <a:pt x="327" y="332"/>
                    <a:pt x="327" y="332"/>
                  </a:cubicBezTo>
                  <a:cubicBezTo>
                    <a:pt x="327" y="332"/>
                    <a:pt x="327" y="332"/>
                    <a:pt x="327"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3"/>
                    <a:pt x="326" y="333"/>
                    <a:pt x="326"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4"/>
                    <a:pt x="325" y="334"/>
                    <a:pt x="325" y="334"/>
                  </a:cubicBezTo>
                  <a:cubicBezTo>
                    <a:pt x="325" y="334"/>
                    <a:pt x="325" y="334"/>
                    <a:pt x="325"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5"/>
                    <a:pt x="324" y="335"/>
                    <a:pt x="324" y="335"/>
                  </a:cubicBezTo>
                  <a:cubicBezTo>
                    <a:pt x="324" y="335"/>
                    <a:pt x="324" y="335"/>
                    <a:pt x="324" y="335"/>
                  </a:cubicBezTo>
                  <a:cubicBezTo>
                    <a:pt x="323" y="335"/>
                    <a:pt x="323" y="335"/>
                    <a:pt x="323" y="335"/>
                  </a:cubicBezTo>
                  <a:cubicBezTo>
                    <a:pt x="323" y="335"/>
                    <a:pt x="323" y="335"/>
                    <a:pt x="323" y="335"/>
                  </a:cubicBezTo>
                  <a:cubicBezTo>
                    <a:pt x="317" y="342"/>
                    <a:pt x="317" y="342"/>
                    <a:pt x="317" y="342"/>
                  </a:cubicBezTo>
                  <a:cubicBezTo>
                    <a:pt x="317" y="320"/>
                    <a:pt x="317" y="320"/>
                    <a:pt x="317" y="320"/>
                  </a:cubicBezTo>
                  <a:cubicBezTo>
                    <a:pt x="323" y="314"/>
                    <a:pt x="323" y="314"/>
                    <a:pt x="323" y="314"/>
                  </a:cubicBezTo>
                  <a:cubicBezTo>
                    <a:pt x="317" y="308"/>
                    <a:pt x="317" y="308"/>
                    <a:pt x="317" y="308"/>
                  </a:cubicBezTo>
                  <a:cubicBezTo>
                    <a:pt x="317" y="283"/>
                    <a:pt x="317" y="283"/>
                    <a:pt x="317" y="283"/>
                  </a:cubicBezTo>
                  <a:cubicBezTo>
                    <a:pt x="328" y="294"/>
                    <a:pt x="328" y="294"/>
                    <a:pt x="328" y="294"/>
                  </a:cubicBezTo>
                  <a:close/>
                  <a:moveTo>
                    <a:pt x="328" y="380"/>
                  </a:moveTo>
                  <a:cubicBezTo>
                    <a:pt x="328" y="401"/>
                    <a:pt x="328" y="401"/>
                    <a:pt x="328" y="401"/>
                  </a:cubicBezTo>
                  <a:cubicBezTo>
                    <a:pt x="317" y="412"/>
                    <a:pt x="317" y="412"/>
                    <a:pt x="317" y="412"/>
                  </a:cubicBezTo>
                  <a:cubicBezTo>
                    <a:pt x="317" y="373"/>
                    <a:pt x="317" y="373"/>
                    <a:pt x="317" y="373"/>
                  </a:cubicBezTo>
                  <a:cubicBezTo>
                    <a:pt x="325" y="382"/>
                    <a:pt x="325" y="382"/>
                    <a:pt x="325" y="382"/>
                  </a:cubicBezTo>
                  <a:lnTo>
                    <a:pt x="328" y="380"/>
                  </a:lnTo>
                  <a:close/>
                  <a:moveTo>
                    <a:pt x="317" y="447"/>
                  </a:moveTo>
                  <a:cubicBezTo>
                    <a:pt x="305" y="435"/>
                    <a:pt x="305" y="435"/>
                    <a:pt x="305" y="435"/>
                  </a:cubicBezTo>
                  <a:cubicBezTo>
                    <a:pt x="305" y="402"/>
                    <a:pt x="305" y="402"/>
                    <a:pt x="305" y="402"/>
                  </a:cubicBezTo>
                  <a:cubicBezTo>
                    <a:pt x="313" y="395"/>
                    <a:pt x="313" y="395"/>
                    <a:pt x="313" y="395"/>
                  </a:cubicBezTo>
                  <a:cubicBezTo>
                    <a:pt x="305" y="387"/>
                    <a:pt x="305" y="387"/>
                    <a:pt x="305" y="387"/>
                  </a:cubicBezTo>
                  <a:cubicBezTo>
                    <a:pt x="305" y="362"/>
                    <a:pt x="305" y="362"/>
                    <a:pt x="305" y="362"/>
                  </a:cubicBezTo>
                  <a:cubicBezTo>
                    <a:pt x="317" y="373"/>
                    <a:pt x="317" y="373"/>
                    <a:pt x="317" y="373"/>
                  </a:cubicBezTo>
                  <a:cubicBezTo>
                    <a:pt x="317" y="412"/>
                    <a:pt x="317" y="412"/>
                    <a:pt x="317" y="412"/>
                  </a:cubicBezTo>
                  <a:cubicBezTo>
                    <a:pt x="314" y="416"/>
                    <a:pt x="314" y="416"/>
                    <a:pt x="314" y="416"/>
                  </a:cubicBezTo>
                  <a:cubicBezTo>
                    <a:pt x="317" y="419"/>
                    <a:pt x="317" y="419"/>
                    <a:pt x="317" y="419"/>
                  </a:cubicBezTo>
                  <a:cubicBezTo>
                    <a:pt x="317" y="447"/>
                    <a:pt x="317" y="447"/>
                    <a:pt x="317" y="447"/>
                  </a:cubicBezTo>
                  <a:close/>
                  <a:moveTo>
                    <a:pt x="305" y="178"/>
                  </a:moveTo>
                  <a:cubicBezTo>
                    <a:pt x="317" y="189"/>
                    <a:pt x="317" y="189"/>
                    <a:pt x="317" y="189"/>
                  </a:cubicBezTo>
                  <a:cubicBezTo>
                    <a:pt x="317" y="217"/>
                    <a:pt x="317" y="217"/>
                    <a:pt x="317" y="217"/>
                  </a:cubicBezTo>
                  <a:cubicBezTo>
                    <a:pt x="308" y="209"/>
                    <a:pt x="308" y="209"/>
                    <a:pt x="308" y="209"/>
                  </a:cubicBezTo>
                  <a:cubicBezTo>
                    <a:pt x="305" y="211"/>
                    <a:pt x="305" y="211"/>
                    <a:pt x="305" y="211"/>
                  </a:cubicBezTo>
                  <a:cubicBezTo>
                    <a:pt x="305" y="178"/>
                    <a:pt x="305" y="178"/>
                    <a:pt x="305" y="178"/>
                  </a:cubicBezTo>
                  <a:close/>
                  <a:moveTo>
                    <a:pt x="317" y="249"/>
                  </a:moveTo>
                  <a:cubicBezTo>
                    <a:pt x="317" y="271"/>
                    <a:pt x="317" y="271"/>
                    <a:pt x="317" y="271"/>
                  </a:cubicBezTo>
                  <a:cubicBezTo>
                    <a:pt x="311" y="277"/>
                    <a:pt x="311" y="277"/>
                    <a:pt x="311" y="277"/>
                  </a:cubicBezTo>
                  <a:cubicBezTo>
                    <a:pt x="317" y="283"/>
                    <a:pt x="317" y="283"/>
                    <a:pt x="317" y="283"/>
                  </a:cubicBezTo>
                  <a:cubicBezTo>
                    <a:pt x="317" y="308"/>
                    <a:pt x="317" y="308"/>
                    <a:pt x="317" y="308"/>
                  </a:cubicBezTo>
                  <a:cubicBezTo>
                    <a:pt x="305" y="296"/>
                    <a:pt x="305" y="296"/>
                    <a:pt x="305" y="296"/>
                  </a:cubicBezTo>
                  <a:cubicBezTo>
                    <a:pt x="305" y="260"/>
                    <a:pt x="305" y="260"/>
                    <a:pt x="305" y="260"/>
                  </a:cubicBezTo>
                  <a:cubicBezTo>
                    <a:pt x="305" y="260"/>
                    <a:pt x="305" y="260"/>
                    <a:pt x="305"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59"/>
                    <a:pt x="306" y="259"/>
                    <a:pt x="306" y="259"/>
                  </a:cubicBezTo>
                  <a:cubicBezTo>
                    <a:pt x="306" y="259"/>
                    <a:pt x="306" y="259"/>
                    <a:pt x="306"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8"/>
                    <a:pt x="307" y="258"/>
                    <a:pt x="307" y="258"/>
                  </a:cubicBezTo>
                  <a:cubicBezTo>
                    <a:pt x="307" y="258"/>
                    <a:pt x="307" y="258"/>
                    <a:pt x="307"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7"/>
                    <a:pt x="308" y="257"/>
                    <a:pt x="308"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6"/>
                    <a:pt x="309" y="256"/>
                    <a:pt x="309" y="256"/>
                  </a:cubicBezTo>
                  <a:cubicBezTo>
                    <a:pt x="309" y="256"/>
                    <a:pt x="309" y="256"/>
                    <a:pt x="309" y="256"/>
                  </a:cubicBezTo>
                  <a:cubicBezTo>
                    <a:pt x="310" y="256"/>
                    <a:pt x="310" y="256"/>
                    <a:pt x="310" y="256"/>
                  </a:cubicBezTo>
                  <a:cubicBezTo>
                    <a:pt x="310" y="256"/>
                    <a:pt x="310" y="256"/>
                    <a:pt x="310" y="256"/>
                  </a:cubicBezTo>
                  <a:cubicBezTo>
                    <a:pt x="310" y="256"/>
                    <a:pt x="310" y="256"/>
                    <a:pt x="310" y="256"/>
                  </a:cubicBezTo>
                  <a:cubicBezTo>
                    <a:pt x="310" y="256"/>
                    <a:pt x="310" y="256"/>
                    <a:pt x="310" y="256"/>
                  </a:cubicBezTo>
                  <a:cubicBezTo>
                    <a:pt x="317" y="249"/>
                    <a:pt x="317" y="249"/>
                    <a:pt x="317" y="249"/>
                  </a:cubicBezTo>
                  <a:close/>
                  <a:moveTo>
                    <a:pt x="317" y="320"/>
                  </a:moveTo>
                  <a:cubicBezTo>
                    <a:pt x="317" y="342"/>
                    <a:pt x="317" y="342"/>
                    <a:pt x="317" y="342"/>
                  </a:cubicBezTo>
                  <a:cubicBezTo>
                    <a:pt x="305" y="353"/>
                    <a:pt x="305" y="353"/>
                    <a:pt x="305" y="353"/>
                  </a:cubicBezTo>
                  <a:cubicBezTo>
                    <a:pt x="305" y="317"/>
                    <a:pt x="305" y="317"/>
                    <a:pt x="305" y="317"/>
                  </a:cubicBezTo>
                  <a:cubicBezTo>
                    <a:pt x="313" y="324"/>
                    <a:pt x="313" y="324"/>
                    <a:pt x="313" y="324"/>
                  </a:cubicBezTo>
                  <a:lnTo>
                    <a:pt x="317" y="320"/>
                  </a:lnTo>
                  <a:close/>
                  <a:moveTo>
                    <a:pt x="305" y="435"/>
                  </a:moveTo>
                  <a:cubicBezTo>
                    <a:pt x="294" y="424"/>
                    <a:pt x="294" y="424"/>
                    <a:pt x="294" y="424"/>
                  </a:cubicBezTo>
                  <a:cubicBezTo>
                    <a:pt x="294" y="396"/>
                    <a:pt x="294" y="396"/>
                    <a:pt x="294" y="396"/>
                  </a:cubicBezTo>
                  <a:cubicBezTo>
                    <a:pt x="303" y="405"/>
                    <a:pt x="303" y="405"/>
                    <a:pt x="303" y="405"/>
                  </a:cubicBezTo>
                  <a:cubicBezTo>
                    <a:pt x="305" y="402"/>
                    <a:pt x="305" y="402"/>
                    <a:pt x="305" y="402"/>
                  </a:cubicBezTo>
                  <a:cubicBezTo>
                    <a:pt x="305" y="435"/>
                    <a:pt x="305" y="435"/>
                    <a:pt x="305" y="435"/>
                  </a:cubicBezTo>
                  <a:close/>
                  <a:moveTo>
                    <a:pt x="294" y="166"/>
                  </a:moveTo>
                  <a:cubicBezTo>
                    <a:pt x="298" y="170"/>
                    <a:pt x="298" y="170"/>
                    <a:pt x="298" y="170"/>
                  </a:cubicBezTo>
                  <a:cubicBezTo>
                    <a:pt x="305" y="178"/>
                    <a:pt x="305" y="178"/>
                    <a:pt x="305" y="178"/>
                  </a:cubicBezTo>
                  <a:cubicBezTo>
                    <a:pt x="305" y="211"/>
                    <a:pt x="305" y="211"/>
                    <a:pt x="305" y="211"/>
                  </a:cubicBezTo>
                  <a:cubicBezTo>
                    <a:pt x="294" y="222"/>
                    <a:pt x="294" y="222"/>
                    <a:pt x="294" y="222"/>
                  </a:cubicBezTo>
                  <a:cubicBezTo>
                    <a:pt x="294" y="201"/>
                    <a:pt x="294" y="201"/>
                    <a:pt x="294" y="201"/>
                  </a:cubicBezTo>
                  <a:cubicBezTo>
                    <a:pt x="297" y="198"/>
                    <a:pt x="297" y="198"/>
                    <a:pt x="297" y="198"/>
                  </a:cubicBezTo>
                  <a:cubicBezTo>
                    <a:pt x="294" y="195"/>
                    <a:pt x="294" y="195"/>
                    <a:pt x="294" y="195"/>
                  </a:cubicBezTo>
                  <a:cubicBezTo>
                    <a:pt x="294" y="166"/>
                    <a:pt x="294" y="166"/>
                    <a:pt x="294" y="166"/>
                  </a:cubicBezTo>
                  <a:close/>
                  <a:moveTo>
                    <a:pt x="305" y="260"/>
                  </a:moveTo>
                  <a:cubicBezTo>
                    <a:pt x="305" y="296"/>
                    <a:pt x="305" y="296"/>
                    <a:pt x="305" y="296"/>
                  </a:cubicBezTo>
                  <a:cubicBezTo>
                    <a:pt x="298" y="289"/>
                    <a:pt x="298" y="289"/>
                    <a:pt x="298" y="289"/>
                  </a:cubicBezTo>
                  <a:cubicBezTo>
                    <a:pt x="294" y="293"/>
                    <a:pt x="294" y="293"/>
                    <a:pt x="294" y="293"/>
                  </a:cubicBezTo>
                  <a:cubicBezTo>
                    <a:pt x="294" y="272"/>
                    <a:pt x="294" y="272"/>
                    <a:pt x="294" y="272"/>
                  </a:cubicBezTo>
                  <a:cubicBezTo>
                    <a:pt x="300" y="266"/>
                    <a:pt x="300" y="266"/>
                    <a:pt x="300" y="266"/>
                  </a:cubicBezTo>
                  <a:cubicBezTo>
                    <a:pt x="300" y="266"/>
                    <a:pt x="300" y="266"/>
                    <a:pt x="300" y="266"/>
                  </a:cubicBezTo>
                  <a:cubicBezTo>
                    <a:pt x="300" y="266"/>
                    <a:pt x="300" y="266"/>
                    <a:pt x="300" y="266"/>
                  </a:cubicBezTo>
                  <a:cubicBezTo>
                    <a:pt x="300" y="265"/>
                    <a:pt x="300" y="265"/>
                    <a:pt x="300" y="265"/>
                  </a:cubicBezTo>
                  <a:cubicBezTo>
                    <a:pt x="300" y="265"/>
                    <a:pt x="300" y="265"/>
                    <a:pt x="300"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4"/>
                    <a:pt x="301" y="264"/>
                    <a:pt x="301" y="264"/>
                  </a:cubicBezTo>
                  <a:cubicBezTo>
                    <a:pt x="301" y="264"/>
                    <a:pt x="301" y="264"/>
                    <a:pt x="301"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3"/>
                    <a:pt x="302" y="263"/>
                    <a:pt x="302" y="263"/>
                  </a:cubicBezTo>
                  <a:cubicBezTo>
                    <a:pt x="302" y="263"/>
                    <a:pt x="302" y="263"/>
                    <a:pt x="302" y="263"/>
                  </a:cubicBezTo>
                  <a:cubicBezTo>
                    <a:pt x="303" y="263"/>
                    <a:pt x="303" y="263"/>
                    <a:pt x="303" y="263"/>
                  </a:cubicBezTo>
                  <a:cubicBezTo>
                    <a:pt x="303" y="263"/>
                    <a:pt x="303" y="263"/>
                    <a:pt x="303" y="263"/>
                  </a:cubicBezTo>
                  <a:cubicBezTo>
                    <a:pt x="303" y="263"/>
                    <a:pt x="303" y="263"/>
                    <a:pt x="303" y="263"/>
                  </a:cubicBezTo>
                  <a:cubicBezTo>
                    <a:pt x="303" y="263"/>
                    <a:pt x="303" y="263"/>
                    <a:pt x="303" y="263"/>
                  </a:cubicBezTo>
                  <a:cubicBezTo>
                    <a:pt x="303" y="262"/>
                    <a:pt x="303" y="262"/>
                    <a:pt x="303" y="262"/>
                  </a:cubicBezTo>
                  <a:cubicBezTo>
                    <a:pt x="303" y="262"/>
                    <a:pt x="303" y="262"/>
                    <a:pt x="303" y="262"/>
                  </a:cubicBezTo>
                  <a:cubicBezTo>
                    <a:pt x="303" y="262"/>
                    <a:pt x="303" y="262"/>
                    <a:pt x="303"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1"/>
                    <a:pt x="304" y="261"/>
                    <a:pt x="304" y="261"/>
                  </a:cubicBezTo>
                  <a:cubicBezTo>
                    <a:pt x="304" y="261"/>
                    <a:pt x="304" y="261"/>
                    <a:pt x="304"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0"/>
                    <a:pt x="305" y="260"/>
                    <a:pt x="305" y="260"/>
                  </a:cubicBezTo>
                  <a:cubicBezTo>
                    <a:pt x="305" y="260"/>
                    <a:pt x="305" y="260"/>
                    <a:pt x="305" y="260"/>
                  </a:cubicBezTo>
                  <a:close/>
                  <a:moveTo>
                    <a:pt x="305" y="317"/>
                  </a:moveTo>
                  <a:cubicBezTo>
                    <a:pt x="305" y="353"/>
                    <a:pt x="305" y="353"/>
                    <a:pt x="305" y="353"/>
                  </a:cubicBezTo>
                  <a:cubicBezTo>
                    <a:pt x="301" y="357"/>
                    <a:pt x="301" y="357"/>
                    <a:pt x="301" y="357"/>
                  </a:cubicBezTo>
                  <a:cubicBezTo>
                    <a:pt x="305" y="362"/>
                    <a:pt x="305" y="362"/>
                    <a:pt x="305" y="362"/>
                  </a:cubicBezTo>
                  <a:cubicBezTo>
                    <a:pt x="305" y="387"/>
                    <a:pt x="305" y="387"/>
                    <a:pt x="305" y="387"/>
                  </a:cubicBezTo>
                  <a:cubicBezTo>
                    <a:pt x="294" y="375"/>
                    <a:pt x="294" y="375"/>
                    <a:pt x="294" y="375"/>
                  </a:cubicBezTo>
                  <a:cubicBezTo>
                    <a:pt x="294" y="342"/>
                    <a:pt x="294" y="342"/>
                    <a:pt x="294" y="342"/>
                  </a:cubicBezTo>
                  <a:cubicBezTo>
                    <a:pt x="294" y="342"/>
                    <a:pt x="294" y="342"/>
                    <a:pt x="294" y="342"/>
                  </a:cubicBezTo>
                  <a:cubicBezTo>
                    <a:pt x="294" y="342"/>
                    <a:pt x="294" y="342"/>
                    <a:pt x="294"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1"/>
                    <a:pt x="295" y="341"/>
                    <a:pt x="295" y="341"/>
                  </a:cubicBezTo>
                  <a:cubicBezTo>
                    <a:pt x="295" y="341"/>
                    <a:pt x="295" y="341"/>
                    <a:pt x="295" y="341"/>
                  </a:cubicBezTo>
                  <a:cubicBezTo>
                    <a:pt x="295" y="341"/>
                    <a:pt x="295" y="341"/>
                    <a:pt x="295" y="341"/>
                  </a:cubicBezTo>
                  <a:cubicBezTo>
                    <a:pt x="295" y="341"/>
                    <a:pt x="295" y="341"/>
                    <a:pt x="295" y="341"/>
                  </a:cubicBezTo>
                  <a:cubicBezTo>
                    <a:pt x="296" y="341"/>
                    <a:pt x="296" y="341"/>
                    <a:pt x="296" y="341"/>
                  </a:cubicBezTo>
                  <a:cubicBezTo>
                    <a:pt x="296" y="341"/>
                    <a:pt x="296" y="341"/>
                    <a:pt x="296" y="341"/>
                  </a:cubicBezTo>
                  <a:cubicBezTo>
                    <a:pt x="296" y="341"/>
                    <a:pt x="296" y="341"/>
                    <a:pt x="296" y="341"/>
                  </a:cubicBezTo>
                  <a:cubicBezTo>
                    <a:pt x="296" y="341"/>
                    <a:pt x="296" y="341"/>
                    <a:pt x="296" y="341"/>
                  </a:cubicBezTo>
                  <a:cubicBezTo>
                    <a:pt x="296" y="340"/>
                    <a:pt x="296" y="340"/>
                    <a:pt x="296" y="340"/>
                  </a:cubicBezTo>
                  <a:cubicBezTo>
                    <a:pt x="296" y="340"/>
                    <a:pt x="296" y="340"/>
                    <a:pt x="296" y="340"/>
                  </a:cubicBezTo>
                  <a:cubicBezTo>
                    <a:pt x="296" y="340"/>
                    <a:pt x="296" y="340"/>
                    <a:pt x="296" y="340"/>
                  </a:cubicBezTo>
                  <a:cubicBezTo>
                    <a:pt x="296" y="340"/>
                    <a:pt x="296" y="340"/>
                    <a:pt x="296" y="340"/>
                  </a:cubicBezTo>
                  <a:cubicBezTo>
                    <a:pt x="297" y="340"/>
                    <a:pt x="297" y="340"/>
                    <a:pt x="297" y="340"/>
                  </a:cubicBezTo>
                  <a:cubicBezTo>
                    <a:pt x="297" y="340"/>
                    <a:pt x="297" y="340"/>
                    <a:pt x="297" y="340"/>
                  </a:cubicBezTo>
                  <a:cubicBezTo>
                    <a:pt x="297" y="340"/>
                    <a:pt x="297" y="340"/>
                    <a:pt x="297" y="340"/>
                  </a:cubicBezTo>
                  <a:cubicBezTo>
                    <a:pt x="297" y="340"/>
                    <a:pt x="297" y="340"/>
                    <a:pt x="297" y="340"/>
                  </a:cubicBezTo>
                  <a:cubicBezTo>
                    <a:pt x="297" y="339"/>
                    <a:pt x="297" y="339"/>
                    <a:pt x="297" y="339"/>
                  </a:cubicBezTo>
                  <a:cubicBezTo>
                    <a:pt x="297" y="339"/>
                    <a:pt x="297" y="339"/>
                    <a:pt x="297" y="339"/>
                  </a:cubicBezTo>
                  <a:cubicBezTo>
                    <a:pt x="297" y="339"/>
                    <a:pt x="297" y="339"/>
                    <a:pt x="297" y="339"/>
                  </a:cubicBezTo>
                  <a:cubicBezTo>
                    <a:pt x="297" y="339"/>
                    <a:pt x="297" y="339"/>
                    <a:pt x="297" y="339"/>
                  </a:cubicBezTo>
                  <a:cubicBezTo>
                    <a:pt x="298" y="339"/>
                    <a:pt x="298" y="339"/>
                    <a:pt x="298" y="339"/>
                  </a:cubicBezTo>
                  <a:cubicBezTo>
                    <a:pt x="298" y="339"/>
                    <a:pt x="298" y="339"/>
                    <a:pt x="298" y="339"/>
                  </a:cubicBezTo>
                  <a:cubicBezTo>
                    <a:pt x="298" y="339"/>
                    <a:pt x="298" y="339"/>
                    <a:pt x="298" y="339"/>
                  </a:cubicBezTo>
                  <a:cubicBezTo>
                    <a:pt x="298" y="339"/>
                    <a:pt x="298" y="339"/>
                    <a:pt x="298" y="339"/>
                  </a:cubicBezTo>
                  <a:cubicBezTo>
                    <a:pt x="298" y="338"/>
                    <a:pt x="298" y="338"/>
                    <a:pt x="298" y="338"/>
                  </a:cubicBezTo>
                  <a:cubicBezTo>
                    <a:pt x="298" y="338"/>
                    <a:pt x="298" y="338"/>
                    <a:pt x="298" y="338"/>
                  </a:cubicBezTo>
                  <a:cubicBezTo>
                    <a:pt x="298" y="338"/>
                    <a:pt x="298" y="338"/>
                    <a:pt x="298" y="338"/>
                  </a:cubicBezTo>
                  <a:cubicBezTo>
                    <a:pt x="298" y="338"/>
                    <a:pt x="298" y="338"/>
                    <a:pt x="298" y="338"/>
                  </a:cubicBezTo>
                  <a:cubicBezTo>
                    <a:pt x="299" y="338"/>
                    <a:pt x="299" y="338"/>
                    <a:pt x="299" y="338"/>
                  </a:cubicBezTo>
                  <a:cubicBezTo>
                    <a:pt x="299" y="338"/>
                    <a:pt x="299" y="338"/>
                    <a:pt x="299" y="338"/>
                  </a:cubicBezTo>
                  <a:cubicBezTo>
                    <a:pt x="299" y="338"/>
                    <a:pt x="299" y="338"/>
                    <a:pt x="299" y="338"/>
                  </a:cubicBezTo>
                  <a:cubicBezTo>
                    <a:pt x="299" y="338"/>
                    <a:pt x="299" y="338"/>
                    <a:pt x="299" y="338"/>
                  </a:cubicBezTo>
                  <a:cubicBezTo>
                    <a:pt x="299" y="337"/>
                    <a:pt x="299" y="337"/>
                    <a:pt x="299" y="337"/>
                  </a:cubicBezTo>
                  <a:cubicBezTo>
                    <a:pt x="299" y="337"/>
                    <a:pt x="299" y="337"/>
                    <a:pt x="299" y="337"/>
                  </a:cubicBezTo>
                  <a:cubicBezTo>
                    <a:pt x="299" y="337"/>
                    <a:pt x="299" y="337"/>
                    <a:pt x="299" y="337"/>
                  </a:cubicBezTo>
                  <a:cubicBezTo>
                    <a:pt x="299" y="337"/>
                    <a:pt x="299" y="337"/>
                    <a:pt x="299" y="337"/>
                  </a:cubicBezTo>
                  <a:cubicBezTo>
                    <a:pt x="300" y="337"/>
                    <a:pt x="300" y="337"/>
                    <a:pt x="300" y="337"/>
                  </a:cubicBezTo>
                  <a:cubicBezTo>
                    <a:pt x="300" y="337"/>
                    <a:pt x="300" y="337"/>
                    <a:pt x="300" y="337"/>
                  </a:cubicBezTo>
                  <a:cubicBezTo>
                    <a:pt x="300" y="337"/>
                    <a:pt x="300" y="337"/>
                    <a:pt x="300" y="337"/>
                  </a:cubicBezTo>
                  <a:cubicBezTo>
                    <a:pt x="300" y="337"/>
                    <a:pt x="300" y="337"/>
                    <a:pt x="300" y="337"/>
                  </a:cubicBezTo>
                  <a:cubicBezTo>
                    <a:pt x="300" y="336"/>
                    <a:pt x="300" y="336"/>
                    <a:pt x="300" y="336"/>
                  </a:cubicBezTo>
                  <a:cubicBezTo>
                    <a:pt x="300" y="336"/>
                    <a:pt x="300" y="336"/>
                    <a:pt x="300" y="336"/>
                  </a:cubicBezTo>
                  <a:cubicBezTo>
                    <a:pt x="294" y="330"/>
                    <a:pt x="294" y="330"/>
                    <a:pt x="294" y="330"/>
                  </a:cubicBezTo>
                  <a:cubicBezTo>
                    <a:pt x="294" y="305"/>
                    <a:pt x="294" y="305"/>
                    <a:pt x="294" y="305"/>
                  </a:cubicBezTo>
                  <a:lnTo>
                    <a:pt x="305" y="317"/>
                  </a:lnTo>
                  <a:close/>
                  <a:moveTo>
                    <a:pt x="294" y="424"/>
                  </a:moveTo>
                  <a:cubicBezTo>
                    <a:pt x="271" y="401"/>
                    <a:pt x="271" y="401"/>
                    <a:pt x="271" y="401"/>
                  </a:cubicBezTo>
                  <a:cubicBezTo>
                    <a:pt x="271" y="365"/>
                    <a:pt x="271" y="365"/>
                    <a:pt x="271" y="365"/>
                  </a:cubicBezTo>
                  <a:cubicBezTo>
                    <a:pt x="290" y="347"/>
                    <a:pt x="290" y="347"/>
                    <a:pt x="290" y="347"/>
                  </a:cubicBezTo>
                  <a:cubicBezTo>
                    <a:pt x="290" y="347"/>
                    <a:pt x="290" y="347"/>
                    <a:pt x="290" y="347"/>
                  </a:cubicBezTo>
                  <a:cubicBezTo>
                    <a:pt x="290" y="346"/>
                    <a:pt x="290" y="346"/>
                    <a:pt x="290" y="346"/>
                  </a:cubicBezTo>
                  <a:cubicBezTo>
                    <a:pt x="290" y="346"/>
                    <a:pt x="290" y="346"/>
                    <a:pt x="290" y="346"/>
                  </a:cubicBezTo>
                  <a:cubicBezTo>
                    <a:pt x="290" y="346"/>
                    <a:pt x="290" y="346"/>
                    <a:pt x="290" y="346"/>
                  </a:cubicBezTo>
                  <a:cubicBezTo>
                    <a:pt x="290" y="346"/>
                    <a:pt x="290" y="346"/>
                    <a:pt x="290"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5"/>
                    <a:pt x="291" y="345"/>
                    <a:pt x="291" y="345"/>
                  </a:cubicBezTo>
                  <a:cubicBezTo>
                    <a:pt x="291" y="345"/>
                    <a:pt x="291" y="345"/>
                    <a:pt x="291" y="345"/>
                  </a:cubicBezTo>
                  <a:cubicBezTo>
                    <a:pt x="291" y="345"/>
                    <a:pt x="291" y="345"/>
                    <a:pt x="291" y="345"/>
                  </a:cubicBezTo>
                  <a:cubicBezTo>
                    <a:pt x="291" y="345"/>
                    <a:pt x="291" y="345"/>
                    <a:pt x="291" y="345"/>
                  </a:cubicBezTo>
                  <a:cubicBezTo>
                    <a:pt x="292" y="345"/>
                    <a:pt x="292" y="345"/>
                    <a:pt x="292" y="345"/>
                  </a:cubicBezTo>
                  <a:cubicBezTo>
                    <a:pt x="292" y="345"/>
                    <a:pt x="292" y="345"/>
                    <a:pt x="292" y="345"/>
                  </a:cubicBezTo>
                  <a:cubicBezTo>
                    <a:pt x="292" y="345"/>
                    <a:pt x="292" y="345"/>
                    <a:pt x="292" y="345"/>
                  </a:cubicBezTo>
                  <a:cubicBezTo>
                    <a:pt x="292" y="345"/>
                    <a:pt x="292" y="345"/>
                    <a:pt x="292" y="345"/>
                  </a:cubicBezTo>
                  <a:cubicBezTo>
                    <a:pt x="292" y="344"/>
                    <a:pt x="292" y="344"/>
                    <a:pt x="292" y="344"/>
                  </a:cubicBezTo>
                  <a:cubicBezTo>
                    <a:pt x="292" y="344"/>
                    <a:pt x="292" y="344"/>
                    <a:pt x="292" y="344"/>
                  </a:cubicBezTo>
                  <a:cubicBezTo>
                    <a:pt x="292" y="344"/>
                    <a:pt x="292" y="344"/>
                    <a:pt x="292"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3"/>
                    <a:pt x="293" y="343"/>
                    <a:pt x="293" y="343"/>
                  </a:cubicBezTo>
                  <a:cubicBezTo>
                    <a:pt x="293" y="343"/>
                    <a:pt x="293" y="343"/>
                    <a:pt x="293" y="343"/>
                  </a:cubicBezTo>
                  <a:cubicBezTo>
                    <a:pt x="293" y="343"/>
                    <a:pt x="293" y="343"/>
                    <a:pt x="293"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2"/>
                    <a:pt x="294" y="342"/>
                    <a:pt x="294" y="342"/>
                  </a:cubicBezTo>
                  <a:cubicBezTo>
                    <a:pt x="294" y="342"/>
                    <a:pt x="294" y="342"/>
                    <a:pt x="294" y="342"/>
                  </a:cubicBezTo>
                  <a:cubicBezTo>
                    <a:pt x="294" y="375"/>
                    <a:pt x="294" y="375"/>
                    <a:pt x="294" y="375"/>
                  </a:cubicBezTo>
                  <a:cubicBezTo>
                    <a:pt x="288" y="370"/>
                    <a:pt x="288" y="370"/>
                    <a:pt x="288" y="370"/>
                  </a:cubicBezTo>
                  <a:cubicBezTo>
                    <a:pt x="285" y="373"/>
                    <a:pt x="281" y="376"/>
                    <a:pt x="278" y="380"/>
                  </a:cubicBezTo>
                  <a:cubicBezTo>
                    <a:pt x="294" y="396"/>
                    <a:pt x="294" y="396"/>
                    <a:pt x="294" y="396"/>
                  </a:cubicBezTo>
                  <a:cubicBezTo>
                    <a:pt x="294" y="424"/>
                    <a:pt x="294" y="424"/>
                    <a:pt x="294" y="424"/>
                  </a:cubicBezTo>
                  <a:close/>
                  <a:moveTo>
                    <a:pt x="271" y="143"/>
                  </a:moveTo>
                  <a:cubicBezTo>
                    <a:pt x="294" y="166"/>
                    <a:pt x="294" y="166"/>
                    <a:pt x="294" y="166"/>
                  </a:cubicBezTo>
                  <a:cubicBezTo>
                    <a:pt x="294" y="195"/>
                    <a:pt x="294" y="195"/>
                    <a:pt x="294" y="195"/>
                  </a:cubicBezTo>
                  <a:cubicBezTo>
                    <a:pt x="272" y="173"/>
                    <a:pt x="272" y="173"/>
                    <a:pt x="272" y="173"/>
                  </a:cubicBezTo>
                  <a:cubicBezTo>
                    <a:pt x="271" y="174"/>
                    <a:pt x="271" y="174"/>
                    <a:pt x="271" y="174"/>
                  </a:cubicBezTo>
                  <a:cubicBezTo>
                    <a:pt x="271" y="143"/>
                    <a:pt x="271" y="143"/>
                    <a:pt x="271" y="143"/>
                  </a:cubicBezTo>
                  <a:close/>
                  <a:moveTo>
                    <a:pt x="294" y="201"/>
                  </a:moveTo>
                  <a:cubicBezTo>
                    <a:pt x="287" y="208"/>
                    <a:pt x="287" y="208"/>
                    <a:pt x="287" y="208"/>
                  </a:cubicBezTo>
                  <a:cubicBezTo>
                    <a:pt x="271" y="192"/>
                    <a:pt x="271" y="192"/>
                    <a:pt x="271" y="192"/>
                  </a:cubicBezTo>
                  <a:cubicBezTo>
                    <a:pt x="271" y="217"/>
                    <a:pt x="271" y="217"/>
                    <a:pt x="271" y="217"/>
                  </a:cubicBezTo>
                  <a:cubicBezTo>
                    <a:pt x="275" y="220"/>
                    <a:pt x="275" y="220"/>
                    <a:pt x="275" y="220"/>
                  </a:cubicBezTo>
                  <a:cubicBezTo>
                    <a:pt x="271" y="223"/>
                    <a:pt x="271" y="223"/>
                    <a:pt x="271" y="223"/>
                  </a:cubicBezTo>
                  <a:cubicBezTo>
                    <a:pt x="271" y="245"/>
                    <a:pt x="271" y="245"/>
                    <a:pt x="271" y="245"/>
                  </a:cubicBezTo>
                  <a:cubicBezTo>
                    <a:pt x="275" y="241"/>
                    <a:pt x="275" y="241"/>
                    <a:pt x="275" y="241"/>
                  </a:cubicBezTo>
                  <a:cubicBezTo>
                    <a:pt x="275" y="241"/>
                    <a:pt x="275" y="241"/>
                    <a:pt x="275" y="241"/>
                  </a:cubicBezTo>
                  <a:cubicBezTo>
                    <a:pt x="275" y="241"/>
                    <a:pt x="275" y="241"/>
                    <a:pt x="275" y="241"/>
                  </a:cubicBezTo>
                  <a:cubicBezTo>
                    <a:pt x="276" y="241"/>
                    <a:pt x="276" y="241"/>
                    <a:pt x="276" y="241"/>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7" y="240"/>
                    <a:pt x="277" y="240"/>
                    <a:pt x="277" y="240"/>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9" y="238"/>
                    <a:pt x="279" y="238"/>
                    <a:pt x="279" y="238"/>
                  </a:cubicBezTo>
                  <a:cubicBezTo>
                    <a:pt x="279" y="238"/>
                    <a:pt x="279" y="238"/>
                    <a:pt x="279" y="238"/>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80" y="237"/>
                    <a:pt x="280" y="237"/>
                    <a:pt x="280" y="237"/>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1" y="236"/>
                    <a:pt x="281" y="236"/>
                    <a:pt x="281" y="236"/>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2" y="235"/>
                    <a:pt x="282" y="235"/>
                    <a:pt x="282" y="235"/>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3" y="234"/>
                    <a:pt x="283" y="234"/>
                    <a:pt x="283" y="234"/>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4" y="233"/>
                    <a:pt x="284" y="233"/>
                    <a:pt x="284" y="233"/>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5" y="232"/>
                    <a:pt x="285" y="232"/>
                    <a:pt x="285" y="232"/>
                  </a:cubicBezTo>
                  <a:cubicBezTo>
                    <a:pt x="285" y="232"/>
                    <a:pt x="285" y="232"/>
                    <a:pt x="285" y="232"/>
                  </a:cubicBezTo>
                  <a:cubicBezTo>
                    <a:pt x="285" y="232"/>
                    <a:pt x="285" y="232"/>
                    <a:pt x="285" y="232"/>
                  </a:cubicBezTo>
                  <a:cubicBezTo>
                    <a:pt x="285" y="231"/>
                    <a:pt x="285" y="231"/>
                    <a:pt x="285" y="231"/>
                  </a:cubicBezTo>
                  <a:cubicBezTo>
                    <a:pt x="285" y="231"/>
                    <a:pt x="285" y="231"/>
                    <a:pt x="285" y="231"/>
                  </a:cubicBezTo>
                  <a:cubicBezTo>
                    <a:pt x="285" y="231"/>
                    <a:pt x="285" y="231"/>
                    <a:pt x="285" y="231"/>
                  </a:cubicBezTo>
                  <a:cubicBezTo>
                    <a:pt x="285" y="231"/>
                    <a:pt x="285" y="231"/>
                    <a:pt x="285" y="231"/>
                  </a:cubicBezTo>
                  <a:cubicBezTo>
                    <a:pt x="294" y="222"/>
                    <a:pt x="294" y="222"/>
                    <a:pt x="294" y="222"/>
                  </a:cubicBezTo>
                  <a:cubicBezTo>
                    <a:pt x="294" y="201"/>
                    <a:pt x="294" y="201"/>
                    <a:pt x="294" y="201"/>
                  </a:cubicBezTo>
                  <a:close/>
                  <a:moveTo>
                    <a:pt x="294" y="272"/>
                  </a:moveTo>
                  <a:cubicBezTo>
                    <a:pt x="294" y="293"/>
                    <a:pt x="294" y="293"/>
                    <a:pt x="294" y="293"/>
                  </a:cubicBezTo>
                  <a:cubicBezTo>
                    <a:pt x="288" y="299"/>
                    <a:pt x="288" y="299"/>
                    <a:pt x="288" y="299"/>
                  </a:cubicBezTo>
                  <a:cubicBezTo>
                    <a:pt x="294" y="305"/>
                    <a:pt x="294" y="305"/>
                    <a:pt x="294" y="305"/>
                  </a:cubicBezTo>
                  <a:cubicBezTo>
                    <a:pt x="294" y="330"/>
                    <a:pt x="294" y="330"/>
                    <a:pt x="294" y="330"/>
                  </a:cubicBezTo>
                  <a:cubicBezTo>
                    <a:pt x="276" y="311"/>
                    <a:pt x="276" y="311"/>
                    <a:pt x="276" y="311"/>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1" y="316"/>
                    <a:pt x="271" y="316"/>
                    <a:pt x="271" y="316"/>
                  </a:cubicBezTo>
                  <a:cubicBezTo>
                    <a:pt x="271" y="316"/>
                    <a:pt x="271" y="316"/>
                    <a:pt x="271" y="316"/>
                  </a:cubicBezTo>
                  <a:cubicBezTo>
                    <a:pt x="271" y="294"/>
                    <a:pt x="271" y="294"/>
                    <a:pt x="271" y="294"/>
                  </a:cubicBezTo>
                  <a:cubicBezTo>
                    <a:pt x="277" y="288"/>
                    <a:pt x="277" y="288"/>
                    <a:pt x="277" y="288"/>
                  </a:cubicBezTo>
                  <a:cubicBezTo>
                    <a:pt x="287" y="278"/>
                    <a:pt x="287" y="278"/>
                    <a:pt x="287" y="278"/>
                  </a:cubicBezTo>
                  <a:lnTo>
                    <a:pt x="294" y="272"/>
                  </a:lnTo>
                  <a:close/>
                  <a:moveTo>
                    <a:pt x="271" y="401"/>
                  </a:moveTo>
                  <a:cubicBezTo>
                    <a:pt x="244" y="374"/>
                    <a:pt x="244" y="374"/>
                    <a:pt x="244" y="374"/>
                  </a:cubicBezTo>
                  <a:cubicBezTo>
                    <a:pt x="244" y="346"/>
                    <a:pt x="244" y="346"/>
                    <a:pt x="244" y="346"/>
                  </a:cubicBezTo>
                  <a:cubicBezTo>
                    <a:pt x="267" y="369"/>
                    <a:pt x="267" y="369"/>
                    <a:pt x="267" y="369"/>
                  </a:cubicBezTo>
                  <a:cubicBezTo>
                    <a:pt x="271" y="365"/>
                    <a:pt x="271" y="365"/>
                    <a:pt x="271" y="365"/>
                  </a:cubicBezTo>
                  <a:cubicBezTo>
                    <a:pt x="271" y="401"/>
                    <a:pt x="271" y="401"/>
                    <a:pt x="271" y="401"/>
                  </a:cubicBezTo>
                  <a:close/>
                  <a:moveTo>
                    <a:pt x="244" y="116"/>
                  </a:moveTo>
                  <a:cubicBezTo>
                    <a:pt x="271" y="143"/>
                    <a:pt x="271" y="143"/>
                    <a:pt x="271" y="143"/>
                  </a:cubicBezTo>
                  <a:cubicBezTo>
                    <a:pt x="271" y="174"/>
                    <a:pt x="271" y="174"/>
                    <a:pt x="271" y="174"/>
                  </a:cubicBezTo>
                  <a:cubicBezTo>
                    <a:pt x="262" y="183"/>
                    <a:pt x="262" y="183"/>
                    <a:pt x="262" y="183"/>
                  </a:cubicBezTo>
                  <a:cubicBezTo>
                    <a:pt x="271" y="192"/>
                    <a:pt x="271" y="192"/>
                    <a:pt x="271" y="192"/>
                  </a:cubicBezTo>
                  <a:cubicBezTo>
                    <a:pt x="271" y="217"/>
                    <a:pt x="271" y="217"/>
                    <a:pt x="271" y="217"/>
                  </a:cubicBezTo>
                  <a:cubicBezTo>
                    <a:pt x="250" y="195"/>
                    <a:pt x="250" y="195"/>
                    <a:pt x="250" y="195"/>
                  </a:cubicBezTo>
                  <a:cubicBezTo>
                    <a:pt x="244" y="201"/>
                    <a:pt x="244" y="201"/>
                    <a:pt x="244" y="201"/>
                  </a:cubicBezTo>
                  <a:cubicBezTo>
                    <a:pt x="244" y="165"/>
                    <a:pt x="244" y="165"/>
                    <a:pt x="244" y="165"/>
                  </a:cubicBezTo>
                  <a:cubicBezTo>
                    <a:pt x="251" y="172"/>
                    <a:pt x="251" y="172"/>
                    <a:pt x="251" y="172"/>
                  </a:cubicBezTo>
                  <a:cubicBezTo>
                    <a:pt x="255" y="169"/>
                    <a:pt x="258" y="165"/>
                    <a:pt x="262" y="162"/>
                  </a:cubicBezTo>
                  <a:cubicBezTo>
                    <a:pt x="244" y="144"/>
                    <a:pt x="244" y="144"/>
                    <a:pt x="244" y="144"/>
                  </a:cubicBezTo>
                  <a:cubicBezTo>
                    <a:pt x="244" y="116"/>
                    <a:pt x="244" y="116"/>
                    <a:pt x="244" y="116"/>
                  </a:cubicBezTo>
                  <a:close/>
                  <a:moveTo>
                    <a:pt x="271" y="223"/>
                  </a:moveTo>
                  <a:cubicBezTo>
                    <a:pt x="264" y="230"/>
                    <a:pt x="264" y="230"/>
                    <a:pt x="264" y="230"/>
                  </a:cubicBezTo>
                  <a:cubicBezTo>
                    <a:pt x="244" y="210"/>
                    <a:pt x="244" y="210"/>
                    <a:pt x="244" y="210"/>
                  </a:cubicBezTo>
                  <a:cubicBezTo>
                    <a:pt x="244" y="235"/>
                    <a:pt x="244" y="235"/>
                    <a:pt x="244" y="235"/>
                  </a:cubicBezTo>
                  <a:cubicBezTo>
                    <a:pt x="252" y="243"/>
                    <a:pt x="252" y="243"/>
                    <a:pt x="252" y="243"/>
                  </a:cubicBezTo>
                  <a:cubicBezTo>
                    <a:pt x="252" y="243"/>
                    <a:pt x="252" y="243"/>
                    <a:pt x="252" y="243"/>
                  </a:cubicBezTo>
                  <a:cubicBezTo>
                    <a:pt x="252" y="243"/>
                    <a:pt x="252" y="243"/>
                    <a:pt x="252"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4"/>
                    <a:pt x="251" y="244"/>
                    <a:pt x="251" y="244"/>
                  </a:cubicBezTo>
                  <a:cubicBezTo>
                    <a:pt x="251" y="244"/>
                    <a:pt x="251" y="244"/>
                    <a:pt x="251"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5"/>
                    <a:pt x="250" y="245"/>
                    <a:pt x="250" y="245"/>
                  </a:cubicBezTo>
                  <a:cubicBezTo>
                    <a:pt x="250" y="245"/>
                    <a:pt x="250" y="245"/>
                    <a:pt x="250"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6"/>
                    <a:pt x="249" y="246"/>
                    <a:pt x="249" y="246"/>
                  </a:cubicBezTo>
                  <a:cubicBezTo>
                    <a:pt x="249" y="246"/>
                    <a:pt x="249" y="246"/>
                    <a:pt x="249"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7"/>
                    <a:pt x="248" y="247"/>
                    <a:pt x="248" y="247"/>
                  </a:cubicBezTo>
                  <a:cubicBezTo>
                    <a:pt x="248" y="247"/>
                    <a:pt x="248" y="247"/>
                    <a:pt x="248" y="247"/>
                  </a:cubicBezTo>
                  <a:cubicBezTo>
                    <a:pt x="248" y="247"/>
                    <a:pt x="248" y="247"/>
                    <a:pt x="248" y="247"/>
                  </a:cubicBezTo>
                  <a:cubicBezTo>
                    <a:pt x="248" y="247"/>
                    <a:pt x="248" y="247"/>
                    <a:pt x="248" y="247"/>
                  </a:cubicBezTo>
                  <a:cubicBezTo>
                    <a:pt x="247" y="247"/>
                    <a:pt x="247" y="247"/>
                    <a:pt x="247" y="247"/>
                  </a:cubicBezTo>
                  <a:cubicBezTo>
                    <a:pt x="247" y="247"/>
                    <a:pt x="247" y="247"/>
                    <a:pt x="247" y="247"/>
                  </a:cubicBezTo>
                  <a:cubicBezTo>
                    <a:pt x="247" y="247"/>
                    <a:pt x="247" y="247"/>
                    <a:pt x="247" y="247"/>
                  </a:cubicBezTo>
                  <a:cubicBezTo>
                    <a:pt x="247" y="247"/>
                    <a:pt x="247" y="247"/>
                    <a:pt x="247" y="247"/>
                  </a:cubicBezTo>
                  <a:cubicBezTo>
                    <a:pt x="247" y="248"/>
                    <a:pt x="247" y="248"/>
                    <a:pt x="247" y="248"/>
                  </a:cubicBezTo>
                  <a:cubicBezTo>
                    <a:pt x="247" y="248"/>
                    <a:pt x="247" y="248"/>
                    <a:pt x="247" y="248"/>
                  </a:cubicBezTo>
                  <a:cubicBezTo>
                    <a:pt x="247" y="248"/>
                    <a:pt x="247" y="248"/>
                    <a:pt x="247" y="248"/>
                  </a:cubicBezTo>
                  <a:cubicBezTo>
                    <a:pt x="246" y="248"/>
                    <a:pt x="246" y="248"/>
                    <a:pt x="246" y="248"/>
                  </a:cubicBezTo>
                  <a:cubicBezTo>
                    <a:pt x="246" y="248"/>
                    <a:pt x="246" y="248"/>
                    <a:pt x="246" y="248"/>
                  </a:cubicBezTo>
                  <a:cubicBezTo>
                    <a:pt x="246" y="248"/>
                    <a:pt x="246" y="248"/>
                    <a:pt x="246" y="248"/>
                  </a:cubicBezTo>
                  <a:cubicBezTo>
                    <a:pt x="246" y="248"/>
                    <a:pt x="246" y="248"/>
                    <a:pt x="246" y="248"/>
                  </a:cubicBezTo>
                  <a:cubicBezTo>
                    <a:pt x="246" y="249"/>
                    <a:pt x="246" y="249"/>
                    <a:pt x="246" y="249"/>
                  </a:cubicBezTo>
                  <a:cubicBezTo>
                    <a:pt x="246" y="249"/>
                    <a:pt x="246" y="249"/>
                    <a:pt x="246" y="249"/>
                  </a:cubicBezTo>
                  <a:cubicBezTo>
                    <a:pt x="246" y="249"/>
                    <a:pt x="246" y="249"/>
                    <a:pt x="246"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50"/>
                    <a:pt x="245" y="250"/>
                    <a:pt x="245" y="250"/>
                  </a:cubicBezTo>
                  <a:cubicBezTo>
                    <a:pt x="245" y="250"/>
                    <a:pt x="245" y="250"/>
                    <a:pt x="245" y="250"/>
                  </a:cubicBezTo>
                  <a:cubicBezTo>
                    <a:pt x="245" y="250"/>
                    <a:pt x="245" y="250"/>
                    <a:pt x="245" y="250"/>
                  </a:cubicBezTo>
                  <a:cubicBezTo>
                    <a:pt x="244" y="250"/>
                    <a:pt x="244" y="250"/>
                    <a:pt x="244" y="250"/>
                  </a:cubicBezTo>
                  <a:cubicBezTo>
                    <a:pt x="244" y="250"/>
                    <a:pt x="244" y="250"/>
                    <a:pt x="244" y="250"/>
                  </a:cubicBezTo>
                  <a:cubicBezTo>
                    <a:pt x="244" y="272"/>
                    <a:pt x="244" y="272"/>
                    <a:pt x="244" y="272"/>
                  </a:cubicBezTo>
                  <a:cubicBezTo>
                    <a:pt x="252" y="263"/>
                    <a:pt x="252" y="263"/>
                    <a:pt x="252" y="263"/>
                  </a:cubicBezTo>
                  <a:cubicBezTo>
                    <a:pt x="263" y="253"/>
                    <a:pt x="263" y="253"/>
                    <a:pt x="263" y="253"/>
                  </a:cubicBezTo>
                  <a:cubicBezTo>
                    <a:pt x="271" y="245"/>
                    <a:pt x="271" y="245"/>
                    <a:pt x="271" y="245"/>
                  </a:cubicBezTo>
                  <a:cubicBezTo>
                    <a:pt x="271" y="223"/>
                    <a:pt x="271" y="223"/>
                    <a:pt x="271" y="223"/>
                  </a:cubicBezTo>
                  <a:close/>
                  <a:moveTo>
                    <a:pt x="271" y="294"/>
                  </a:move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0" y="316"/>
                    <a:pt x="270" y="316"/>
                    <a:pt x="270" y="316"/>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6" y="320"/>
                    <a:pt x="266" y="320"/>
                    <a:pt x="266" y="320"/>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5" y="322"/>
                    <a:pt x="265" y="322"/>
                    <a:pt x="265" y="322"/>
                  </a:cubicBezTo>
                  <a:cubicBezTo>
                    <a:pt x="265" y="322"/>
                    <a:pt x="265" y="322"/>
                    <a:pt x="265" y="322"/>
                  </a:cubicBezTo>
                  <a:cubicBezTo>
                    <a:pt x="265" y="322"/>
                    <a:pt x="265" y="322"/>
                    <a:pt x="265" y="322"/>
                  </a:cubicBezTo>
                  <a:cubicBezTo>
                    <a:pt x="244" y="343"/>
                    <a:pt x="244" y="343"/>
                    <a:pt x="244" y="343"/>
                  </a:cubicBezTo>
                  <a:cubicBezTo>
                    <a:pt x="244" y="301"/>
                    <a:pt x="244" y="301"/>
                    <a:pt x="244" y="301"/>
                  </a:cubicBezTo>
                  <a:cubicBezTo>
                    <a:pt x="254" y="311"/>
                    <a:pt x="254" y="311"/>
                    <a:pt x="254" y="311"/>
                  </a:cubicBezTo>
                  <a:cubicBezTo>
                    <a:pt x="255" y="311"/>
                    <a:pt x="255" y="311"/>
                    <a:pt x="255" y="311"/>
                  </a:cubicBezTo>
                  <a:cubicBezTo>
                    <a:pt x="255" y="311"/>
                    <a:pt x="255" y="311"/>
                    <a:pt x="255" y="311"/>
                  </a:cubicBezTo>
                  <a:cubicBezTo>
                    <a:pt x="255" y="310"/>
                    <a:pt x="255" y="310"/>
                    <a:pt x="255" y="310"/>
                  </a:cubicBezTo>
                  <a:cubicBezTo>
                    <a:pt x="255" y="310"/>
                    <a:pt x="255" y="310"/>
                    <a:pt x="255" y="310"/>
                  </a:cubicBezTo>
                  <a:cubicBezTo>
                    <a:pt x="255" y="310"/>
                    <a:pt x="255" y="310"/>
                    <a:pt x="255" y="310"/>
                  </a:cubicBezTo>
                  <a:cubicBezTo>
                    <a:pt x="255" y="310"/>
                    <a:pt x="255" y="310"/>
                    <a:pt x="255" y="310"/>
                  </a:cubicBezTo>
                  <a:cubicBezTo>
                    <a:pt x="256" y="310"/>
                    <a:pt x="256" y="310"/>
                    <a:pt x="256" y="310"/>
                  </a:cubicBezTo>
                  <a:cubicBezTo>
                    <a:pt x="256" y="310"/>
                    <a:pt x="256" y="310"/>
                    <a:pt x="256" y="310"/>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7" y="309"/>
                    <a:pt x="257" y="309"/>
                    <a:pt x="257" y="309"/>
                  </a:cubicBezTo>
                  <a:cubicBezTo>
                    <a:pt x="257" y="309"/>
                    <a:pt x="257" y="309"/>
                    <a:pt x="257" y="309"/>
                  </a:cubicBezTo>
                  <a:cubicBezTo>
                    <a:pt x="257" y="308"/>
                    <a:pt x="257" y="308"/>
                    <a:pt x="257" y="308"/>
                  </a:cubicBezTo>
                  <a:cubicBezTo>
                    <a:pt x="257" y="308"/>
                    <a:pt x="257" y="308"/>
                    <a:pt x="257" y="308"/>
                  </a:cubicBezTo>
                  <a:cubicBezTo>
                    <a:pt x="257" y="308"/>
                    <a:pt x="257" y="308"/>
                    <a:pt x="257" y="308"/>
                  </a:cubicBezTo>
                  <a:cubicBezTo>
                    <a:pt x="257" y="308"/>
                    <a:pt x="257" y="308"/>
                    <a:pt x="257" y="308"/>
                  </a:cubicBezTo>
                  <a:cubicBezTo>
                    <a:pt x="258" y="308"/>
                    <a:pt x="258" y="308"/>
                    <a:pt x="258" y="308"/>
                  </a:cubicBezTo>
                  <a:cubicBezTo>
                    <a:pt x="258" y="308"/>
                    <a:pt x="258" y="308"/>
                    <a:pt x="258" y="308"/>
                  </a:cubicBezTo>
                  <a:cubicBezTo>
                    <a:pt x="258" y="307"/>
                    <a:pt x="258" y="307"/>
                    <a:pt x="258" y="307"/>
                  </a:cubicBezTo>
                  <a:cubicBezTo>
                    <a:pt x="258" y="307"/>
                    <a:pt x="258" y="307"/>
                    <a:pt x="258" y="307"/>
                  </a:cubicBezTo>
                  <a:cubicBezTo>
                    <a:pt x="258" y="307"/>
                    <a:pt x="258" y="307"/>
                    <a:pt x="258" y="307"/>
                  </a:cubicBezTo>
                  <a:cubicBezTo>
                    <a:pt x="258" y="307"/>
                    <a:pt x="258" y="307"/>
                    <a:pt x="258" y="307"/>
                  </a:cubicBezTo>
                  <a:cubicBezTo>
                    <a:pt x="259" y="307"/>
                    <a:pt x="259" y="307"/>
                    <a:pt x="259" y="307"/>
                  </a:cubicBezTo>
                  <a:cubicBezTo>
                    <a:pt x="259" y="307"/>
                    <a:pt x="259" y="307"/>
                    <a:pt x="259" y="307"/>
                  </a:cubicBezTo>
                  <a:cubicBezTo>
                    <a:pt x="259" y="306"/>
                    <a:pt x="259" y="306"/>
                    <a:pt x="259" y="306"/>
                  </a:cubicBezTo>
                  <a:cubicBezTo>
                    <a:pt x="259" y="306"/>
                    <a:pt x="259" y="306"/>
                    <a:pt x="259" y="306"/>
                  </a:cubicBezTo>
                  <a:cubicBezTo>
                    <a:pt x="259" y="306"/>
                    <a:pt x="259" y="306"/>
                    <a:pt x="259" y="306"/>
                  </a:cubicBezTo>
                  <a:cubicBezTo>
                    <a:pt x="259" y="306"/>
                    <a:pt x="259" y="306"/>
                    <a:pt x="259" y="306"/>
                  </a:cubicBezTo>
                  <a:cubicBezTo>
                    <a:pt x="260" y="306"/>
                    <a:pt x="260" y="306"/>
                    <a:pt x="260" y="306"/>
                  </a:cubicBezTo>
                  <a:cubicBezTo>
                    <a:pt x="260" y="306"/>
                    <a:pt x="260" y="306"/>
                    <a:pt x="260" y="306"/>
                  </a:cubicBezTo>
                  <a:cubicBezTo>
                    <a:pt x="260" y="305"/>
                    <a:pt x="260" y="305"/>
                    <a:pt x="260" y="305"/>
                  </a:cubicBezTo>
                  <a:cubicBezTo>
                    <a:pt x="260" y="305"/>
                    <a:pt x="260" y="305"/>
                    <a:pt x="260" y="305"/>
                  </a:cubicBezTo>
                  <a:cubicBezTo>
                    <a:pt x="260" y="305"/>
                    <a:pt x="260" y="305"/>
                    <a:pt x="260" y="305"/>
                  </a:cubicBezTo>
                  <a:cubicBezTo>
                    <a:pt x="260" y="305"/>
                    <a:pt x="260" y="305"/>
                    <a:pt x="260" y="305"/>
                  </a:cubicBezTo>
                  <a:cubicBezTo>
                    <a:pt x="261" y="305"/>
                    <a:pt x="261" y="305"/>
                    <a:pt x="261" y="305"/>
                  </a:cubicBezTo>
                  <a:cubicBezTo>
                    <a:pt x="261" y="305"/>
                    <a:pt x="261" y="305"/>
                    <a:pt x="261" y="305"/>
                  </a:cubicBezTo>
                  <a:cubicBezTo>
                    <a:pt x="261" y="304"/>
                    <a:pt x="261" y="304"/>
                    <a:pt x="261" y="304"/>
                  </a:cubicBezTo>
                  <a:cubicBezTo>
                    <a:pt x="261" y="304"/>
                    <a:pt x="261" y="304"/>
                    <a:pt x="261" y="304"/>
                  </a:cubicBezTo>
                  <a:cubicBezTo>
                    <a:pt x="261" y="304"/>
                    <a:pt x="261" y="304"/>
                    <a:pt x="261" y="304"/>
                  </a:cubicBezTo>
                  <a:cubicBezTo>
                    <a:pt x="261" y="304"/>
                    <a:pt x="261" y="304"/>
                    <a:pt x="261" y="304"/>
                  </a:cubicBezTo>
                  <a:cubicBezTo>
                    <a:pt x="262" y="304"/>
                    <a:pt x="262" y="304"/>
                    <a:pt x="262" y="304"/>
                  </a:cubicBezTo>
                  <a:cubicBezTo>
                    <a:pt x="262" y="304"/>
                    <a:pt x="262" y="304"/>
                    <a:pt x="262" y="304"/>
                  </a:cubicBezTo>
                  <a:cubicBezTo>
                    <a:pt x="262" y="304"/>
                    <a:pt x="262" y="304"/>
                    <a:pt x="262" y="304"/>
                  </a:cubicBezTo>
                  <a:cubicBezTo>
                    <a:pt x="262" y="303"/>
                    <a:pt x="262" y="303"/>
                    <a:pt x="262" y="303"/>
                  </a:cubicBezTo>
                  <a:cubicBezTo>
                    <a:pt x="262" y="303"/>
                    <a:pt x="262" y="303"/>
                    <a:pt x="262" y="303"/>
                  </a:cubicBezTo>
                  <a:cubicBezTo>
                    <a:pt x="262" y="303"/>
                    <a:pt x="262" y="303"/>
                    <a:pt x="262" y="303"/>
                  </a:cubicBezTo>
                  <a:cubicBezTo>
                    <a:pt x="263" y="303"/>
                    <a:pt x="263" y="303"/>
                    <a:pt x="263" y="303"/>
                  </a:cubicBezTo>
                  <a:cubicBezTo>
                    <a:pt x="263" y="303"/>
                    <a:pt x="263" y="303"/>
                    <a:pt x="263" y="303"/>
                  </a:cubicBezTo>
                  <a:cubicBezTo>
                    <a:pt x="263" y="303"/>
                    <a:pt x="263" y="303"/>
                    <a:pt x="263" y="303"/>
                  </a:cubicBezTo>
                  <a:cubicBezTo>
                    <a:pt x="263" y="302"/>
                    <a:pt x="263" y="302"/>
                    <a:pt x="263" y="302"/>
                  </a:cubicBezTo>
                  <a:cubicBezTo>
                    <a:pt x="263" y="302"/>
                    <a:pt x="263" y="302"/>
                    <a:pt x="263" y="302"/>
                  </a:cubicBezTo>
                  <a:cubicBezTo>
                    <a:pt x="263" y="302"/>
                    <a:pt x="263" y="302"/>
                    <a:pt x="263" y="302"/>
                  </a:cubicBezTo>
                  <a:cubicBezTo>
                    <a:pt x="263" y="302"/>
                    <a:pt x="263" y="302"/>
                    <a:pt x="263" y="302"/>
                  </a:cubicBezTo>
                  <a:cubicBezTo>
                    <a:pt x="264" y="302"/>
                    <a:pt x="264" y="302"/>
                    <a:pt x="264" y="302"/>
                  </a:cubicBezTo>
                  <a:cubicBezTo>
                    <a:pt x="264" y="302"/>
                    <a:pt x="264" y="302"/>
                    <a:pt x="264" y="302"/>
                  </a:cubicBezTo>
                  <a:cubicBezTo>
                    <a:pt x="264" y="301"/>
                    <a:pt x="264" y="301"/>
                    <a:pt x="264" y="301"/>
                  </a:cubicBezTo>
                  <a:cubicBezTo>
                    <a:pt x="264" y="301"/>
                    <a:pt x="264" y="301"/>
                    <a:pt x="264" y="301"/>
                  </a:cubicBezTo>
                  <a:cubicBezTo>
                    <a:pt x="264" y="301"/>
                    <a:pt x="264" y="301"/>
                    <a:pt x="264" y="301"/>
                  </a:cubicBezTo>
                  <a:cubicBezTo>
                    <a:pt x="264" y="301"/>
                    <a:pt x="264" y="301"/>
                    <a:pt x="264" y="301"/>
                  </a:cubicBezTo>
                  <a:cubicBezTo>
                    <a:pt x="265" y="301"/>
                    <a:pt x="265" y="301"/>
                    <a:pt x="265" y="301"/>
                  </a:cubicBezTo>
                  <a:cubicBezTo>
                    <a:pt x="265" y="301"/>
                    <a:pt x="265" y="301"/>
                    <a:pt x="265" y="301"/>
                  </a:cubicBezTo>
                  <a:lnTo>
                    <a:pt x="271" y="294"/>
                  </a:lnTo>
                  <a:close/>
                  <a:moveTo>
                    <a:pt x="244" y="374"/>
                  </a:moveTo>
                  <a:cubicBezTo>
                    <a:pt x="233" y="362"/>
                    <a:pt x="233" y="362"/>
                    <a:pt x="233" y="362"/>
                  </a:cubicBezTo>
                  <a:cubicBezTo>
                    <a:pt x="233" y="332"/>
                    <a:pt x="233" y="332"/>
                    <a:pt x="233" y="332"/>
                  </a:cubicBezTo>
                  <a:cubicBezTo>
                    <a:pt x="242" y="323"/>
                    <a:pt x="242" y="323"/>
                    <a:pt x="242" y="323"/>
                  </a:cubicBezTo>
                  <a:cubicBezTo>
                    <a:pt x="233" y="314"/>
                    <a:pt x="233" y="314"/>
                    <a:pt x="233" y="314"/>
                  </a:cubicBezTo>
                  <a:cubicBezTo>
                    <a:pt x="233" y="289"/>
                    <a:pt x="233" y="289"/>
                    <a:pt x="233" y="289"/>
                  </a:cubicBezTo>
                  <a:cubicBezTo>
                    <a:pt x="244" y="301"/>
                    <a:pt x="244" y="301"/>
                    <a:pt x="244" y="301"/>
                  </a:cubicBezTo>
                  <a:cubicBezTo>
                    <a:pt x="244" y="343"/>
                    <a:pt x="244" y="343"/>
                    <a:pt x="244" y="343"/>
                  </a:cubicBezTo>
                  <a:cubicBezTo>
                    <a:pt x="243" y="344"/>
                    <a:pt x="243" y="344"/>
                    <a:pt x="243" y="344"/>
                  </a:cubicBezTo>
                  <a:cubicBezTo>
                    <a:pt x="244" y="346"/>
                    <a:pt x="244" y="346"/>
                    <a:pt x="244" y="346"/>
                  </a:cubicBezTo>
                  <a:cubicBezTo>
                    <a:pt x="244" y="374"/>
                    <a:pt x="244" y="374"/>
                    <a:pt x="244" y="374"/>
                  </a:cubicBezTo>
                  <a:close/>
                  <a:moveTo>
                    <a:pt x="233" y="105"/>
                  </a:moveTo>
                  <a:cubicBezTo>
                    <a:pt x="244" y="116"/>
                    <a:pt x="244" y="116"/>
                    <a:pt x="244" y="116"/>
                  </a:cubicBezTo>
                  <a:cubicBezTo>
                    <a:pt x="244" y="144"/>
                    <a:pt x="244" y="144"/>
                    <a:pt x="244" y="144"/>
                  </a:cubicBezTo>
                  <a:cubicBezTo>
                    <a:pt x="237" y="137"/>
                    <a:pt x="237" y="137"/>
                    <a:pt x="237" y="137"/>
                  </a:cubicBezTo>
                  <a:cubicBezTo>
                    <a:pt x="233" y="141"/>
                    <a:pt x="233" y="141"/>
                    <a:pt x="233" y="141"/>
                  </a:cubicBezTo>
                  <a:cubicBezTo>
                    <a:pt x="233" y="105"/>
                    <a:pt x="233" y="105"/>
                    <a:pt x="233" y="105"/>
                  </a:cubicBezTo>
                  <a:close/>
                  <a:moveTo>
                    <a:pt x="244" y="165"/>
                  </a:moveTo>
                  <a:cubicBezTo>
                    <a:pt x="244" y="201"/>
                    <a:pt x="244" y="201"/>
                    <a:pt x="244" y="201"/>
                  </a:cubicBezTo>
                  <a:cubicBezTo>
                    <a:pt x="240" y="205"/>
                    <a:pt x="240" y="205"/>
                    <a:pt x="240" y="205"/>
                  </a:cubicBezTo>
                  <a:cubicBezTo>
                    <a:pt x="244" y="210"/>
                    <a:pt x="244" y="210"/>
                    <a:pt x="244" y="210"/>
                  </a:cubicBezTo>
                  <a:cubicBezTo>
                    <a:pt x="244" y="235"/>
                    <a:pt x="244" y="235"/>
                    <a:pt x="244" y="235"/>
                  </a:cubicBezTo>
                  <a:cubicBezTo>
                    <a:pt x="233" y="223"/>
                    <a:pt x="233" y="223"/>
                    <a:pt x="233" y="223"/>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4" y="190"/>
                    <a:pt x="234" y="190"/>
                    <a:pt x="234" y="190"/>
                  </a:cubicBezTo>
                  <a:cubicBezTo>
                    <a:pt x="234" y="190"/>
                    <a:pt x="234" y="190"/>
                    <a:pt x="234" y="190"/>
                  </a:cubicBezTo>
                  <a:cubicBezTo>
                    <a:pt x="234" y="190"/>
                    <a:pt x="234" y="190"/>
                    <a:pt x="234" y="190"/>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5" y="189"/>
                    <a:pt x="235" y="189"/>
                    <a:pt x="235" y="189"/>
                  </a:cubicBezTo>
                  <a:cubicBezTo>
                    <a:pt x="235" y="189"/>
                    <a:pt x="235" y="189"/>
                    <a:pt x="235" y="189"/>
                  </a:cubicBezTo>
                  <a:cubicBezTo>
                    <a:pt x="235" y="189"/>
                    <a:pt x="235" y="189"/>
                    <a:pt x="235" y="189"/>
                  </a:cubicBezTo>
                  <a:cubicBezTo>
                    <a:pt x="235" y="188"/>
                    <a:pt x="235" y="188"/>
                    <a:pt x="235" y="188"/>
                  </a:cubicBezTo>
                  <a:cubicBezTo>
                    <a:pt x="235" y="188"/>
                    <a:pt x="235" y="188"/>
                    <a:pt x="235" y="188"/>
                  </a:cubicBezTo>
                  <a:cubicBezTo>
                    <a:pt x="235" y="188"/>
                    <a:pt x="235" y="188"/>
                    <a:pt x="235" y="188"/>
                  </a:cubicBezTo>
                  <a:cubicBezTo>
                    <a:pt x="235" y="188"/>
                    <a:pt x="235" y="188"/>
                    <a:pt x="235" y="188"/>
                  </a:cubicBezTo>
                  <a:cubicBezTo>
                    <a:pt x="236" y="188"/>
                    <a:pt x="236" y="188"/>
                    <a:pt x="236" y="188"/>
                  </a:cubicBezTo>
                  <a:cubicBezTo>
                    <a:pt x="236" y="188"/>
                    <a:pt x="236" y="188"/>
                    <a:pt x="236" y="188"/>
                  </a:cubicBezTo>
                  <a:cubicBezTo>
                    <a:pt x="236" y="188"/>
                    <a:pt x="236" y="188"/>
                    <a:pt x="236" y="188"/>
                  </a:cubicBezTo>
                  <a:cubicBezTo>
                    <a:pt x="236" y="188"/>
                    <a:pt x="236" y="188"/>
                    <a:pt x="236" y="188"/>
                  </a:cubicBezTo>
                  <a:cubicBezTo>
                    <a:pt x="236" y="187"/>
                    <a:pt x="236" y="187"/>
                    <a:pt x="236" y="187"/>
                  </a:cubicBezTo>
                  <a:cubicBezTo>
                    <a:pt x="236" y="187"/>
                    <a:pt x="236" y="187"/>
                    <a:pt x="236" y="187"/>
                  </a:cubicBezTo>
                  <a:cubicBezTo>
                    <a:pt x="236" y="187"/>
                    <a:pt x="236" y="187"/>
                    <a:pt x="236" y="187"/>
                  </a:cubicBezTo>
                  <a:cubicBezTo>
                    <a:pt x="237" y="187"/>
                    <a:pt x="237" y="187"/>
                    <a:pt x="237" y="187"/>
                  </a:cubicBezTo>
                  <a:cubicBezTo>
                    <a:pt x="237" y="187"/>
                    <a:pt x="237" y="187"/>
                    <a:pt x="237" y="187"/>
                  </a:cubicBezTo>
                  <a:cubicBezTo>
                    <a:pt x="237" y="187"/>
                    <a:pt x="237" y="187"/>
                    <a:pt x="237" y="187"/>
                  </a:cubicBezTo>
                  <a:cubicBezTo>
                    <a:pt x="237" y="187"/>
                    <a:pt x="237" y="187"/>
                    <a:pt x="237" y="187"/>
                  </a:cubicBezTo>
                  <a:cubicBezTo>
                    <a:pt x="237" y="186"/>
                    <a:pt x="237" y="186"/>
                    <a:pt x="237" y="186"/>
                  </a:cubicBezTo>
                  <a:cubicBezTo>
                    <a:pt x="237" y="186"/>
                    <a:pt x="237" y="186"/>
                    <a:pt x="237" y="186"/>
                  </a:cubicBezTo>
                  <a:cubicBezTo>
                    <a:pt x="237" y="186"/>
                    <a:pt x="237" y="186"/>
                    <a:pt x="237" y="186"/>
                  </a:cubicBezTo>
                  <a:cubicBezTo>
                    <a:pt x="237" y="186"/>
                    <a:pt x="237" y="186"/>
                    <a:pt x="237" y="186"/>
                  </a:cubicBezTo>
                  <a:cubicBezTo>
                    <a:pt x="238" y="186"/>
                    <a:pt x="238" y="186"/>
                    <a:pt x="238" y="186"/>
                  </a:cubicBezTo>
                  <a:cubicBezTo>
                    <a:pt x="238" y="186"/>
                    <a:pt x="238" y="186"/>
                    <a:pt x="238" y="186"/>
                  </a:cubicBezTo>
                  <a:cubicBezTo>
                    <a:pt x="238" y="186"/>
                    <a:pt x="238" y="186"/>
                    <a:pt x="238" y="186"/>
                  </a:cubicBezTo>
                  <a:cubicBezTo>
                    <a:pt x="238" y="185"/>
                    <a:pt x="238" y="185"/>
                    <a:pt x="238" y="185"/>
                  </a:cubicBezTo>
                  <a:cubicBezTo>
                    <a:pt x="238" y="185"/>
                    <a:pt x="238" y="185"/>
                    <a:pt x="238" y="185"/>
                  </a:cubicBezTo>
                  <a:cubicBezTo>
                    <a:pt x="238" y="185"/>
                    <a:pt x="238" y="185"/>
                    <a:pt x="238" y="185"/>
                  </a:cubicBezTo>
                  <a:cubicBezTo>
                    <a:pt x="238" y="185"/>
                    <a:pt x="238" y="185"/>
                    <a:pt x="238" y="185"/>
                  </a:cubicBezTo>
                  <a:cubicBezTo>
                    <a:pt x="239" y="185"/>
                    <a:pt x="239" y="185"/>
                    <a:pt x="239" y="185"/>
                  </a:cubicBezTo>
                  <a:cubicBezTo>
                    <a:pt x="239" y="185"/>
                    <a:pt x="239" y="185"/>
                    <a:pt x="239" y="185"/>
                  </a:cubicBezTo>
                  <a:cubicBezTo>
                    <a:pt x="239" y="185"/>
                    <a:pt x="239" y="185"/>
                    <a:pt x="239" y="185"/>
                  </a:cubicBezTo>
                  <a:cubicBezTo>
                    <a:pt x="239" y="184"/>
                    <a:pt x="239" y="184"/>
                    <a:pt x="239" y="184"/>
                  </a:cubicBezTo>
                  <a:cubicBezTo>
                    <a:pt x="239" y="184"/>
                    <a:pt x="239" y="184"/>
                    <a:pt x="239" y="184"/>
                  </a:cubicBezTo>
                  <a:cubicBezTo>
                    <a:pt x="233" y="178"/>
                    <a:pt x="233" y="178"/>
                    <a:pt x="233" y="178"/>
                  </a:cubicBezTo>
                  <a:cubicBezTo>
                    <a:pt x="233" y="153"/>
                    <a:pt x="233" y="153"/>
                    <a:pt x="233" y="153"/>
                  </a:cubicBezTo>
                  <a:cubicBezTo>
                    <a:pt x="244" y="165"/>
                    <a:pt x="244" y="165"/>
                    <a:pt x="244" y="165"/>
                  </a:cubicBezTo>
                  <a:close/>
                  <a:moveTo>
                    <a:pt x="244" y="250"/>
                  </a:moveTo>
                  <a:cubicBezTo>
                    <a:pt x="244" y="272"/>
                    <a:pt x="244" y="272"/>
                    <a:pt x="244" y="272"/>
                  </a:cubicBezTo>
                  <a:cubicBezTo>
                    <a:pt x="240" y="276"/>
                    <a:pt x="240" y="276"/>
                    <a:pt x="240" y="276"/>
                  </a:cubicBezTo>
                  <a:cubicBezTo>
                    <a:pt x="240" y="276"/>
                    <a:pt x="240" y="276"/>
                    <a:pt x="240" y="276"/>
                  </a:cubicBezTo>
                  <a:cubicBezTo>
                    <a:pt x="240" y="276"/>
                    <a:pt x="240" y="276"/>
                    <a:pt x="240" y="276"/>
                  </a:cubicBezTo>
                  <a:cubicBezTo>
                    <a:pt x="240" y="276"/>
                    <a:pt x="240" y="276"/>
                    <a:pt x="240" y="276"/>
                  </a:cubicBezTo>
                  <a:cubicBezTo>
                    <a:pt x="239" y="276"/>
                    <a:pt x="239" y="276"/>
                    <a:pt x="239" y="276"/>
                  </a:cubicBezTo>
                  <a:cubicBezTo>
                    <a:pt x="239" y="276"/>
                    <a:pt x="239" y="276"/>
                    <a:pt x="239" y="276"/>
                  </a:cubicBezTo>
                  <a:cubicBezTo>
                    <a:pt x="239" y="277"/>
                    <a:pt x="239" y="277"/>
                    <a:pt x="239" y="277"/>
                  </a:cubicBezTo>
                  <a:cubicBezTo>
                    <a:pt x="239" y="277"/>
                    <a:pt x="239" y="277"/>
                    <a:pt x="239" y="277"/>
                  </a:cubicBezTo>
                  <a:cubicBezTo>
                    <a:pt x="239" y="277"/>
                    <a:pt x="239" y="277"/>
                    <a:pt x="239" y="277"/>
                  </a:cubicBezTo>
                  <a:cubicBezTo>
                    <a:pt x="239" y="277"/>
                    <a:pt x="239" y="277"/>
                    <a:pt x="239" y="277"/>
                  </a:cubicBezTo>
                  <a:cubicBezTo>
                    <a:pt x="238" y="277"/>
                    <a:pt x="238" y="277"/>
                    <a:pt x="238" y="277"/>
                  </a:cubicBezTo>
                  <a:cubicBezTo>
                    <a:pt x="238" y="277"/>
                    <a:pt x="238" y="277"/>
                    <a:pt x="238" y="277"/>
                  </a:cubicBezTo>
                  <a:cubicBezTo>
                    <a:pt x="238" y="278"/>
                    <a:pt x="238" y="278"/>
                    <a:pt x="238" y="278"/>
                  </a:cubicBezTo>
                  <a:cubicBezTo>
                    <a:pt x="238" y="278"/>
                    <a:pt x="238" y="278"/>
                    <a:pt x="238" y="278"/>
                  </a:cubicBezTo>
                  <a:cubicBezTo>
                    <a:pt x="238" y="278"/>
                    <a:pt x="238" y="278"/>
                    <a:pt x="238" y="278"/>
                  </a:cubicBezTo>
                  <a:cubicBezTo>
                    <a:pt x="238" y="278"/>
                    <a:pt x="238" y="278"/>
                    <a:pt x="238" y="278"/>
                  </a:cubicBezTo>
                  <a:cubicBezTo>
                    <a:pt x="237" y="278"/>
                    <a:pt x="237" y="278"/>
                    <a:pt x="237" y="278"/>
                  </a:cubicBezTo>
                  <a:cubicBezTo>
                    <a:pt x="237" y="278"/>
                    <a:pt x="237" y="278"/>
                    <a:pt x="237" y="278"/>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6" y="279"/>
                    <a:pt x="236" y="279"/>
                    <a:pt x="236" y="279"/>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5" y="280"/>
                    <a:pt x="235" y="280"/>
                    <a:pt x="235" y="280"/>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4" y="281"/>
                    <a:pt x="234" y="281"/>
                    <a:pt x="234" y="281"/>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3" y="282"/>
                    <a:pt x="233" y="282"/>
                    <a:pt x="233" y="282"/>
                  </a:cubicBezTo>
                  <a:cubicBezTo>
                    <a:pt x="233" y="282"/>
                    <a:pt x="233" y="282"/>
                    <a:pt x="233" y="282"/>
                  </a:cubicBezTo>
                  <a:cubicBezTo>
                    <a:pt x="233" y="283"/>
                    <a:pt x="233" y="283"/>
                    <a:pt x="233" y="283"/>
                  </a:cubicBezTo>
                  <a:cubicBezTo>
                    <a:pt x="233" y="283"/>
                    <a:pt x="233" y="283"/>
                    <a:pt x="233" y="283"/>
                  </a:cubicBezTo>
                  <a:cubicBezTo>
                    <a:pt x="233" y="261"/>
                    <a:pt x="233" y="261"/>
                    <a:pt x="233" y="261"/>
                  </a:cubicBezTo>
                  <a:cubicBezTo>
                    <a:pt x="242" y="253"/>
                    <a:pt x="242" y="253"/>
                    <a:pt x="242" y="253"/>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3" y="252"/>
                    <a:pt x="243" y="252"/>
                    <a:pt x="243" y="252"/>
                  </a:cubicBezTo>
                  <a:cubicBezTo>
                    <a:pt x="243" y="252"/>
                    <a:pt x="243" y="252"/>
                    <a:pt x="243" y="252"/>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4" y="251"/>
                    <a:pt x="244" y="251"/>
                    <a:pt x="244" y="251"/>
                  </a:cubicBezTo>
                  <a:cubicBezTo>
                    <a:pt x="244" y="251"/>
                    <a:pt x="244" y="251"/>
                    <a:pt x="244" y="251"/>
                  </a:cubicBezTo>
                  <a:cubicBezTo>
                    <a:pt x="244" y="250"/>
                    <a:pt x="244" y="250"/>
                    <a:pt x="244" y="250"/>
                  </a:cubicBezTo>
                  <a:cubicBezTo>
                    <a:pt x="244" y="250"/>
                    <a:pt x="244" y="250"/>
                    <a:pt x="244" y="250"/>
                  </a:cubicBezTo>
                  <a:cubicBezTo>
                    <a:pt x="244" y="250"/>
                    <a:pt x="244" y="250"/>
                    <a:pt x="244" y="250"/>
                  </a:cubicBezTo>
                  <a:cubicBezTo>
                    <a:pt x="244" y="250"/>
                    <a:pt x="244" y="250"/>
                    <a:pt x="244" y="250"/>
                  </a:cubicBezTo>
                  <a:close/>
                  <a:moveTo>
                    <a:pt x="233" y="362"/>
                  </a:moveTo>
                  <a:cubicBezTo>
                    <a:pt x="209" y="338"/>
                    <a:pt x="209" y="338"/>
                    <a:pt x="209" y="338"/>
                  </a:cubicBezTo>
                  <a:cubicBezTo>
                    <a:pt x="209" y="310"/>
                    <a:pt x="209" y="310"/>
                    <a:pt x="209" y="310"/>
                  </a:cubicBezTo>
                  <a:cubicBezTo>
                    <a:pt x="232" y="333"/>
                    <a:pt x="232" y="333"/>
                    <a:pt x="232" y="333"/>
                  </a:cubicBezTo>
                  <a:cubicBezTo>
                    <a:pt x="233" y="332"/>
                    <a:pt x="233" y="332"/>
                    <a:pt x="233" y="332"/>
                  </a:cubicBezTo>
                  <a:cubicBezTo>
                    <a:pt x="233" y="362"/>
                    <a:pt x="233" y="362"/>
                    <a:pt x="233" y="362"/>
                  </a:cubicBezTo>
                  <a:close/>
                  <a:moveTo>
                    <a:pt x="209" y="80"/>
                  </a:moveTo>
                  <a:cubicBezTo>
                    <a:pt x="233" y="105"/>
                    <a:pt x="233" y="105"/>
                    <a:pt x="233" y="105"/>
                  </a:cubicBezTo>
                  <a:cubicBezTo>
                    <a:pt x="233" y="141"/>
                    <a:pt x="233" y="141"/>
                    <a:pt x="233" y="141"/>
                  </a:cubicBezTo>
                  <a:cubicBezTo>
                    <a:pt x="227" y="147"/>
                    <a:pt x="227" y="147"/>
                    <a:pt x="227" y="147"/>
                  </a:cubicBezTo>
                  <a:cubicBezTo>
                    <a:pt x="233" y="153"/>
                    <a:pt x="233" y="153"/>
                    <a:pt x="233" y="153"/>
                  </a:cubicBezTo>
                  <a:cubicBezTo>
                    <a:pt x="233" y="178"/>
                    <a:pt x="233" y="178"/>
                    <a:pt x="233" y="178"/>
                  </a:cubicBezTo>
                  <a:cubicBezTo>
                    <a:pt x="214" y="159"/>
                    <a:pt x="214" y="159"/>
                    <a:pt x="214" y="159"/>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3" y="160"/>
                    <a:pt x="213" y="160"/>
                    <a:pt x="213" y="160"/>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2" y="161"/>
                    <a:pt x="212" y="161"/>
                    <a:pt x="212" y="161"/>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1" y="162"/>
                    <a:pt x="211" y="162"/>
                    <a:pt x="211" y="162"/>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0" y="163"/>
                    <a:pt x="210" y="163"/>
                    <a:pt x="210" y="163"/>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09" y="164"/>
                    <a:pt x="209" y="164"/>
                    <a:pt x="209" y="164"/>
                  </a:cubicBezTo>
                  <a:cubicBezTo>
                    <a:pt x="209" y="164"/>
                    <a:pt x="209" y="164"/>
                    <a:pt x="209" y="164"/>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29"/>
                    <a:pt x="209" y="129"/>
                    <a:pt x="209" y="129"/>
                  </a:cubicBezTo>
                  <a:cubicBezTo>
                    <a:pt x="216" y="136"/>
                    <a:pt x="216" y="136"/>
                    <a:pt x="216" y="136"/>
                  </a:cubicBezTo>
                  <a:cubicBezTo>
                    <a:pt x="219" y="133"/>
                    <a:pt x="223" y="130"/>
                    <a:pt x="226" y="126"/>
                  </a:cubicBezTo>
                  <a:cubicBezTo>
                    <a:pt x="209" y="109"/>
                    <a:pt x="209" y="109"/>
                    <a:pt x="209" y="109"/>
                  </a:cubicBezTo>
                  <a:cubicBezTo>
                    <a:pt x="209" y="80"/>
                    <a:pt x="209" y="80"/>
                    <a:pt x="209" y="80"/>
                  </a:cubicBezTo>
                  <a:close/>
                  <a:moveTo>
                    <a:pt x="233" y="190"/>
                  </a:moveTo>
                  <a:cubicBezTo>
                    <a:pt x="233" y="223"/>
                    <a:pt x="233" y="223"/>
                    <a:pt x="233" y="223"/>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6" y="218"/>
                    <a:pt x="226" y="218"/>
                    <a:pt x="226" y="218"/>
                  </a:cubicBezTo>
                  <a:cubicBezTo>
                    <a:pt x="226" y="218"/>
                    <a:pt x="226" y="218"/>
                    <a:pt x="226" y="218"/>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9"/>
                    <a:pt x="225" y="219"/>
                    <a:pt x="225" y="219"/>
                  </a:cubicBezTo>
                  <a:cubicBezTo>
                    <a:pt x="225" y="219"/>
                    <a:pt x="225" y="219"/>
                    <a:pt x="225" y="219"/>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4" y="220"/>
                    <a:pt x="224" y="220"/>
                    <a:pt x="224" y="220"/>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3" y="221"/>
                    <a:pt x="223" y="221"/>
                    <a:pt x="223" y="221"/>
                  </a:cubicBezTo>
                  <a:cubicBezTo>
                    <a:pt x="223" y="221"/>
                    <a:pt x="223" y="221"/>
                    <a:pt x="223" y="221"/>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2" y="222"/>
                    <a:pt x="222" y="222"/>
                    <a:pt x="222" y="222"/>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1" y="223"/>
                    <a:pt x="221" y="223"/>
                    <a:pt x="221" y="223"/>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0" y="224"/>
                    <a:pt x="220" y="224"/>
                    <a:pt x="220" y="224"/>
                  </a:cubicBezTo>
                  <a:cubicBezTo>
                    <a:pt x="220" y="224"/>
                    <a:pt x="220" y="224"/>
                    <a:pt x="220" y="224"/>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19" y="225"/>
                    <a:pt x="219" y="225"/>
                    <a:pt x="219" y="225"/>
                  </a:cubicBezTo>
                  <a:cubicBezTo>
                    <a:pt x="219" y="225"/>
                    <a:pt x="219" y="225"/>
                    <a:pt x="219" y="225"/>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8" y="226"/>
                    <a:pt x="218" y="226"/>
                    <a:pt x="218" y="226"/>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7" y="227"/>
                    <a:pt x="217" y="227"/>
                    <a:pt x="217" y="227"/>
                  </a:cubicBezTo>
                  <a:cubicBezTo>
                    <a:pt x="217" y="227"/>
                    <a:pt x="217" y="227"/>
                    <a:pt x="217" y="227"/>
                  </a:cubicBezTo>
                  <a:cubicBezTo>
                    <a:pt x="217" y="228"/>
                    <a:pt x="217" y="228"/>
                    <a:pt x="217" y="228"/>
                  </a:cubicBezTo>
                  <a:cubicBezTo>
                    <a:pt x="217" y="228"/>
                    <a:pt x="217" y="228"/>
                    <a:pt x="217" y="228"/>
                  </a:cubicBezTo>
                  <a:cubicBezTo>
                    <a:pt x="209" y="236"/>
                    <a:pt x="209" y="236"/>
                    <a:pt x="209" y="236"/>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10" y="214"/>
                    <a:pt x="210" y="214"/>
                    <a:pt x="210" y="214"/>
                  </a:cubicBezTo>
                  <a:cubicBezTo>
                    <a:pt x="210" y="214"/>
                    <a:pt x="210" y="214"/>
                    <a:pt x="210" y="214"/>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1" y="213"/>
                    <a:pt x="211" y="213"/>
                    <a:pt x="211" y="213"/>
                  </a:cubicBezTo>
                  <a:cubicBezTo>
                    <a:pt x="211" y="213"/>
                    <a:pt x="211" y="213"/>
                    <a:pt x="211" y="213"/>
                  </a:cubicBezTo>
                  <a:cubicBezTo>
                    <a:pt x="211" y="213"/>
                    <a:pt x="211" y="213"/>
                    <a:pt x="211" y="213"/>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2" y="212"/>
                    <a:pt x="212" y="212"/>
                    <a:pt x="212" y="212"/>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3" y="211"/>
                    <a:pt x="213" y="211"/>
                    <a:pt x="213" y="211"/>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4" y="210"/>
                    <a:pt x="214" y="210"/>
                    <a:pt x="214" y="210"/>
                  </a:cubicBezTo>
                  <a:cubicBezTo>
                    <a:pt x="214" y="210"/>
                    <a:pt x="214" y="210"/>
                    <a:pt x="214" y="210"/>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5" y="209"/>
                    <a:pt x="215" y="209"/>
                    <a:pt x="215" y="209"/>
                  </a:cubicBezTo>
                  <a:cubicBezTo>
                    <a:pt x="215" y="209"/>
                    <a:pt x="215" y="209"/>
                    <a:pt x="215" y="209"/>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6" y="208"/>
                    <a:pt x="216" y="208"/>
                    <a:pt x="216" y="208"/>
                  </a:cubicBezTo>
                  <a:cubicBezTo>
                    <a:pt x="216" y="208"/>
                    <a:pt x="216" y="208"/>
                    <a:pt x="216" y="208"/>
                  </a:cubicBezTo>
                  <a:cubicBezTo>
                    <a:pt x="216" y="208"/>
                    <a:pt x="216" y="208"/>
                    <a:pt x="216" y="208"/>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29" y="194"/>
                    <a:pt x="229" y="194"/>
                    <a:pt x="229" y="194"/>
                  </a:cubicBezTo>
                  <a:cubicBezTo>
                    <a:pt x="229" y="194"/>
                    <a:pt x="229" y="194"/>
                    <a:pt x="229" y="194"/>
                  </a:cubicBezTo>
                  <a:cubicBezTo>
                    <a:pt x="229" y="194"/>
                    <a:pt x="229" y="194"/>
                    <a:pt x="229" y="194"/>
                  </a:cubicBezTo>
                  <a:cubicBezTo>
                    <a:pt x="229" y="194"/>
                    <a:pt x="229" y="194"/>
                    <a:pt x="229" y="194"/>
                  </a:cubicBezTo>
                  <a:cubicBezTo>
                    <a:pt x="230" y="194"/>
                    <a:pt x="230" y="194"/>
                    <a:pt x="230" y="194"/>
                  </a:cubicBezTo>
                  <a:cubicBezTo>
                    <a:pt x="230" y="194"/>
                    <a:pt x="230" y="194"/>
                    <a:pt x="230" y="194"/>
                  </a:cubicBezTo>
                  <a:cubicBezTo>
                    <a:pt x="230" y="194"/>
                    <a:pt x="230" y="194"/>
                    <a:pt x="230" y="194"/>
                  </a:cubicBezTo>
                  <a:cubicBezTo>
                    <a:pt x="230" y="194"/>
                    <a:pt x="230" y="194"/>
                    <a:pt x="230" y="194"/>
                  </a:cubicBezTo>
                  <a:cubicBezTo>
                    <a:pt x="230" y="193"/>
                    <a:pt x="230" y="193"/>
                    <a:pt x="230" y="193"/>
                  </a:cubicBezTo>
                  <a:cubicBezTo>
                    <a:pt x="230" y="193"/>
                    <a:pt x="230" y="193"/>
                    <a:pt x="230" y="193"/>
                  </a:cubicBezTo>
                  <a:cubicBezTo>
                    <a:pt x="230" y="193"/>
                    <a:pt x="230" y="193"/>
                    <a:pt x="230" y="193"/>
                  </a:cubicBezTo>
                  <a:cubicBezTo>
                    <a:pt x="230" y="193"/>
                    <a:pt x="230" y="193"/>
                    <a:pt x="230" y="193"/>
                  </a:cubicBezTo>
                  <a:cubicBezTo>
                    <a:pt x="231" y="193"/>
                    <a:pt x="231" y="193"/>
                    <a:pt x="231" y="193"/>
                  </a:cubicBezTo>
                  <a:cubicBezTo>
                    <a:pt x="231" y="193"/>
                    <a:pt x="231" y="193"/>
                    <a:pt x="231" y="193"/>
                  </a:cubicBezTo>
                  <a:cubicBezTo>
                    <a:pt x="231" y="193"/>
                    <a:pt x="231" y="193"/>
                    <a:pt x="231" y="193"/>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2" y="192"/>
                    <a:pt x="232" y="192"/>
                    <a:pt x="232" y="192"/>
                  </a:cubicBezTo>
                  <a:cubicBezTo>
                    <a:pt x="232" y="192"/>
                    <a:pt x="232" y="192"/>
                    <a:pt x="232" y="192"/>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3" y="191"/>
                    <a:pt x="233" y="191"/>
                    <a:pt x="233" y="191"/>
                  </a:cubicBezTo>
                  <a:cubicBezTo>
                    <a:pt x="233" y="191"/>
                    <a:pt x="233" y="191"/>
                    <a:pt x="233" y="191"/>
                  </a:cubicBezTo>
                  <a:cubicBezTo>
                    <a:pt x="233" y="191"/>
                    <a:pt x="233" y="191"/>
                    <a:pt x="233" y="191"/>
                  </a:cubicBezTo>
                  <a:cubicBezTo>
                    <a:pt x="233" y="190"/>
                    <a:pt x="233" y="190"/>
                    <a:pt x="233" y="190"/>
                  </a:cubicBezTo>
                  <a:close/>
                  <a:moveTo>
                    <a:pt x="233" y="261"/>
                  </a:move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6"/>
                    <a:pt x="229" y="266"/>
                    <a:pt x="229" y="266"/>
                  </a:cubicBezTo>
                  <a:cubicBezTo>
                    <a:pt x="229" y="266"/>
                    <a:pt x="229" y="266"/>
                    <a:pt x="229"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7"/>
                    <a:pt x="228" y="267"/>
                    <a:pt x="228" y="267"/>
                  </a:cubicBezTo>
                  <a:cubicBezTo>
                    <a:pt x="228" y="267"/>
                    <a:pt x="228" y="267"/>
                    <a:pt x="228"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8"/>
                    <a:pt x="227" y="268"/>
                    <a:pt x="227"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9"/>
                    <a:pt x="226" y="269"/>
                    <a:pt x="226"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70"/>
                    <a:pt x="225" y="270"/>
                    <a:pt x="225"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1"/>
                    <a:pt x="224" y="271"/>
                    <a:pt x="224"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2"/>
                    <a:pt x="223" y="272"/>
                    <a:pt x="223" y="272"/>
                  </a:cubicBezTo>
                  <a:cubicBezTo>
                    <a:pt x="223" y="272"/>
                    <a:pt x="223" y="272"/>
                    <a:pt x="223"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3"/>
                    <a:pt x="222" y="273"/>
                    <a:pt x="222" y="273"/>
                  </a:cubicBezTo>
                  <a:cubicBezTo>
                    <a:pt x="222" y="273"/>
                    <a:pt x="222" y="273"/>
                    <a:pt x="222"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4"/>
                    <a:pt x="221" y="274"/>
                    <a:pt x="221"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5"/>
                    <a:pt x="220" y="275"/>
                    <a:pt x="220" y="275"/>
                  </a:cubicBezTo>
                  <a:cubicBezTo>
                    <a:pt x="219" y="275"/>
                    <a:pt x="219" y="275"/>
                    <a:pt x="219" y="275"/>
                  </a:cubicBezTo>
                  <a:cubicBezTo>
                    <a:pt x="219" y="275"/>
                    <a:pt x="219" y="275"/>
                    <a:pt x="219" y="275"/>
                  </a:cubicBezTo>
                  <a:cubicBezTo>
                    <a:pt x="219" y="275"/>
                    <a:pt x="219" y="275"/>
                    <a:pt x="219" y="275"/>
                  </a:cubicBezTo>
                  <a:cubicBezTo>
                    <a:pt x="219" y="275"/>
                    <a:pt x="219" y="275"/>
                    <a:pt x="219" y="275"/>
                  </a:cubicBezTo>
                  <a:cubicBezTo>
                    <a:pt x="209" y="285"/>
                    <a:pt x="209" y="285"/>
                    <a:pt x="209" y="285"/>
                  </a:cubicBezTo>
                  <a:cubicBezTo>
                    <a:pt x="209" y="307"/>
                    <a:pt x="209" y="307"/>
                    <a:pt x="209" y="307"/>
                  </a:cubicBezTo>
                  <a:cubicBezTo>
                    <a:pt x="217" y="298"/>
                    <a:pt x="217" y="298"/>
                    <a:pt x="217" y="298"/>
                  </a:cubicBezTo>
                  <a:cubicBezTo>
                    <a:pt x="233" y="314"/>
                    <a:pt x="233" y="314"/>
                    <a:pt x="233" y="314"/>
                  </a:cubicBezTo>
                  <a:cubicBezTo>
                    <a:pt x="233" y="289"/>
                    <a:pt x="233" y="289"/>
                    <a:pt x="233" y="289"/>
                  </a:cubicBezTo>
                  <a:cubicBezTo>
                    <a:pt x="230" y="286"/>
                    <a:pt x="230" y="286"/>
                    <a:pt x="230" y="286"/>
                  </a:cubicBezTo>
                  <a:cubicBezTo>
                    <a:pt x="230" y="286"/>
                    <a:pt x="230" y="286"/>
                    <a:pt x="230" y="286"/>
                  </a:cubicBezTo>
                  <a:cubicBezTo>
                    <a:pt x="230" y="286"/>
                    <a:pt x="230" y="286"/>
                    <a:pt x="230" y="286"/>
                  </a:cubicBezTo>
                  <a:cubicBezTo>
                    <a:pt x="230" y="286"/>
                    <a:pt x="230" y="286"/>
                    <a:pt x="230" y="286"/>
                  </a:cubicBezTo>
                  <a:cubicBezTo>
                    <a:pt x="230" y="285"/>
                    <a:pt x="230" y="285"/>
                    <a:pt x="230"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4"/>
                    <a:pt x="231" y="284"/>
                    <a:pt x="231" y="284"/>
                  </a:cubicBezTo>
                  <a:cubicBezTo>
                    <a:pt x="231" y="284"/>
                    <a:pt x="231" y="284"/>
                    <a:pt x="231" y="284"/>
                  </a:cubicBezTo>
                  <a:cubicBezTo>
                    <a:pt x="232" y="284"/>
                    <a:pt x="232" y="284"/>
                    <a:pt x="232" y="284"/>
                  </a:cubicBezTo>
                  <a:cubicBezTo>
                    <a:pt x="232" y="284"/>
                    <a:pt x="232" y="284"/>
                    <a:pt x="232" y="284"/>
                  </a:cubicBezTo>
                  <a:cubicBezTo>
                    <a:pt x="232" y="284"/>
                    <a:pt x="232" y="284"/>
                    <a:pt x="232" y="284"/>
                  </a:cubicBezTo>
                  <a:cubicBezTo>
                    <a:pt x="232" y="284"/>
                    <a:pt x="232" y="284"/>
                    <a:pt x="232" y="284"/>
                  </a:cubicBezTo>
                  <a:cubicBezTo>
                    <a:pt x="232" y="283"/>
                    <a:pt x="232" y="283"/>
                    <a:pt x="232" y="283"/>
                  </a:cubicBezTo>
                  <a:cubicBezTo>
                    <a:pt x="232" y="283"/>
                    <a:pt x="232" y="283"/>
                    <a:pt x="232" y="283"/>
                  </a:cubicBezTo>
                  <a:cubicBezTo>
                    <a:pt x="233" y="283"/>
                    <a:pt x="233" y="283"/>
                    <a:pt x="233" y="283"/>
                  </a:cubicBezTo>
                  <a:cubicBezTo>
                    <a:pt x="233" y="283"/>
                    <a:pt x="233" y="283"/>
                    <a:pt x="233" y="283"/>
                  </a:cubicBezTo>
                  <a:cubicBezTo>
                    <a:pt x="233" y="283"/>
                    <a:pt x="233" y="283"/>
                    <a:pt x="233" y="283"/>
                  </a:cubicBezTo>
                  <a:cubicBezTo>
                    <a:pt x="233" y="283"/>
                    <a:pt x="233" y="283"/>
                    <a:pt x="233" y="283"/>
                  </a:cubicBezTo>
                  <a:lnTo>
                    <a:pt x="233" y="261"/>
                  </a:lnTo>
                  <a:close/>
                  <a:moveTo>
                    <a:pt x="209" y="338"/>
                  </a:moveTo>
                  <a:cubicBezTo>
                    <a:pt x="198" y="327"/>
                    <a:pt x="198" y="327"/>
                    <a:pt x="198" y="327"/>
                  </a:cubicBezTo>
                  <a:cubicBezTo>
                    <a:pt x="198" y="296"/>
                    <a:pt x="198" y="296"/>
                    <a:pt x="198" y="296"/>
                  </a:cubicBezTo>
                  <a:cubicBezTo>
                    <a:pt x="209" y="285"/>
                    <a:pt x="209" y="285"/>
                    <a:pt x="209" y="285"/>
                  </a:cubicBezTo>
                  <a:cubicBezTo>
                    <a:pt x="209" y="307"/>
                    <a:pt x="209" y="307"/>
                    <a:pt x="209" y="307"/>
                  </a:cubicBezTo>
                  <a:cubicBezTo>
                    <a:pt x="207" y="308"/>
                    <a:pt x="207" y="308"/>
                    <a:pt x="207" y="308"/>
                  </a:cubicBezTo>
                  <a:cubicBezTo>
                    <a:pt x="209" y="310"/>
                    <a:pt x="209" y="310"/>
                    <a:pt x="209" y="310"/>
                  </a:cubicBezTo>
                  <a:cubicBezTo>
                    <a:pt x="209" y="338"/>
                    <a:pt x="209" y="338"/>
                    <a:pt x="209" y="338"/>
                  </a:cubicBezTo>
                  <a:close/>
                  <a:moveTo>
                    <a:pt x="198" y="69"/>
                  </a:moveTo>
                  <a:cubicBezTo>
                    <a:pt x="209" y="80"/>
                    <a:pt x="209" y="80"/>
                    <a:pt x="209" y="80"/>
                  </a:cubicBezTo>
                  <a:cubicBezTo>
                    <a:pt x="209" y="109"/>
                    <a:pt x="209" y="109"/>
                    <a:pt x="209" y="109"/>
                  </a:cubicBezTo>
                  <a:cubicBezTo>
                    <a:pt x="202" y="101"/>
                    <a:pt x="202" y="101"/>
                    <a:pt x="202" y="101"/>
                  </a:cubicBezTo>
                  <a:cubicBezTo>
                    <a:pt x="198" y="105"/>
                    <a:pt x="198" y="105"/>
                    <a:pt x="198" y="105"/>
                  </a:cubicBezTo>
                  <a:cubicBezTo>
                    <a:pt x="198" y="69"/>
                    <a:pt x="198" y="69"/>
                    <a:pt x="198" y="69"/>
                  </a:cubicBezTo>
                  <a:close/>
                  <a:moveTo>
                    <a:pt x="209" y="129"/>
                  </a:moveTo>
                  <a:cubicBezTo>
                    <a:pt x="209" y="165"/>
                    <a:pt x="209" y="165"/>
                    <a:pt x="209" y="165"/>
                  </a:cubicBezTo>
                  <a:cubicBezTo>
                    <a:pt x="209" y="165"/>
                    <a:pt x="209" y="165"/>
                    <a:pt x="209" y="165"/>
                  </a:cubicBezTo>
                  <a:cubicBezTo>
                    <a:pt x="208" y="165"/>
                    <a:pt x="208" y="165"/>
                    <a:pt x="208" y="165"/>
                  </a:cubicBezTo>
                  <a:cubicBezTo>
                    <a:pt x="208" y="165"/>
                    <a:pt x="208" y="165"/>
                    <a:pt x="208" y="165"/>
                  </a:cubicBezTo>
                  <a:cubicBezTo>
                    <a:pt x="208" y="165"/>
                    <a:pt x="208" y="165"/>
                    <a:pt x="208" y="165"/>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7" y="166"/>
                    <a:pt x="207" y="166"/>
                    <a:pt x="207" y="166"/>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6" y="167"/>
                    <a:pt x="206" y="167"/>
                    <a:pt x="206" y="167"/>
                  </a:cubicBezTo>
                  <a:cubicBezTo>
                    <a:pt x="206" y="167"/>
                    <a:pt x="206" y="167"/>
                    <a:pt x="206" y="167"/>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5" y="168"/>
                    <a:pt x="205" y="168"/>
                    <a:pt x="205" y="168"/>
                  </a:cubicBezTo>
                  <a:cubicBezTo>
                    <a:pt x="205" y="168"/>
                    <a:pt x="205" y="168"/>
                    <a:pt x="205" y="168"/>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4" y="169"/>
                    <a:pt x="204" y="169"/>
                    <a:pt x="204" y="169"/>
                  </a:cubicBezTo>
                  <a:cubicBezTo>
                    <a:pt x="204" y="170"/>
                    <a:pt x="204" y="170"/>
                    <a:pt x="204" y="170"/>
                  </a:cubicBezTo>
                  <a:cubicBezTo>
                    <a:pt x="198" y="176"/>
                    <a:pt x="198" y="176"/>
                    <a:pt x="198" y="176"/>
                  </a:cubicBezTo>
                  <a:cubicBezTo>
                    <a:pt x="198" y="155"/>
                    <a:pt x="198" y="155"/>
                    <a:pt x="198" y="155"/>
                  </a:cubicBezTo>
                  <a:cubicBezTo>
                    <a:pt x="204" y="149"/>
                    <a:pt x="204" y="149"/>
                    <a:pt x="204" y="149"/>
                  </a:cubicBezTo>
                  <a:cubicBezTo>
                    <a:pt x="198" y="142"/>
                    <a:pt x="198" y="142"/>
                    <a:pt x="198" y="142"/>
                  </a:cubicBezTo>
                  <a:cubicBezTo>
                    <a:pt x="198" y="118"/>
                    <a:pt x="198" y="118"/>
                    <a:pt x="198" y="118"/>
                  </a:cubicBezTo>
                  <a:cubicBezTo>
                    <a:pt x="209" y="129"/>
                    <a:pt x="209" y="129"/>
                    <a:pt x="209" y="129"/>
                  </a:cubicBezTo>
                  <a:close/>
                  <a:moveTo>
                    <a:pt x="209" y="214"/>
                  </a:moveTo>
                  <a:cubicBezTo>
                    <a:pt x="209" y="236"/>
                    <a:pt x="209" y="236"/>
                    <a:pt x="209" y="236"/>
                  </a:cubicBezTo>
                  <a:cubicBezTo>
                    <a:pt x="205" y="240"/>
                    <a:pt x="205" y="240"/>
                    <a:pt x="205" y="240"/>
                  </a:cubicBezTo>
                  <a:cubicBezTo>
                    <a:pt x="205" y="240"/>
                    <a:pt x="205" y="240"/>
                    <a:pt x="205" y="240"/>
                  </a:cubicBezTo>
                  <a:cubicBezTo>
                    <a:pt x="205" y="240"/>
                    <a:pt x="205" y="240"/>
                    <a:pt x="205" y="240"/>
                  </a:cubicBezTo>
                  <a:cubicBezTo>
                    <a:pt x="204" y="240"/>
                    <a:pt x="204" y="240"/>
                    <a:pt x="204" y="240"/>
                  </a:cubicBezTo>
                  <a:cubicBezTo>
                    <a:pt x="204" y="240"/>
                    <a:pt x="204" y="240"/>
                    <a:pt x="204" y="240"/>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3" y="241"/>
                    <a:pt x="203" y="241"/>
                    <a:pt x="203" y="241"/>
                  </a:cubicBezTo>
                  <a:cubicBezTo>
                    <a:pt x="203" y="241"/>
                    <a:pt x="203" y="241"/>
                    <a:pt x="203" y="241"/>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2" y="242"/>
                    <a:pt x="202" y="242"/>
                    <a:pt x="202" y="242"/>
                  </a:cubicBezTo>
                  <a:cubicBezTo>
                    <a:pt x="202" y="242"/>
                    <a:pt x="202" y="242"/>
                    <a:pt x="202" y="242"/>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1" y="243"/>
                    <a:pt x="201" y="243"/>
                    <a:pt x="201" y="243"/>
                  </a:cubicBezTo>
                  <a:cubicBezTo>
                    <a:pt x="201" y="243"/>
                    <a:pt x="201" y="243"/>
                    <a:pt x="201" y="243"/>
                  </a:cubicBezTo>
                  <a:cubicBezTo>
                    <a:pt x="201" y="243"/>
                    <a:pt x="201" y="243"/>
                    <a:pt x="201" y="243"/>
                  </a:cubicBezTo>
                  <a:cubicBezTo>
                    <a:pt x="201" y="244"/>
                    <a:pt x="201" y="244"/>
                    <a:pt x="201" y="244"/>
                  </a:cubicBezTo>
                  <a:cubicBezTo>
                    <a:pt x="201" y="244"/>
                    <a:pt x="201" y="244"/>
                    <a:pt x="201" y="244"/>
                  </a:cubicBezTo>
                  <a:cubicBezTo>
                    <a:pt x="201" y="244"/>
                    <a:pt x="201" y="244"/>
                    <a:pt x="201" y="244"/>
                  </a:cubicBezTo>
                  <a:cubicBezTo>
                    <a:pt x="201" y="244"/>
                    <a:pt x="201" y="244"/>
                    <a:pt x="201" y="244"/>
                  </a:cubicBezTo>
                  <a:cubicBezTo>
                    <a:pt x="200" y="244"/>
                    <a:pt x="200" y="244"/>
                    <a:pt x="200" y="244"/>
                  </a:cubicBezTo>
                  <a:cubicBezTo>
                    <a:pt x="200" y="244"/>
                    <a:pt x="200" y="244"/>
                    <a:pt x="200" y="244"/>
                  </a:cubicBezTo>
                  <a:cubicBezTo>
                    <a:pt x="200" y="244"/>
                    <a:pt x="200" y="244"/>
                    <a:pt x="200" y="244"/>
                  </a:cubicBezTo>
                  <a:cubicBezTo>
                    <a:pt x="200" y="245"/>
                    <a:pt x="200" y="245"/>
                    <a:pt x="200" y="245"/>
                  </a:cubicBezTo>
                  <a:cubicBezTo>
                    <a:pt x="200" y="245"/>
                    <a:pt x="200" y="245"/>
                    <a:pt x="200" y="245"/>
                  </a:cubicBezTo>
                  <a:cubicBezTo>
                    <a:pt x="200" y="245"/>
                    <a:pt x="200" y="245"/>
                    <a:pt x="200" y="245"/>
                  </a:cubicBezTo>
                  <a:cubicBezTo>
                    <a:pt x="200" y="245"/>
                    <a:pt x="200" y="245"/>
                    <a:pt x="200" y="245"/>
                  </a:cubicBezTo>
                  <a:cubicBezTo>
                    <a:pt x="199" y="245"/>
                    <a:pt x="199" y="245"/>
                    <a:pt x="199" y="245"/>
                  </a:cubicBezTo>
                  <a:cubicBezTo>
                    <a:pt x="199" y="245"/>
                    <a:pt x="199" y="245"/>
                    <a:pt x="199" y="245"/>
                  </a:cubicBezTo>
                  <a:cubicBezTo>
                    <a:pt x="199" y="245"/>
                    <a:pt x="199" y="245"/>
                    <a:pt x="199" y="245"/>
                  </a:cubicBezTo>
                  <a:cubicBezTo>
                    <a:pt x="199" y="246"/>
                    <a:pt x="199" y="246"/>
                    <a:pt x="199" y="246"/>
                  </a:cubicBezTo>
                  <a:cubicBezTo>
                    <a:pt x="199" y="246"/>
                    <a:pt x="199" y="246"/>
                    <a:pt x="199" y="246"/>
                  </a:cubicBezTo>
                  <a:cubicBezTo>
                    <a:pt x="199" y="246"/>
                    <a:pt x="199" y="246"/>
                    <a:pt x="199" y="246"/>
                  </a:cubicBezTo>
                  <a:cubicBezTo>
                    <a:pt x="199" y="246"/>
                    <a:pt x="199" y="246"/>
                    <a:pt x="199" y="246"/>
                  </a:cubicBezTo>
                  <a:cubicBezTo>
                    <a:pt x="198" y="246"/>
                    <a:pt x="198" y="246"/>
                    <a:pt x="198" y="246"/>
                  </a:cubicBezTo>
                  <a:cubicBezTo>
                    <a:pt x="198" y="246"/>
                    <a:pt x="198" y="246"/>
                    <a:pt x="198" y="246"/>
                  </a:cubicBezTo>
                  <a:cubicBezTo>
                    <a:pt x="198" y="246"/>
                    <a:pt x="198" y="246"/>
                    <a:pt x="198" y="246"/>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26"/>
                    <a:pt x="198" y="226"/>
                    <a:pt x="198" y="226"/>
                  </a:cubicBezTo>
                  <a:cubicBezTo>
                    <a:pt x="206" y="217"/>
                    <a:pt x="206" y="217"/>
                    <a:pt x="206" y="217"/>
                  </a:cubicBezTo>
                  <a:cubicBezTo>
                    <a:pt x="206" y="217"/>
                    <a:pt x="206" y="217"/>
                    <a:pt x="206" y="217"/>
                  </a:cubicBezTo>
                  <a:cubicBezTo>
                    <a:pt x="207" y="217"/>
                    <a:pt x="207" y="217"/>
                    <a:pt x="207" y="217"/>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8" y="216"/>
                    <a:pt x="208" y="216"/>
                    <a:pt x="208" y="216"/>
                  </a:cubicBezTo>
                  <a:cubicBezTo>
                    <a:pt x="208" y="216"/>
                    <a:pt x="208" y="216"/>
                    <a:pt x="208" y="216"/>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9" y="215"/>
                    <a:pt x="209" y="215"/>
                    <a:pt x="209" y="215"/>
                  </a:cubicBezTo>
                  <a:cubicBezTo>
                    <a:pt x="209" y="214"/>
                    <a:pt x="209" y="214"/>
                    <a:pt x="209" y="214"/>
                  </a:cubicBezTo>
                  <a:close/>
                  <a:moveTo>
                    <a:pt x="198" y="327"/>
                  </a:moveTo>
                  <a:cubicBezTo>
                    <a:pt x="186" y="315"/>
                    <a:pt x="186" y="315"/>
                    <a:pt x="186" y="315"/>
                  </a:cubicBezTo>
                  <a:cubicBezTo>
                    <a:pt x="186" y="287"/>
                    <a:pt x="186" y="287"/>
                    <a:pt x="186" y="287"/>
                  </a:cubicBezTo>
                  <a:cubicBezTo>
                    <a:pt x="196" y="297"/>
                    <a:pt x="196" y="297"/>
                    <a:pt x="196" y="297"/>
                  </a:cubicBezTo>
                  <a:cubicBezTo>
                    <a:pt x="198" y="296"/>
                    <a:pt x="198" y="296"/>
                    <a:pt x="198" y="296"/>
                  </a:cubicBezTo>
                  <a:cubicBezTo>
                    <a:pt x="198" y="327"/>
                    <a:pt x="198" y="327"/>
                    <a:pt x="198" y="327"/>
                  </a:cubicBezTo>
                  <a:close/>
                  <a:moveTo>
                    <a:pt x="186" y="57"/>
                  </a:moveTo>
                  <a:cubicBezTo>
                    <a:pt x="198" y="69"/>
                    <a:pt x="198" y="69"/>
                    <a:pt x="198" y="69"/>
                  </a:cubicBezTo>
                  <a:cubicBezTo>
                    <a:pt x="198" y="105"/>
                    <a:pt x="198" y="105"/>
                    <a:pt x="198" y="105"/>
                  </a:cubicBezTo>
                  <a:cubicBezTo>
                    <a:pt x="191" y="111"/>
                    <a:pt x="191" y="111"/>
                    <a:pt x="191" y="111"/>
                  </a:cubicBezTo>
                  <a:cubicBezTo>
                    <a:pt x="198" y="118"/>
                    <a:pt x="198" y="118"/>
                    <a:pt x="198" y="118"/>
                  </a:cubicBezTo>
                  <a:cubicBezTo>
                    <a:pt x="198" y="142"/>
                    <a:pt x="198" y="142"/>
                    <a:pt x="198" y="142"/>
                  </a:cubicBezTo>
                  <a:cubicBezTo>
                    <a:pt x="186" y="131"/>
                    <a:pt x="186" y="131"/>
                    <a:pt x="186" y="131"/>
                  </a:cubicBezTo>
                  <a:cubicBezTo>
                    <a:pt x="186" y="95"/>
                    <a:pt x="186" y="95"/>
                    <a:pt x="186" y="95"/>
                  </a:cubicBezTo>
                  <a:cubicBezTo>
                    <a:pt x="191" y="90"/>
                    <a:pt x="191" y="90"/>
                    <a:pt x="191" y="90"/>
                  </a:cubicBezTo>
                  <a:cubicBezTo>
                    <a:pt x="186" y="86"/>
                    <a:pt x="186" y="86"/>
                    <a:pt x="186" y="86"/>
                  </a:cubicBezTo>
                  <a:cubicBezTo>
                    <a:pt x="186" y="57"/>
                    <a:pt x="186" y="57"/>
                    <a:pt x="186" y="57"/>
                  </a:cubicBezTo>
                  <a:close/>
                  <a:moveTo>
                    <a:pt x="198" y="155"/>
                  </a:moveTo>
                  <a:cubicBezTo>
                    <a:pt x="198" y="176"/>
                    <a:pt x="198" y="176"/>
                    <a:pt x="198" y="176"/>
                  </a:cubicBezTo>
                  <a:cubicBezTo>
                    <a:pt x="192" y="182"/>
                    <a:pt x="192" y="182"/>
                    <a:pt x="192" y="182"/>
                  </a:cubicBezTo>
                  <a:cubicBezTo>
                    <a:pt x="192" y="182"/>
                    <a:pt x="192" y="182"/>
                    <a:pt x="192" y="182"/>
                  </a:cubicBezTo>
                  <a:cubicBezTo>
                    <a:pt x="191" y="182"/>
                    <a:pt x="191" y="182"/>
                    <a:pt x="191" y="182"/>
                  </a:cubicBezTo>
                  <a:cubicBezTo>
                    <a:pt x="191" y="182"/>
                    <a:pt x="191" y="182"/>
                    <a:pt x="191" y="182"/>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0" y="183"/>
                    <a:pt x="190" y="183"/>
                    <a:pt x="190" y="183"/>
                  </a:cubicBezTo>
                  <a:cubicBezTo>
                    <a:pt x="190" y="183"/>
                    <a:pt x="190" y="183"/>
                    <a:pt x="190" y="183"/>
                  </a:cubicBezTo>
                  <a:cubicBezTo>
                    <a:pt x="190" y="183"/>
                    <a:pt x="190" y="183"/>
                    <a:pt x="190" y="183"/>
                  </a:cubicBezTo>
                  <a:cubicBezTo>
                    <a:pt x="190" y="183"/>
                    <a:pt x="190" y="183"/>
                    <a:pt x="190" y="183"/>
                  </a:cubicBezTo>
                  <a:cubicBezTo>
                    <a:pt x="190" y="184"/>
                    <a:pt x="190" y="184"/>
                    <a:pt x="190" y="184"/>
                  </a:cubicBezTo>
                  <a:cubicBezTo>
                    <a:pt x="190" y="184"/>
                    <a:pt x="190" y="184"/>
                    <a:pt x="190" y="184"/>
                  </a:cubicBezTo>
                  <a:cubicBezTo>
                    <a:pt x="190" y="184"/>
                    <a:pt x="190" y="184"/>
                    <a:pt x="190" y="184"/>
                  </a:cubicBezTo>
                  <a:cubicBezTo>
                    <a:pt x="189" y="184"/>
                    <a:pt x="189" y="184"/>
                    <a:pt x="189" y="184"/>
                  </a:cubicBezTo>
                  <a:cubicBezTo>
                    <a:pt x="189" y="184"/>
                    <a:pt x="189" y="184"/>
                    <a:pt x="189" y="184"/>
                  </a:cubicBezTo>
                  <a:cubicBezTo>
                    <a:pt x="189" y="184"/>
                    <a:pt x="189" y="184"/>
                    <a:pt x="189" y="184"/>
                  </a:cubicBezTo>
                  <a:cubicBezTo>
                    <a:pt x="189" y="184"/>
                    <a:pt x="189" y="184"/>
                    <a:pt x="189" y="184"/>
                  </a:cubicBezTo>
                  <a:cubicBezTo>
                    <a:pt x="189" y="185"/>
                    <a:pt x="189" y="185"/>
                    <a:pt x="189" y="185"/>
                  </a:cubicBezTo>
                  <a:cubicBezTo>
                    <a:pt x="189" y="185"/>
                    <a:pt x="189" y="185"/>
                    <a:pt x="189" y="185"/>
                  </a:cubicBezTo>
                  <a:cubicBezTo>
                    <a:pt x="189" y="185"/>
                    <a:pt x="189" y="185"/>
                    <a:pt x="189" y="185"/>
                  </a:cubicBezTo>
                  <a:cubicBezTo>
                    <a:pt x="189" y="185"/>
                    <a:pt x="189" y="185"/>
                    <a:pt x="189" y="185"/>
                  </a:cubicBezTo>
                  <a:cubicBezTo>
                    <a:pt x="188" y="185"/>
                    <a:pt x="188" y="185"/>
                    <a:pt x="188" y="185"/>
                  </a:cubicBezTo>
                  <a:cubicBezTo>
                    <a:pt x="188" y="185"/>
                    <a:pt x="188" y="185"/>
                    <a:pt x="188" y="185"/>
                  </a:cubicBezTo>
                  <a:cubicBezTo>
                    <a:pt x="188" y="185"/>
                    <a:pt x="188" y="185"/>
                    <a:pt x="188" y="185"/>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7" y="186"/>
                    <a:pt x="187" y="186"/>
                    <a:pt x="187" y="186"/>
                  </a:cubicBezTo>
                  <a:cubicBezTo>
                    <a:pt x="187" y="186"/>
                    <a:pt x="187" y="186"/>
                    <a:pt x="187" y="186"/>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6" y="187"/>
                    <a:pt x="186" y="187"/>
                    <a:pt x="186" y="187"/>
                  </a:cubicBezTo>
                  <a:cubicBezTo>
                    <a:pt x="186" y="187"/>
                    <a:pt x="186" y="187"/>
                    <a:pt x="186" y="187"/>
                  </a:cubicBezTo>
                  <a:cubicBezTo>
                    <a:pt x="186" y="187"/>
                    <a:pt x="186" y="187"/>
                    <a:pt x="186" y="187"/>
                  </a:cubicBezTo>
                  <a:cubicBezTo>
                    <a:pt x="186" y="151"/>
                    <a:pt x="186" y="151"/>
                    <a:pt x="186" y="151"/>
                  </a:cubicBezTo>
                  <a:cubicBezTo>
                    <a:pt x="194" y="159"/>
                    <a:pt x="194" y="159"/>
                    <a:pt x="194" y="159"/>
                  </a:cubicBezTo>
                  <a:cubicBezTo>
                    <a:pt x="198" y="155"/>
                    <a:pt x="198" y="155"/>
                    <a:pt x="198" y="155"/>
                  </a:cubicBezTo>
                  <a:close/>
                  <a:moveTo>
                    <a:pt x="198" y="226"/>
                  </a:moveTo>
                  <a:cubicBezTo>
                    <a:pt x="198" y="247"/>
                    <a:pt x="198" y="247"/>
                    <a:pt x="198" y="247"/>
                  </a:cubicBezTo>
                  <a:cubicBezTo>
                    <a:pt x="198" y="247"/>
                    <a:pt x="198" y="247"/>
                    <a:pt x="198" y="247"/>
                  </a:cubicBezTo>
                  <a:cubicBezTo>
                    <a:pt x="197" y="247"/>
                    <a:pt x="197" y="247"/>
                    <a:pt x="197" y="247"/>
                  </a:cubicBezTo>
                  <a:cubicBezTo>
                    <a:pt x="197" y="247"/>
                    <a:pt x="197" y="247"/>
                    <a:pt x="197" y="247"/>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6" y="248"/>
                    <a:pt x="196" y="248"/>
                    <a:pt x="196" y="248"/>
                  </a:cubicBezTo>
                  <a:cubicBezTo>
                    <a:pt x="196" y="248"/>
                    <a:pt x="196" y="248"/>
                    <a:pt x="196" y="248"/>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5" y="249"/>
                    <a:pt x="195" y="249"/>
                    <a:pt x="195" y="249"/>
                  </a:cubicBezTo>
                  <a:cubicBezTo>
                    <a:pt x="195" y="249"/>
                    <a:pt x="195" y="249"/>
                    <a:pt x="195" y="249"/>
                  </a:cubicBezTo>
                  <a:cubicBezTo>
                    <a:pt x="195" y="249"/>
                    <a:pt x="195" y="249"/>
                    <a:pt x="195" y="249"/>
                  </a:cubicBezTo>
                  <a:cubicBezTo>
                    <a:pt x="195" y="249"/>
                    <a:pt x="195" y="249"/>
                    <a:pt x="195" y="249"/>
                  </a:cubicBezTo>
                  <a:cubicBezTo>
                    <a:pt x="195" y="250"/>
                    <a:pt x="195" y="250"/>
                    <a:pt x="195" y="250"/>
                  </a:cubicBezTo>
                  <a:cubicBezTo>
                    <a:pt x="195" y="250"/>
                    <a:pt x="195" y="250"/>
                    <a:pt x="195" y="250"/>
                  </a:cubicBezTo>
                  <a:cubicBezTo>
                    <a:pt x="195" y="250"/>
                    <a:pt x="195" y="250"/>
                    <a:pt x="195" y="250"/>
                  </a:cubicBezTo>
                  <a:cubicBezTo>
                    <a:pt x="194" y="250"/>
                    <a:pt x="194" y="250"/>
                    <a:pt x="194" y="250"/>
                  </a:cubicBezTo>
                  <a:cubicBezTo>
                    <a:pt x="194" y="250"/>
                    <a:pt x="194" y="250"/>
                    <a:pt x="194" y="250"/>
                  </a:cubicBezTo>
                  <a:cubicBezTo>
                    <a:pt x="186" y="258"/>
                    <a:pt x="186" y="258"/>
                    <a:pt x="186" y="258"/>
                  </a:cubicBezTo>
                  <a:cubicBezTo>
                    <a:pt x="186" y="237"/>
                    <a:pt x="186" y="237"/>
                    <a:pt x="186" y="237"/>
                  </a:cubicBezTo>
                  <a:lnTo>
                    <a:pt x="198" y="226"/>
                  </a:lnTo>
                  <a:close/>
                  <a:moveTo>
                    <a:pt x="186" y="315"/>
                  </a:moveTo>
                  <a:cubicBezTo>
                    <a:pt x="175" y="304"/>
                    <a:pt x="175" y="304"/>
                    <a:pt x="175" y="304"/>
                  </a:cubicBezTo>
                  <a:cubicBezTo>
                    <a:pt x="175" y="276"/>
                    <a:pt x="175" y="276"/>
                    <a:pt x="175" y="276"/>
                  </a:cubicBezTo>
                  <a:cubicBezTo>
                    <a:pt x="186" y="287"/>
                    <a:pt x="186" y="287"/>
                    <a:pt x="186" y="287"/>
                  </a:cubicBezTo>
                  <a:cubicBezTo>
                    <a:pt x="186" y="315"/>
                    <a:pt x="186" y="315"/>
                    <a:pt x="186" y="315"/>
                  </a:cubicBezTo>
                  <a:close/>
                  <a:moveTo>
                    <a:pt x="175" y="46"/>
                  </a:moveTo>
                  <a:cubicBezTo>
                    <a:pt x="186" y="57"/>
                    <a:pt x="186" y="57"/>
                    <a:pt x="186" y="57"/>
                  </a:cubicBezTo>
                  <a:cubicBezTo>
                    <a:pt x="186" y="86"/>
                    <a:pt x="186" y="86"/>
                    <a:pt x="186" y="86"/>
                  </a:cubicBezTo>
                  <a:cubicBezTo>
                    <a:pt x="175" y="74"/>
                    <a:pt x="175" y="74"/>
                    <a:pt x="175" y="74"/>
                  </a:cubicBezTo>
                  <a:cubicBezTo>
                    <a:pt x="175" y="46"/>
                    <a:pt x="175" y="46"/>
                    <a:pt x="175" y="46"/>
                  </a:cubicBezTo>
                  <a:close/>
                  <a:moveTo>
                    <a:pt x="186" y="95"/>
                  </a:moveTo>
                  <a:cubicBezTo>
                    <a:pt x="186" y="131"/>
                    <a:pt x="186" y="131"/>
                    <a:pt x="186" y="131"/>
                  </a:cubicBezTo>
                  <a:cubicBezTo>
                    <a:pt x="179" y="124"/>
                    <a:pt x="179" y="124"/>
                    <a:pt x="179" y="124"/>
                  </a:cubicBezTo>
                  <a:cubicBezTo>
                    <a:pt x="175" y="128"/>
                    <a:pt x="175" y="128"/>
                    <a:pt x="175" y="128"/>
                  </a:cubicBezTo>
                  <a:cubicBezTo>
                    <a:pt x="175" y="106"/>
                    <a:pt x="175" y="106"/>
                    <a:pt x="175" y="106"/>
                  </a:cubicBezTo>
                  <a:cubicBezTo>
                    <a:pt x="186" y="95"/>
                    <a:pt x="186" y="95"/>
                    <a:pt x="186" y="95"/>
                  </a:cubicBezTo>
                  <a:close/>
                  <a:moveTo>
                    <a:pt x="186" y="151"/>
                  </a:moveTo>
                  <a:cubicBezTo>
                    <a:pt x="186" y="187"/>
                    <a:pt x="186" y="187"/>
                    <a:pt x="186" y="187"/>
                  </a:cubicBezTo>
                  <a:cubicBezTo>
                    <a:pt x="186" y="187"/>
                    <a:pt x="186" y="187"/>
                    <a:pt x="186" y="187"/>
                  </a:cubicBezTo>
                  <a:cubicBezTo>
                    <a:pt x="186" y="188"/>
                    <a:pt x="186" y="188"/>
                    <a:pt x="186" y="188"/>
                  </a:cubicBezTo>
                  <a:cubicBezTo>
                    <a:pt x="186" y="188"/>
                    <a:pt x="186" y="188"/>
                    <a:pt x="186" y="188"/>
                  </a:cubicBezTo>
                  <a:cubicBezTo>
                    <a:pt x="186" y="188"/>
                    <a:pt x="186" y="188"/>
                    <a:pt x="186" y="188"/>
                  </a:cubicBezTo>
                  <a:cubicBezTo>
                    <a:pt x="186" y="188"/>
                    <a:pt x="186" y="188"/>
                    <a:pt x="186" y="188"/>
                  </a:cubicBezTo>
                  <a:cubicBezTo>
                    <a:pt x="185" y="188"/>
                    <a:pt x="185" y="188"/>
                    <a:pt x="185" y="188"/>
                  </a:cubicBezTo>
                  <a:cubicBezTo>
                    <a:pt x="185" y="188"/>
                    <a:pt x="185" y="188"/>
                    <a:pt x="185" y="188"/>
                  </a:cubicBezTo>
                  <a:cubicBezTo>
                    <a:pt x="185" y="188"/>
                    <a:pt x="185" y="188"/>
                    <a:pt x="185" y="188"/>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4" y="189"/>
                    <a:pt x="184" y="189"/>
                    <a:pt x="184" y="189"/>
                  </a:cubicBezTo>
                  <a:cubicBezTo>
                    <a:pt x="184" y="189"/>
                    <a:pt x="184" y="189"/>
                    <a:pt x="184" y="189"/>
                  </a:cubicBezTo>
                  <a:cubicBezTo>
                    <a:pt x="184" y="189"/>
                    <a:pt x="184" y="189"/>
                    <a:pt x="184" y="189"/>
                  </a:cubicBezTo>
                  <a:cubicBezTo>
                    <a:pt x="184" y="189"/>
                    <a:pt x="184" y="189"/>
                    <a:pt x="184" y="189"/>
                  </a:cubicBezTo>
                  <a:cubicBezTo>
                    <a:pt x="184" y="190"/>
                    <a:pt x="184" y="190"/>
                    <a:pt x="184" y="190"/>
                  </a:cubicBezTo>
                  <a:cubicBezTo>
                    <a:pt x="184" y="190"/>
                    <a:pt x="184" y="190"/>
                    <a:pt x="184" y="190"/>
                  </a:cubicBezTo>
                  <a:cubicBezTo>
                    <a:pt x="184" y="190"/>
                    <a:pt x="184" y="190"/>
                    <a:pt x="184" y="190"/>
                  </a:cubicBezTo>
                  <a:cubicBezTo>
                    <a:pt x="183" y="190"/>
                    <a:pt x="183" y="190"/>
                    <a:pt x="183" y="190"/>
                  </a:cubicBezTo>
                  <a:cubicBezTo>
                    <a:pt x="183" y="190"/>
                    <a:pt x="183" y="190"/>
                    <a:pt x="183" y="190"/>
                  </a:cubicBezTo>
                  <a:cubicBezTo>
                    <a:pt x="183" y="190"/>
                    <a:pt x="183" y="190"/>
                    <a:pt x="183" y="190"/>
                  </a:cubicBezTo>
                  <a:cubicBezTo>
                    <a:pt x="183" y="190"/>
                    <a:pt x="183" y="190"/>
                    <a:pt x="183" y="190"/>
                  </a:cubicBezTo>
                  <a:cubicBezTo>
                    <a:pt x="183" y="191"/>
                    <a:pt x="183" y="191"/>
                    <a:pt x="183" y="191"/>
                  </a:cubicBezTo>
                  <a:cubicBezTo>
                    <a:pt x="183" y="191"/>
                    <a:pt x="183" y="191"/>
                    <a:pt x="183" y="191"/>
                  </a:cubicBezTo>
                  <a:cubicBezTo>
                    <a:pt x="183" y="191"/>
                    <a:pt x="183" y="191"/>
                    <a:pt x="183" y="191"/>
                  </a:cubicBezTo>
                  <a:cubicBezTo>
                    <a:pt x="182" y="191"/>
                    <a:pt x="182" y="191"/>
                    <a:pt x="182" y="191"/>
                  </a:cubicBezTo>
                  <a:cubicBezTo>
                    <a:pt x="182" y="191"/>
                    <a:pt x="182" y="191"/>
                    <a:pt x="182" y="191"/>
                  </a:cubicBezTo>
                  <a:cubicBezTo>
                    <a:pt x="182" y="191"/>
                    <a:pt x="182" y="191"/>
                    <a:pt x="182" y="191"/>
                  </a:cubicBezTo>
                  <a:cubicBezTo>
                    <a:pt x="182" y="191"/>
                    <a:pt x="182" y="191"/>
                    <a:pt x="182" y="191"/>
                  </a:cubicBezTo>
                  <a:cubicBezTo>
                    <a:pt x="182" y="192"/>
                    <a:pt x="182" y="192"/>
                    <a:pt x="182" y="192"/>
                  </a:cubicBezTo>
                  <a:cubicBezTo>
                    <a:pt x="182" y="192"/>
                    <a:pt x="182" y="192"/>
                    <a:pt x="182" y="192"/>
                  </a:cubicBezTo>
                  <a:cubicBezTo>
                    <a:pt x="182" y="192"/>
                    <a:pt x="182" y="192"/>
                    <a:pt x="182" y="192"/>
                  </a:cubicBezTo>
                  <a:cubicBezTo>
                    <a:pt x="182" y="192"/>
                    <a:pt x="182" y="192"/>
                    <a:pt x="182" y="192"/>
                  </a:cubicBezTo>
                  <a:cubicBezTo>
                    <a:pt x="175" y="199"/>
                    <a:pt x="175" y="199"/>
                    <a:pt x="175" y="199"/>
                  </a:cubicBezTo>
                  <a:cubicBezTo>
                    <a:pt x="175" y="177"/>
                    <a:pt x="175" y="177"/>
                    <a:pt x="175" y="177"/>
                  </a:cubicBezTo>
                  <a:cubicBezTo>
                    <a:pt x="181" y="171"/>
                    <a:pt x="181" y="171"/>
                    <a:pt x="181" y="171"/>
                  </a:cubicBezTo>
                  <a:cubicBezTo>
                    <a:pt x="175" y="165"/>
                    <a:pt x="175" y="165"/>
                    <a:pt x="175" y="165"/>
                  </a:cubicBezTo>
                  <a:cubicBezTo>
                    <a:pt x="175" y="140"/>
                    <a:pt x="175" y="140"/>
                    <a:pt x="175" y="140"/>
                  </a:cubicBezTo>
                  <a:cubicBezTo>
                    <a:pt x="186" y="151"/>
                    <a:pt x="186" y="151"/>
                    <a:pt x="186" y="151"/>
                  </a:cubicBezTo>
                  <a:close/>
                  <a:moveTo>
                    <a:pt x="186" y="237"/>
                  </a:moveTo>
                  <a:cubicBezTo>
                    <a:pt x="186" y="258"/>
                    <a:pt x="186" y="258"/>
                    <a:pt x="186" y="258"/>
                  </a:cubicBezTo>
                  <a:cubicBezTo>
                    <a:pt x="175" y="269"/>
                    <a:pt x="175" y="269"/>
                    <a:pt x="175" y="269"/>
                  </a:cubicBezTo>
                  <a:cubicBezTo>
                    <a:pt x="175" y="230"/>
                    <a:pt x="175" y="230"/>
                    <a:pt x="175" y="230"/>
                  </a:cubicBezTo>
                  <a:cubicBezTo>
                    <a:pt x="184" y="239"/>
                    <a:pt x="184" y="239"/>
                    <a:pt x="184" y="239"/>
                  </a:cubicBezTo>
                  <a:lnTo>
                    <a:pt x="186" y="237"/>
                  </a:lnTo>
                  <a:close/>
                  <a:moveTo>
                    <a:pt x="175" y="304"/>
                  </a:moveTo>
                  <a:cubicBezTo>
                    <a:pt x="169" y="298"/>
                    <a:pt x="169" y="298"/>
                    <a:pt x="169" y="298"/>
                  </a:cubicBezTo>
                  <a:cubicBezTo>
                    <a:pt x="164" y="292"/>
                    <a:pt x="164" y="292"/>
                    <a:pt x="164" y="292"/>
                  </a:cubicBezTo>
                  <a:cubicBezTo>
                    <a:pt x="164" y="259"/>
                    <a:pt x="164" y="259"/>
                    <a:pt x="164" y="259"/>
                  </a:cubicBezTo>
                  <a:cubicBezTo>
                    <a:pt x="171" y="252"/>
                    <a:pt x="171" y="252"/>
                    <a:pt x="171" y="252"/>
                  </a:cubicBezTo>
                  <a:cubicBezTo>
                    <a:pt x="164" y="244"/>
                    <a:pt x="164" y="244"/>
                    <a:pt x="164" y="244"/>
                  </a:cubicBezTo>
                  <a:cubicBezTo>
                    <a:pt x="164" y="219"/>
                    <a:pt x="164" y="219"/>
                    <a:pt x="164" y="219"/>
                  </a:cubicBezTo>
                  <a:cubicBezTo>
                    <a:pt x="175" y="230"/>
                    <a:pt x="175" y="230"/>
                    <a:pt x="175" y="230"/>
                  </a:cubicBezTo>
                  <a:cubicBezTo>
                    <a:pt x="175" y="269"/>
                    <a:pt x="175" y="269"/>
                    <a:pt x="175" y="269"/>
                  </a:cubicBezTo>
                  <a:cubicBezTo>
                    <a:pt x="172" y="273"/>
                    <a:pt x="172" y="273"/>
                    <a:pt x="172" y="273"/>
                  </a:cubicBezTo>
                  <a:cubicBezTo>
                    <a:pt x="175" y="276"/>
                    <a:pt x="175" y="276"/>
                    <a:pt x="175" y="276"/>
                  </a:cubicBezTo>
                  <a:cubicBezTo>
                    <a:pt x="175" y="304"/>
                    <a:pt x="175" y="304"/>
                    <a:pt x="175" y="304"/>
                  </a:cubicBezTo>
                  <a:close/>
                  <a:moveTo>
                    <a:pt x="164" y="35"/>
                  </a:moveTo>
                  <a:cubicBezTo>
                    <a:pt x="175" y="46"/>
                    <a:pt x="175" y="46"/>
                    <a:pt x="175" y="46"/>
                  </a:cubicBezTo>
                  <a:cubicBezTo>
                    <a:pt x="175" y="74"/>
                    <a:pt x="175" y="74"/>
                    <a:pt x="175" y="74"/>
                  </a:cubicBezTo>
                  <a:cubicBezTo>
                    <a:pt x="166" y="66"/>
                    <a:pt x="166" y="66"/>
                    <a:pt x="166" y="66"/>
                  </a:cubicBezTo>
                  <a:cubicBezTo>
                    <a:pt x="164" y="68"/>
                    <a:pt x="164" y="68"/>
                    <a:pt x="164" y="68"/>
                  </a:cubicBezTo>
                  <a:cubicBezTo>
                    <a:pt x="164" y="35"/>
                    <a:pt x="164" y="35"/>
                    <a:pt x="164" y="35"/>
                  </a:cubicBezTo>
                  <a:close/>
                  <a:moveTo>
                    <a:pt x="175" y="106"/>
                  </a:moveTo>
                  <a:cubicBezTo>
                    <a:pt x="175" y="128"/>
                    <a:pt x="175" y="128"/>
                    <a:pt x="175" y="128"/>
                  </a:cubicBezTo>
                  <a:cubicBezTo>
                    <a:pt x="169" y="134"/>
                    <a:pt x="169" y="134"/>
                    <a:pt x="169" y="134"/>
                  </a:cubicBezTo>
                  <a:cubicBezTo>
                    <a:pt x="175" y="140"/>
                    <a:pt x="175" y="140"/>
                    <a:pt x="175" y="140"/>
                  </a:cubicBezTo>
                  <a:cubicBezTo>
                    <a:pt x="175" y="165"/>
                    <a:pt x="175" y="165"/>
                    <a:pt x="175" y="165"/>
                  </a:cubicBezTo>
                  <a:cubicBezTo>
                    <a:pt x="164" y="153"/>
                    <a:pt x="164" y="153"/>
                    <a:pt x="164" y="153"/>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5" y="117"/>
                    <a:pt x="165" y="117"/>
                    <a:pt x="165" y="117"/>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6" y="116"/>
                    <a:pt x="166" y="116"/>
                    <a:pt x="166" y="116"/>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7" y="115"/>
                    <a:pt x="167" y="115"/>
                    <a:pt x="167" y="115"/>
                  </a:cubicBezTo>
                  <a:cubicBezTo>
                    <a:pt x="167" y="115"/>
                    <a:pt x="167" y="115"/>
                    <a:pt x="167" y="115"/>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75" y="106"/>
                    <a:pt x="175" y="106"/>
                    <a:pt x="175" y="106"/>
                  </a:cubicBezTo>
                  <a:close/>
                  <a:moveTo>
                    <a:pt x="175" y="177"/>
                  </a:moveTo>
                  <a:cubicBezTo>
                    <a:pt x="175" y="199"/>
                    <a:pt x="175" y="199"/>
                    <a:pt x="175" y="199"/>
                  </a:cubicBezTo>
                  <a:cubicBezTo>
                    <a:pt x="164" y="210"/>
                    <a:pt x="164" y="210"/>
                    <a:pt x="164" y="210"/>
                  </a:cubicBezTo>
                  <a:cubicBezTo>
                    <a:pt x="164" y="174"/>
                    <a:pt x="164" y="174"/>
                    <a:pt x="164" y="174"/>
                  </a:cubicBezTo>
                  <a:cubicBezTo>
                    <a:pt x="171" y="181"/>
                    <a:pt x="171" y="181"/>
                    <a:pt x="171" y="181"/>
                  </a:cubicBezTo>
                  <a:lnTo>
                    <a:pt x="175" y="177"/>
                  </a:lnTo>
                  <a:close/>
                  <a:moveTo>
                    <a:pt x="164" y="292"/>
                  </a:moveTo>
                  <a:cubicBezTo>
                    <a:pt x="152" y="281"/>
                    <a:pt x="152" y="281"/>
                    <a:pt x="152" y="281"/>
                  </a:cubicBezTo>
                  <a:cubicBezTo>
                    <a:pt x="152" y="253"/>
                    <a:pt x="152" y="253"/>
                    <a:pt x="152" y="253"/>
                  </a:cubicBezTo>
                  <a:cubicBezTo>
                    <a:pt x="161" y="262"/>
                    <a:pt x="161" y="262"/>
                    <a:pt x="161" y="262"/>
                  </a:cubicBezTo>
                  <a:cubicBezTo>
                    <a:pt x="164" y="259"/>
                    <a:pt x="164" y="259"/>
                    <a:pt x="164" y="259"/>
                  </a:cubicBezTo>
                  <a:cubicBezTo>
                    <a:pt x="164" y="292"/>
                    <a:pt x="164" y="292"/>
                    <a:pt x="164" y="292"/>
                  </a:cubicBezTo>
                  <a:close/>
                  <a:moveTo>
                    <a:pt x="152" y="23"/>
                  </a:moveTo>
                  <a:cubicBezTo>
                    <a:pt x="164" y="35"/>
                    <a:pt x="164" y="35"/>
                    <a:pt x="164" y="35"/>
                  </a:cubicBezTo>
                  <a:cubicBezTo>
                    <a:pt x="164" y="68"/>
                    <a:pt x="164" y="68"/>
                    <a:pt x="164" y="68"/>
                  </a:cubicBezTo>
                  <a:cubicBezTo>
                    <a:pt x="152" y="79"/>
                    <a:pt x="152" y="79"/>
                    <a:pt x="152" y="79"/>
                  </a:cubicBezTo>
                  <a:cubicBezTo>
                    <a:pt x="152" y="58"/>
                    <a:pt x="152" y="58"/>
                    <a:pt x="152" y="58"/>
                  </a:cubicBezTo>
                  <a:cubicBezTo>
                    <a:pt x="155" y="55"/>
                    <a:pt x="155" y="55"/>
                    <a:pt x="155" y="55"/>
                  </a:cubicBezTo>
                  <a:cubicBezTo>
                    <a:pt x="152" y="52"/>
                    <a:pt x="152" y="52"/>
                    <a:pt x="152" y="52"/>
                  </a:cubicBezTo>
                  <a:cubicBezTo>
                    <a:pt x="152" y="23"/>
                    <a:pt x="152" y="23"/>
                    <a:pt x="152" y="23"/>
                  </a:cubicBezTo>
                  <a:close/>
                  <a:moveTo>
                    <a:pt x="164" y="117"/>
                  </a:moveTo>
                  <a:cubicBezTo>
                    <a:pt x="164" y="153"/>
                    <a:pt x="164" y="153"/>
                    <a:pt x="164" y="153"/>
                  </a:cubicBezTo>
                  <a:cubicBezTo>
                    <a:pt x="156" y="146"/>
                    <a:pt x="156" y="146"/>
                    <a:pt x="156" y="146"/>
                  </a:cubicBezTo>
                  <a:cubicBezTo>
                    <a:pt x="152" y="150"/>
                    <a:pt x="152" y="150"/>
                    <a:pt x="152" y="150"/>
                  </a:cubicBezTo>
                  <a:cubicBezTo>
                    <a:pt x="152" y="129"/>
                    <a:pt x="152" y="129"/>
                    <a:pt x="152" y="129"/>
                  </a:cubicBezTo>
                  <a:cubicBezTo>
                    <a:pt x="158" y="123"/>
                    <a:pt x="158" y="123"/>
                    <a:pt x="158" y="123"/>
                  </a:cubicBezTo>
                  <a:cubicBezTo>
                    <a:pt x="158" y="123"/>
                    <a:pt x="158" y="123"/>
                    <a:pt x="158" y="123"/>
                  </a:cubicBezTo>
                  <a:cubicBezTo>
                    <a:pt x="158" y="123"/>
                    <a:pt x="158" y="123"/>
                    <a:pt x="158" y="123"/>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60" y="122"/>
                    <a:pt x="160" y="122"/>
                    <a:pt x="160" y="122"/>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2" y="120"/>
                    <a:pt x="162" y="120"/>
                    <a:pt x="162" y="120"/>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3" y="119"/>
                    <a:pt x="163" y="119"/>
                    <a:pt x="163" y="119"/>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4" y="117"/>
                    <a:pt x="164" y="117"/>
                    <a:pt x="164" y="117"/>
                  </a:cubicBezTo>
                  <a:close/>
                  <a:moveTo>
                    <a:pt x="164" y="174"/>
                  </a:moveTo>
                  <a:cubicBezTo>
                    <a:pt x="164" y="210"/>
                    <a:pt x="164" y="210"/>
                    <a:pt x="164" y="210"/>
                  </a:cubicBezTo>
                  <a:cubicBezTo>
                    <a:pt x="159" y="214"/>
                    <a:pt x="159" y="214"/>
                    <a:pt x="159" y="214"/>
                  </a:cubicBezTo>
                  <a:cubicBezTo>
                    <a:pt x="164" y="219"/>
                    <a:pt x="164" y="219"/>
                    <a:pt x="164" y="219"/>
                  </a:cubicBezTo>
                  <a:cubicBezTo>
                    <a:pt x="164" y="244"/>
                    <a:pt x="164" y="244"/>
                    <a:pt x="164" y="244"/>
                  </a:cubicBezTo>
                  <a:cubicBezTo>
                    <a:pt x="152" y="232"/>
                    <a:pt x="152" y="232"/>
                    <a:pt x="152" y="232"/>
                  </a:cubicBezTo>
                  <a:cubicBezTo>
                    <a:pt x="152" y="199"/>
                    <a:pt x="152" y="199"/>
                    <a:pt x="152" y="199"/>
                  </a:cubicBezTo>
                  <a:cubicBezTo>
                    <a:pt x="152" y="199"/>
                    <a:pt x="152" y="199"/>
                    <a:pt x="152"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8"/>
                    <a:pt x="153" y="198"/>
                    <a:pt x="153" y="198"/>
                  </a:cubicBezTo>
                  <a:cubicBezTo>
                    <a:pt x="153" y="198"/>
                    <a:pt x="153" y="198"/>
                    <a:pt x="153"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7"/>
                    <a:pt x="154" y="197"/>
                    <a:pt x="154" y="197"/>
                  </a:cubicBezTo>
                  <a:cubicBezTo>
                    <a:pt x="154" y="197"/>
                    <a:pt x="154" y="197"/>
                    <a:pt x="154"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6"/>
                    <a:pt x="155" y="196"/>
                    <a:pt x="155" y="196"/>
                  </a:cubicBezTo>
                  <a:cubicBezTo>
                    <a:pt x="155" y="196"/>
                    <a:pt x="155" y="196"/>
                    <a:pt x="155"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5"/>
                    <a:pt x="156" y="195"/>
                    <a:pt x="156" y="195"/>
                  </a:cubicBezTo>
                  <a:cubicBezTo>
                    <a:pt x="156" y="195"/>
                    <a:pt x="156" y="195"/>
                    <a:pt x="156"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4"/>
                    <a:pt x="157" y="194"/>
                    <a:pt x="157"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9" y="193"/>
                    <a:pt x="159" y="193"/>
                    <a:pt x="159" y="193"/>
                  </a:cubicBezTo>
                  <a:cubicBezTo>
                    <a:pt x="152" y="187"/>
                    <a:pt x="152" y="187"/>
                    <a:pt x="152" y="187"/>
                  </a:cubicBezTo>
                  <a:cubicBezTo>
                    <a:pt x="152" y="163"/>
                    <a:pt x="152" y="163"/>
                    <a:pt x="152" y="163"/>
                  </a:cubicBezTo>
                  <a:lnTo>
                    <a:pt x="164" y="174"/>
                  </a:lnTo>
                  <a:close/>
                  <a:moveTo>
                    <a:pt x="152" y="281"/>
                  </a:moveTo>
                  <a:cubicBezTo>
                    <a:pt x="138" y="267"/>
                    <a:pt x="138" y="267"/>
                    <a:pt x="138" y="267"/>
                  </a:cubicBezTo>
                  <a:cubicBezTo>
                    <a:pt x="138" y="238"/>
                    <a:pt x="138" y="238"/>
                    <a:pt x="138" y="238"/>
                  </a:cubicBezTo>
                  <a:cubicBezTo>
                    <a:pt x="152" y="253"/>
                    <a:pt x="152" y="253"/>
                    <a:pt x="152" y="253"/>
                  </a:cubicBezTo>
                  <a:cubicBezTo>
                    <a:pt x="152" y="281"/>
                    <a:pt x="152" y="281"/>
                    <a:pt x="152" y="281"/>
                  </a:cubicBezTo>
                  <a:close/>
                  <a:moveTo>
                    <a:pt x="138" y="9"/>
                  </a:moveTo>
                  <a:cubicBezTo>
                    <a:pt x="152" y="23"/>
                    <a:pt x="152" y="23"/>
                    <a:pt x="152" y="23"/>
                  </a:cubicBezTo>
                  <a:cubicBezTo>
                    <a:pt x="152" y="52"/>
                    <a:pt x="152" y="52"/>
                    <a:pt x="152" y="52"/>
                  </a:cubicBezTo>
                  <a:cubicBezTo>
                    <a:pt x="138" y="37"/>
                    <a:pt x="138" y="37"/>
                    <a:pt x="138" y="37"/>
                  </a:cubicBezTo>
                  <a:cubicBezTo>
                    <a:pt x="138" y="9"/>
                    <a:pt x="138" y="9"/>
                    <a:pt x="138" y="9"/>
                  </a:cubicBezTo>
                  <a:close/>
                  <a:moveTo>
                    <a:pt x="152" y="58"/>
                  </a:moveTo>
                  <a:cubicBezTo>
                    <a:pt x="152" y="79"/>
                    <a:pt x="152" y="79"/>
                    <a:pt x="152" y="79"/>
                  </a:cubicBezTo>
                  <a:cubicBezTo>
                    <a:pt x="144" y="88"/>
                    <a:pt x="144" y="88"/>
                    <a:pt x="144" y="88"/>
                  </a:cubicBezTo>
                  <a:cubicBezTo>
                    <a:pt x="144" y="88"/>
                    <a:pt x="144" y="88"/>
                    <a:pt x="144" y="88"/>
                  </a:cubicBezTo>
                  <a:cubicBezTo>
                    <a:pt x="143" y="88"/>
                    <a:pt x="143" y="88"/>
                    <a:pt x="143" y="88"/>
                  </a:cubicBezTo>
                  <a:cubicBezTo>
                    <a:pt x="143" y="88"/>
                    <a:pt x="143" y="88"/>
                    <a:pt x="143" y="88"/>
                  </a:cubicBezTo>
                  <a:cubicBezTo>
                    <a:pt x="143" y="88"/>
                    <a:pt x="143" y="88"/>
                    <a:pt x="143" y="88"/>
                  </a:cubicBezTo>
                  <a:cubicBezTo>
                    <a:pt x="143" y="89"/>
                    <a:pt x="143" y="89"/>
                    <a:pt x="143" y="89"/>
                  </a:cubicBezTo>
                  <a:cubicBezTo>
                    <a:pt x="143" y="89"/>
                    <a:pt x="143" y="89"/>
                    <a:pt x="143" y="89"/>
                  </a:cubicBezTo>
                  <a:cubicBezTo>
                    <a:pt x="143" y="89"/>
                    <a:pt x="143" y="89"/>
                    <a:pt x="143" y="89"/>
                  </a:cubicBezTo>
                  <a:cubicBezTo>
                    <a:pt x="143" y="89"/>
                    <a:pt x="143" y="89"/>
                    <a:pt x="143" y="89"/>
                  </a:cubicBezTo>
                  <a:cubicBezTo>
                    <a:pt x="142" y="89"/>
                    <a:pt x="142" y="89"/>
                    <a:pt x="142" y="89"/>
                  </a:cubicBezTo>
                  <a:cubicBezTo>
                    <a:pt x="142" y="89"/>
                    <a:pt x="142" y="89"/>
                    <a:pt x="142" y="89"/>
                  </a:cubicBezTo>
                  <a:cubicBezTo>
                    <a:pt x="142" y="89"/>
                    <a:pt x="142" y="89"/>
                    <a:pt x="142" y="89"/>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1" y="90"/>
                    <a:pt x="141" y="90"/>
                    <a:pt x="141" y="90"/>
                  </a:cubicBezTo>
                  <a:cubicBezTo>
                    <a:pt x="141" y="90"/>
                    <a:pt x="141" y="90"/>
                    <a:pt x="141" y="90"/>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0" y="91"/>
                    <a:pt x="140" y="91"/>
                    <a:pt x="140" y="91"/>
                  </a:cubicBezTo>
                  <a:cubicBezTo>
                    <a:pt x="140" y="91"/>
                    <a:pt x="140" y="91"/>
                    <a:pt x="140" y="91"/>
                  </a:cubicBezTo>
                  <a:cubicBezTo>
                    <a:pt x="140" y="91"/>
                    <a:pt x="140" y="91"/>
                    <a:pt x="140" y="91"/>
                  </a:cubicBezTo>
                  <a:cubicBezTo>
                    <a:pt x="140" y="91"/>
                    <a:pt x="140" y="91"/>
                    <a:pt x="140" y="91"/>
                  </a:cubicBezTo>
                  <a:cubicBezTo>
                    <a:pt x="140" y="92"/>
                    <a:pt x="140" y="92"/>
                    <a:pt x="140" y="92"/>
                  </a:cubicBezTo>
                  <a:cubicBezTo>
                    <a:pt x="140" y="92"/>
                    <a:pt x="140" y="92"/>
                    <a:pt x="140" y="92"/>
                  </a:cubicBezTo>
                  <a:cubicBezTo>
                    <a:pt x="140" y="92"/>
                    <a:pt x="140" y="92"/>
                    <a:pt x="140" y="92"/>
                  </a:cubicBezTo>
                  <a:cubicBezTo>
                    <a:pt x="139" y="92"/>
                    <a:pt x="139" y="92"/>
                    <a:pt x="139" y="92"/>
                  </a:cubicBezTo>
                  <a:cubicBezTo>
                    <a:pt x="139" y="92"/>
                    <a:pt x="139" y="92"/>
                    <a:pt x="139" y="92"/>
                  </a:cubicBezTo>
                  <a:cubicBezTo>
                    <a:pt x="139" y="92"/>
                    <a:pt x="139" y="92"/>
                    <a:pt x="139" y="92"/>
                  </a:cubicBezTo>
                  <a:cubicBezTo>
                    <a:pt x="139" y="92"/>
                    <a:pt x="139" y="92"/>
                    <a:pt x="139" y="92"/>
                  </a:cubicBezTo>
                  <a:cubicBezTo>
                    <a:pt x="139" y="93"/>
                    <a:pt x="139" y="93"/>
                    <a:pt x="139" y="93"/>
                  </a:cubicBezTo>
                  <a:cubicBezTo>
                    <a:pt x="139" y="93"/>
                    <a:pt x="139" y="93"/>
                    <a:pt x="139" y="93"/>
                  </a:cubicBezTo>
                  <a:cubicBezTo>
                    <a:pt x="139" y="93"/>
                    <a:pt x="139" y="93"/>
                    <a:pt x="139" y="93"/>
                  </a:cubicBezTo>
                  <a:cubicBezTo>
                    <a:pt x="138" y="93"/>
                    <a:pt x="138" y="93"/>
                    <a:pt x="138" y="93"/>
                  </a:cubicBezTo>
                  <a:cubicBezTo>
                    <a:pt x="138" y="93"/>
                    <a:pt x="138" y="93"/>
                    <a:pt x="138" y="93"/>
                  </a:cubicBezTo>
                  <a:cubicBezTo>
                    <a:pt x="138" y="93"/>
                    <a:pt x="138" y="93"/>
                    <a:pt x="138" y="93"/>
                  </a:cubicBezTo>
                  <a:cubicBezTo>
                    <a:pt x="138" y="93"/>
                    <a:pt x="138" y="93"/>
                    <a:pt x="138" y="93"/>
                  </a:cubicBezTo>
                  <a:cubicBezTo>
                    <a:pt x="138" y="94"/>
                    <a:pt x="138" y="94"/>
                    <a:pt x="138" y="94"/>
                  </a:cubicBezTo>
                  <a:cubicBezTo>
                    <a:pt x="138" y="94"/>
                    <a:pt x="138" y="94"/>
                    <a:pt x="138" y="94"/>
                  </a:cubicBezTo>
                  <a:cubicBezTo>
                    <a:pt x="138" y="58"/>
                    <a:pt x="138" y="58"/>
                    <a:pt x="138" y="58"/>
                  </a:cubicBezTo>
                  <a:cubicBezTo>
                    <a:pt x="145" y="65"/>
                    <a:pt x="145" y="65"/>
                    <a:pt x="145" y="65"/>
                  </a:cubicBezTo>
                  <a:cubicBezTo>
                    <a:pt x="152" y="58"/>
                    <a:pt x="152" y="58"/>
                    <a:pt x="152" y="58"/>
                  </a:cubicBezTo>
                  <a:close/>
                  <a:moveTo>
                    <a:pt x="152" y="129"/>
                  </a:moveTo>
                  <a:cubicBezTo>
                    <a:pt x="152" y="150"/>
                    <a:pt x="152" y="150"/>
                    <a:pt x="152" y="150"/>
                  </a:cubicBezTo>
                  <a:cubicBezTo>
                    <a:pt x="146" y="156"/>
                    <a:pt x="146" y="156"/>
                    <a:pt x="146" y="156"/>
                  </a:cubicBezTo>
                  <a:cubicBezTo>
                    <a:pt x="152" y="163"/>
                    <a:pt x="152" y="163"/>
                    <a:pt x="152" y="163"/>
                  </a:cubicBezTo>
                  <a:cubicBezTo>
                    <a:pt x="152" y="187"/>
                    <a:pt x="152" y="187"/>
                    <a:pt x="152" y="187"/>
                  </a:cubicBezTo>
                  <a:cubicBezTo>
                    <a:pt x="138" y="173"/>
                    <a:pt x="138" y="173"/>
                    <a:pt x="138" y="173"/>
                  </a:cubicBezTo>
                  <a:cubicBezTo>
                    <a:pt x="138" y="143"/>
                    <a:pt x="138" y="143"/>
                    <a:pt x="138" y="143"/>
                  </a:cubicBezTo>
                  <a:cubicBezTo>
                    <a:pt x="138" y="143"/>
                    <a:pt x="138" y="143"/>
                    <a:pt x="138" y="143"/>
                  </a:cubicBezTo>
                  <a:cubicBezTo>
                    <a:pt x="138" y="143"/>
                    <a:pt x="138" y="143"/>
                    <a:pt x="138" y="143"/>
                  </a:cubicBezTo>
                  <a:cubicBezTo>
                    <a:pt x="138" y="142"/>
                    <a:pt x="138" y="142"/>
                    <a:pt x="138"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1"/>
                    <a:pt x="139" y="141"/>
                    <a:pt x="139"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0"/>
                    <a:pt x="140" y="140"/>
                    <a:pt x="140"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39"/>
                    <a:pt x="141" y="139"/>
                    <a:pt x="141"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7"/>
                    <a:pt x="143" y="137"/>
                    <a:pt x="143"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6"/>
                    <a:pt x="144" y="136"/>
                    <a:pt x="144"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5"/>
                    <a:pt x="145" y="135"/>
                    <a:pt x="145" y="135"/>
                  </a:cubicBezTo>
                  <a:cubicBezTo>
                    <a:pt x="146" y="135"/>
                    <a:pt x="146" y="135"/>
                    <a:pt x="146" y="135"/>
                  </a:cubicBezTo>
                  <a:cubicBezTo>
                    <a:pt x="152" y="129"/>
                    <a:pt x="152" y="129"/>
                    <a:pt x="152" y="129"/>
                  </a:cubicBezTo>
                  <a:close/>
                  <a:moveTo>
                    <a:pt x="152" y="199"/>
                  </a:moveTo>
                  <a:cubicBezTo>
                    <a:pt x="152" y="232"/>
                    <a:pt x="152" y="232"/>
                    <a:pt x="152" y="232"/>
                  </a:cubicBezTo>
                  <a:cubicBezTo>
                    <a:pt x="147" y="227"/>
                    <a:pt x="147" y="227"/>
                    <a:pt x="147" y="227"/>
                  </a:cubicBezTo>
                  <a:cubicBezTo>
                    <a:pt x="138" y="235"/>
                    <a:pt x="138" y="235"/>
                    <a:pt x="138" y="235"/>
                  </a:cubicBezTo>
                  <a:cubicBezTo>
                    <a:pt x="138" y="214"/>
                    <a:pt x="138" y="214"/>
                    <a:pt x="138" y="214"/>
                  </a:cubicBezTo>
                  <a:cubicBezTo>
                    <a:pt x="148" y="204"/>
                    <a:pt x="148" y="204"/>
                    <a:pt x="148" y="204"/>
                  </a:cubicBezTo>
                  <a:cubicBezTo>
                    <a:pt x="148" y="204"/>
                    <a:pt x="148" y="204"/>
                    <a:pt x="148" y="204"/>
                  </a:cubicBezTo>
                  <a:cubicBezTo>
                    <a:pt x="148" y="204"/>
                    <a:pt x="148" y="204"/>
                    <a:pt x="148" y="204"/>
                  </a:cubicBezTo>
                  <a:cubicBezTo>
                    <a:pt x="148" y="203"/>
                    <a:pt x="148" y="203"/>
                    <a:pt x="148"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2"/>
                    <a:pt x="149" y="202"/>
                    <a:pt x="149"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1"/>
                    <a:pt x="150" y="201"/>
                    <a:pt x="150"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0"/>
                    <a:pt x="151" y="200"/>
                    <a:pt x="151" y="200"/>
                  </a:cubicBezTo>
                  <a:cubicBezTo>
                    <a:pt x="151" y="200"/>
                    <a:pt x="151" y="200"/>
                    <a:pt x="151"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lnTo>
                    <a:pt x="152" y="199"/>
                  </a:lnTo>
                  <a:close/>
                  <a:moveTo>
                    <a:pt x="138" y="267"/>
                  </a:moveTo>
                  <a:cubicBezTo>
                    <a:pt x="127" y="255"/>
                    <a:pt x="127" y="255"/>
                    <a:pt x="127" y="255"/>
                  </a:cubicBezTo>
                  <a:cubicBezTo>
                    <a:pt x="127" y="225"/>
                    <a:pt x="127" y="225"/>
                    <a:pt x="127" y="225"/>
                  </a:cubicBezTo>
                  <a:cubicBezTo>
                    <a:pt x="138" y="214"/>
                    <a:pt x="138" y="214"/>
                    <a:pt x="138" y="214"/>
                  </a:cubicBezTo>
                  <a:cubicBezTo>
                    <a:pt x="138" y="235"/>
                    <a:pt x="138" y="235"/>
                    <a:pt x="138" y="235"/>
                  </a:cubicBezTo>
                  <a:cubicBezTo>
                    <a:pt x="136" y="237"/>
                    <a:pt x="136" y="237"/>
                    <a:pt x="136" y="237"/>
                  </a:cubicBezTo>
                  <a:cubicBezTo>
                    <a:pt x="138" y="238"/>
                    <a:pt x="138" y="238"/>
                    <a:pt x="138" y="238"/>
                  </a:cubicBezTo>
                  <a:cubicBezTo>
                    <a:pt x="138" y="267"/>
                    <a:pt x="138" y="267"/>
                    <a:pt x="138" y="267"/>
                  </a:cubicBezTo>
                  <a:close/>
                  <a:moveTo>
                    <a:pt x="127" y="3"/>
                  </a:moveTo>
                  <a:cubicBezTo>
                    <a:pt x="129" y="0"/>
                    <a:pt x="129" y="0"/>
                    <a:pt x="129" y="0"/>
                  </a:cubicBezTo>
                  <a:cubicBezTo>
                    <a:pt x="138" y="9"/>
                    <a:pt x="138" y="9"/>
                    <a:pt x="138" y="9"/>
                  </a:cubicBezTo>
                  <a:cubicBezTo>
                    <a:pt x="138" y="37"/>
                    <a:pt x="138" y="37"/>
                    <a:pt x="138" y="37"/>
                  </a:cubicBezTo>
                  <a:cubicBezTo>
                    <a:pt x="131" y="30"/>
                    <a:pt x="131" y="30"/>
                    <a:pt x="131" y="30"/>
                  </a:cubicBezTo>
                  <a:cubicBezTo>
                    <a:pt x="127" y="34"/>
                    <a:pt x="127" y="34"/>
                    <a:pt x="127" y="34"/>
                  </a:cubicBezTo>
                  <a:cubicBezTo>
                    <a:pt x="127" y="3"/>
                    <a:pt x="127" y="3"/>
                    <a:pt x="127" y="3"/>
                  </a:cubicBezTo>
                  <a:close/>
                  <a:moveTo>
                    <a:pt x="138" y="58"/>
                  </a:moveTo>
                  <a:cubicBezTo>
                    <a:pt x="138" y="94"/>
                    <a:pt x="138" y="94"/>
                    <a:pt x="138" y="94"/>
                  </a:cubicBezTo>
                  <a:cubicBezTo>
                    <a:pt x="138" y="94"/>
                    <a:pt x="138" y="94"/>
                    <a:pt x="138" y="94"/>
                  </a:cubicBezTo>
                  <a:cubicBezTo>
                    <a:pt x="138" y="94"/>
                    <a:pt x="138" y="94"/>
                    <a:pt x="138" y="94"/>
                  </a:cubicBezTo>
                  <a:cubicBezTo>
                    <a:pt x="138" y="94"/>
                    <a:pt x="138" y="94"/>
                    <a:pt x="138" y="94"/>
                  </a:cubicBezTo>
                  <a:cubicBezTo>
                    <a:pt x="138" y="94"/>
                    <a:pt x="138" y="94"/>
                    <a:pt x="138" y="94"/>
                  </a:cubicBezTo>
                  <a:cubicBezTo>
                    <a:pt x="137" y="94"/>
                    <a:pt x="137" y="94"/>
                    <a:pt x="137" y="94"/>
                  </a:cubicBezTo>
                  <a:cubicBezTo>
                    <a:pt x="137" y="94"/>
                    <a:pt x="137" y="94"/>
                    <a:pt x="137" y="94"/>
                  </a:cubicBezTo>
                  <a:cubicBezTo>
                    <a:pt x="137" y="94"/>
                    <a:pt x="137" y="94"/>
                    <a:pt x="137" y="94"/>
                  </a:cubicBezTo>
                  <a:cubicBezTo>
                    <a:pt x="137" y="95"/>
                    <a:pt x="137" y="95"/>
                    <a:pt x="137" y="95"/>
                  </a:cubicBezTo>
                  <a:cubicBezTo>
                    <a:pt x="137" y="95"/>
                    <a:pt x="137" y="95"/>
                    <a:pt x="137" y="95"/>
                  </a:cubicBezTo>
                  <a:cubicBezTo>
                    <a:pt x="137" y="95"/>
                    <a:pt x="137" y="95"/>
                    <a:pt x="137" y="95"/>
                  </a:cubicBezTo>
                  <a:cubicBezTo>
                    <a:pt x="137" y="95"/>
                    <a:pt x="137" y="95"/>
                    <a:pt x="137" y="95"/>
                  </a:cubicBezTo>
                  <a:cubicBezTo>
                    <a:pt x="136" y="95"/>
                    <a:pt x="136" y="95"/>
                    <a:pt x="136" y="95"/>
                  </a:cubicBezTo>
                  <a:cubicBezTo>
                    <a:pt x="136" y="95"/>
                    <a:pt x="136" y="95"/>
                    <a:pt x="136" y="95"/>
                  </a:cubicBezTo>
                  <a:cubicBezTo>
                    <a:pt x="136" y="95"/>
                    <a:pt x="136" y="95"/>
                    <a:pt x="136" y="95"/>
                  </a:cubicBezTo>
                  <a:cubicBezTo>
                    <a:pt x="136" y="96"/>
                    <a:pt x="136" y="96"/>
                    <a:pt x="136" y="96"/>
                  </a:cubicBezTo>
                  <a:cubicBezTo>
                    <a:pt x="136" y="96"/>
                    <a:pt x="136" y="96"/>
                    <a:pt x="136" y="96"/>
                  </a:cubicBezTo>
                  <a:cubicBezTo>
                    <a:pt x="136" y="96"/>
                    <a:pt x="136" y="96"/>
                    <a:pt x="136" y="96"/>
                  </a:cubicBezTo>
                  <a:cubicBezTo>
                    <a:pt x="136" y="96"/>
                    <a:pt x="136" y="96"/>
                    <a:pt x="136" y="96"/>
                  </a:cubicBezTo>
                  <a:cubicBezTo>
                    <a:pt x="135" y="96"/>
                    <a:pt x="135" y="96"/>
                    <a:pt x="135" y="96"/>
                  </a:cubicBezTo>
                  <a:cubicBezTo>
                    <a:pt x="135" y="96"/>
                    <a:pt x="135" y="96"/>
                    <a:pt x="135" y="96"/>
                  </a:cubicBezTo>
                  <a:cubicBezTo>
                    <a:pt x="135" y="96"/>
                    <a:pt x="135" y="96"/>
                    <a:pt x="135" y="96"/>
                  </a:cubicBezTo>
                  <a:cubicBezTo>
                    <a:pt x="135" y="96"/>
                    <a:pt x="135" y="96"/>
                    <a:pt x="135" y="96"/>
                  </a:cubicBezTo>
                  <a:cubicBezTo>
                    <a:pt x="135" y="97"/>
                    <a:pt x="135" y="97"/>
                    <a:pt x="135" y="97"/>
                  </a:cubicBezTo>
                  <a:cubicBezTo>
                    <a:pt x="135" y="97"/>
                    <a:pt x="135" y="97"/>
                    <a:pt x="135" y="97"/>
                  </a:cubicBezTo>
                  <a:cubicBezTo>
                    <a:pt x="135" y="97"/>
                    <a:pt x="135" y="97"/>
                    <a:pt x="135" y="97"/>
                  </a:cubicBezTo>
                  <a:cubicBezTo>
                    <a:pt x="135" y="97"/>
                    <a:pt x="135" y="97"/>
                    <a:pt x="135" y="97"/>
                  </a:cubicBezTo>
                  <a:cubicBezTo>
                    <a:pt x="134" y="97"/>
                    <a:pt x="134" y="97"/>
                    <a:pt x="134" y="97"/>
                  </a:cubicBezTo>
                  <a:cubicBezTo>
                    <a:pt x="134" y="97"/>
                    <a:pt x="134" y="97"/>
                    <a:pt x="134" y="97"/>
                  </a:cubicBezTo>
                  <a:cubicBezTo>
                    <a:pt x="134" y="97"/>
                    <a:pt x="134" y="97"/>
                    <a:pt x="134" y="97"/>
                  </a:cubicBezTo>
                  <a:cubicBezTo>
                    <a:pt x="134" y="97"/>
                    <a:pt x="134" y="97"/>
                    <a:pt x="134" y="97"/>
                  </a:cubicBezTo>
                  <a:cubicBezTo>
                    <a:pt x="134" y="98"/>
                    <a:pt x="134" y="98"/>
                    <a:pt x="134" y="98"/>
                  </a:cubicBezTo>
                  <a:cubicBezTo>
                    <a:pt x="134" y="98"/>
                    <a:pt x="134" y="98"/>
                    <a:pt x="134" y="98"/>
                  </a:cubicBezTo>
                  <a:cubicBezTo>
                    <a:pt x="134" y="98"/>
                    <a:pt x="134" y="98"/>
                    <a:pt x="134" y="98"/>
                  </a:cubicBezTo>
                  <a:cubicBezTo>
                    <a:pt x="133" y="98"/>
                    <a:pt x="133" y="98"/>
                    <a:pt x="133" y="98"/>
                  </a:cubicBezTo>
                  <a:cubicBezTo>
                    <a:pt x="127" y="105"/>
                    <a:pt x="127" y="105"/>
                    <a:pt x="127" y="105"/>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2"/>
                    <a:pt x="127" y="82"/>
                    <a:pt x="127"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1"/>
                    <a:pt x="128" y="81"/>
                    <a:pt x="128"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0"/>
                    <a:pt x="129" y="80"/>
                    <a:pt x="129"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79"/>
                    <a:pt x="130" y="79"/>
                    <a:pt x="130" y="79"/>
                  </a:cubicBezTo>
                  <a:cubicBezTo>
                    <a:pt x="130" y="79"/>
                    <a:pt x="130" y="79"/>
                    <a:pt x="130"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3" y="77"/>
                    <a:pt x="133" y="77"/>
                    <a:pt x="133" y="77"/>
                  </a:cubicBezTo>
                  <a:cubicBezTo>
                    <a:pt x="133" y="77"/>
                    <a:pt x="133" y="77"/>
                    <a:pt x="133" y="77"/>
                  </a:cubicBezTo>
                  <a:cubicBezTo>
                    <a:pt x="133" y="77"/>
                    <a:pt x="133" y="77"/>
                    <a:pt x="133" y="77"/>
                  </a:cubicBezTo>
                  <a:cubicBezTo>
                    <a:pt x="127" y="71"/>
                    <a:pt x="127" y="71"/>
                    <a:pt x="127" y="71"/>
                  </a:cubicBezTo>
                  <a:cubicBezTo>
                    <a:pt x="127" y="46"/>
                    <a:pt x="127" y="46"/>
                    <a:pt x="127" y="46"/>
                  </a:cubicBezTo>
                  <a:cubicBezTo>
                    <a:pt x="138" y="58"/>
                    <a:pt x="138" y="58"/>
                    <a:pt x="138" y="58"/>
                  </a:cubicBezTo>
                  <a:close/>
                  <a:moveTo>
                    <a:pt x="138" y="143"/>
                  </a:moveTo>
                  <a:cubicBezTo>
                    <a:pt x="138" y="173"/>
                    <a:pt x="138" y="173"/>
                    <a:pt x="138" y="173"/>
                  </a:cubicBezTo>
                  <a:cubicBezTo>
                    <a:pt x="134" y="168"/>
                    <a:pt x="134" y="168"/>
                    <a:pt x="134" y="168"/>
                  </a:cubicBezTo>
                  <a:cubicBezTo>
                    <a:pt x="134" y="169"/>
                    <a:pt x="134" y="169"/>
                    <a:pt x="134" y="169"/>
                  </a:cubicBezTo>
                  <a:cubicBezTo>
                    <a:pt x="134" y="169"/>
                    <a:pt x="134" y="169"/>
                    <a:pt x="134"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70"/>
                    <a:pt x="133" y="170"/>
                    <a:pt x="133" y="170"/>
                  </a:cubicBezTo>
                  <a:cubicBezTo>
                    <a:pt x="133" y="170"/>
                    <a:pt x="133" y="170"/>
                    <a:pt x="133"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1"/>
                    <a:pt x="132" y="171"/>
                    <a:pt x="132" y="171"/>
                  </a:cubicBezTo>
                  <a:cubicBezTo>
                    <a:pt x="132" y="171"/>
                    <a:pt x="132" y="171"/>
                    <a:pt x="132" y="171"/>
                  </a:cubicBezTo>
                  <a:cubicBezTo>
                    <a:pt x="132" y="171"/>
                    <a:pt x="132" y="171"/>
                    <a:pt x="132"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2"/>
                    <a:pt x="131" y="172"/>
                    <a:pt x="131" y="172"/>
                  </a:cubicBezTo>
                  <a:cubicBezTo>
                    <a:pt x="131" y="172"/>
                    <a:pt x="131" y="172"/>
                    <a:pt x="131" y="172"/>
                  </a:cubicBezTo>
                  <a:cubicBezTo>
                    <a:pt x="131" y="172"/>
                    <a:pt x="131" y="172"/>
                    <a:pt x="131"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3"/>
                    <a:pt x="130" y="173"/>
                    <a:pt x="130" y="173"/>
                  </a:cubicBezTo>
                  <a:cubicBezTo>
                    <a:pt x="130" y="173"/>
                    <a:pt x="130" y="173"/>
                    <a:pt x="130" y="173"/>
                  </a:cubicBezTo>
                  <a:cubicBezTo>
                    <a:pt x="130" y="173"/>
                    <a:pt x="130" y="173"/>
                    <a:pt x="130"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4"/>
                    <a:pt x="129" y="174"/>
                    <a:pt x="129" y="174"/>
                  </a:cubicBezTo>
                  <a:cubicBezTo>
                    <a:pt x="129" y="174"/>
                    <a:pt x="129" y="174"/>
                    <a:pt x="129" y="174"/>
                  </a:cubicBezTo>
                  <a:cubicBezTo>
                    <a:pt x="129" y="174"/>
                    <a:pt x="129" y="174"/>
                    <a:pt x="129"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5"/>
                    <a:pt x="128" y="175"/>
                    <a:pt x="128" y="175"/>
                  </a:cubicBezTo>
                  <a:cubicBezTo>
                    <a:pt x="128" y="175"/>
                    <a:pt x="128" y="175"/>
                    <a:pt x="128"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6"/>
                    <a:pt x="127" y="176"/>
                    <a:pt x="127" y="176"/>
                  </a:cubicBezTo>
                  <a:cubicBezTo>
                    <a:pt x="127" y="137"/>
                    <a:pt x="127" y="137"/>
                    <a:pt x="127" y="137"/>
                  </a:cubicBezTo>
                  <a:cubicBezTo>
                    <a:pt x="135" y="145"/>
                    <a:pt x="135" y="145"/>
                    <a:pt x="135"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3"/>
                    <a:pt x="137" y="143"/>
                    <a:pt x="137" y="143"/>
                  </a:cubicBezTo>
                  <a:cubicBezTo>
                    <a:pt x="138" y="143"/>
                    <a:pt x="138" y="143"/>
                    <a:pt x="138" y="143"/>
                  </a:cubicBezTo>
                  <a:cubicBezTo>
                    <a:pt x="138" y="143"/>
                    <a:pt x="138" y="143"/>
                    <a:pt x="138" y="143"/>
                  </a:cubicBezTo>
                  <a:cubicBezTo>
                    <a:pt x="138" y="143"/>
                    <a:pt x="138" y="143"/>
                    <a:pt x="138" y="143"/>
                  </a:cubicBezTo>
                  <a:close/>
                  <a:moveTo>
                    <a:pt x="127" y="255"/>
                  </a:moveTo>
                  <a:cubicBezTo>
                    <a:pt x="117" y="245"/>
                    <a:pt x="117" y="245"/>
                    <a:pt x="117" y="245"/>
                  </a:cubicBezTo>
                  <a:cubicBezTo>
                    <a:pt x="117" y="217"/>
                    <a:pt x="117" y="217"/>
                    <a:pt x="117" y="217"/>
                  </a:cubicBezTo>
                  <a:cubicBezTo>
                    <a:pt x="126" y="226"/>
                    <a:pt x="126" y="226"/>
                    <a:pt x="126" y="226"/>
                  </a:cubicBezTo>
                  <a:cubicBezTo>
                    <a:pt x="127" y="225"/>
                    <a:pt x="127" y="225"/>
                    <a:pt x="127" y="225"/>
                  </a:cubicBezTo>
                  <a:cubicBezTo>
                    <a:pt x="127" y="255"/>
                    <a:pt x="127" y="255"/>
                    <a:pt x="127" y="255"/>
                  </a:cubicBezTo>
                  <a:close/>
                  <a:moveTo>
                    <a:pt x="117" y="12"/>
                  </a:moveTo>
                  <a:cubicBezTo>
                    <a:pt x="127" y="3"/>
                    <a:pt x="127" y="3"/>
                    <a:pt x="127" y="3"/>
                  </a:cubicBezTo>
                  <a:cubicBezTo>
                    <a:pt x="127" y="34"/>
                    <a:pt x="127" y="34"/>
                    <a:pt x="127" y="34"/>
                  </a:cubicBezTo>
                  <a:cubicBezTo>
                    <a:pt x="120" y="40"/>
                    <a:pt x="120" y="40"/>
                    <a:pt x="120" y="40"/>
                  </a:cubicBezTo>
                  <a:cubicBezTo>
                    <a:pt x="127" y="46"/>
                    <a:pt x="127" y="46"/>
                    <a:pt x="127" y="46"/>
                  </a:cubicBezTo>
                  <a:cubicBezTo>
                    <a:pt x="127" y="71"/>
                    <a:pt x="127" y="71"/>
                    <a:pt x="127" y="71"/>
                  </a:cubicBezTo>
                  <a:cubicBezTo>
                    <a:pt x="117" y="61"/>
                    <a:pt x="117" y="61"/>
                    <a:pt x="117" y="61"/>
                  </a:cubicBezTo>
                  <a:cubicBezTo>
                    <a:pt x="117" y="12"/>
                    <a:pt x="117" y="12"/>
                    <a:pt x="117" y="12"/>
                  </a:cubicBezTo>
                  <a:close/>
                  <a:moveTo>
                    <a:pt x="127" y="83"/>
                  </a:moveTo>
                  <a:cubicBezTo>
                    <a:pt x="127" y="105"/>
                    <a:pt x="127" y="105"/>
                    <a:pt x="127" y="105"/>
                  </a:cubicBezTo>
                  <a:cubicBezTo>
                    <a:pt x="121" y="110"/>
                    <a:pt x="121" y="110"/>
                    <a:pt x="121" y="110"/>
                  </a:cubicBezTo>
                  <a:cubicBezTo>
                    <a:pt x="121" y="111"/>
                    <a:pt x="121" y="111"/>
                    <a:pt x="121" y="111"/>
                  </a:cubicBezTo>
                  <a:cubicBezTo>
                    <a:pt x="121" y="111"/>
                    <a:pt x="121" y="111"/>
                    <a:pt x="121" y="111"/>
                  </a:cubicBezTo>
                  <a:cubicBezTo>
                    <a:pt x="120" y="111"/>
                    <a:pt x="120" y="111"/>
                    <a:pt x="120" y="111"/>
                  </a:cubicBezTo>
                  <a:cubicBezTo>
                    <a:pt x="120" y="111"/>
                    <a:pt x="120" y="111"/>
                    <a:pt x="120" y="111"/>
                  </a:cubicBezTo>
                  <a:cubicBezTo>
                    <a:pt x="120" y="111"/>
                    <a:pt x="120" y="111"/>
                    <a:pt x="120" y="111"/>
                  </a:cubicBezTo>
                  <a:cubicBezTo>
                    <a:pt x="120" y="111"/>
                    <a:pt x="120" y="111"/>
                    <a:pt x="120" y="111"/>
                  </a:cubicBezTo>
                  <a:cubicBezTo>
                    <a:pt x="120" y="112"/>
                    <a:pt x="120" y="112"/>
                    <a:pt x="120" y="112"/>
                  </a:cubicBezTo>
                  <a:cubicBezTo>
                    <a:pt x="120" y="112"/>
                    <a:pt x="120" y="112"/>
                    <a:pt x="120" y="112"/>
                  </a:cubicBezTo>
                  <a:cubicBezTo>
                    <a:pt x="119" y="112"/>
                    <a:pt x="119" y="112"/>
                    <a:pt x="119" y="112"/>
                  </a:cubicBezTo>
                  <a:cubicBezTo>
                    <a:pt x="119" y="112"/>
                    <a:pt x="119" y="112"/>
                    <a:pt x="119" y="112"/>
                  </a:cubicBezTo>
                  <a:cubicBezTo>
                    <a:pt x="119" y="112"/>
                    <a:pt x="119" y="112"/>
                    <a:pt x="119" y="112"/>
                  </a:cubicBezTo>
                  <a:cubicBezTo>
                    <a:pt x="119" y="112"/>
                    <a:pt x="119" y="112"/>
                    <a:pt x="119" y="112"/>
                  </a:cubicBezTo>
                  <a:cubicBezTo>
                    <a:pt x="119" y="113"/>
                    <a:pt x="119" y="113"/>
                    <a:pt x="119" y="113"/>
                  </a:cubicBezTo>
                  <a:cubicBezTo>
                    <a:pt x="119" y="113"/>
                    <a:pt x="119" y="113"/>
                    <a:pt x="119"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4"/>
                    <a:pt x="118" y="114"/>
                    <a:pt x="118" y="114"/>
                  </a:cubicBezTo>
                  <a:cubicBezTo>
                    <a:pt x="118" y="114"/>
                    <a:pt x="118" y="114"/>
                    <a:pt x="118" y="114"/>
                  </a:cubicBezTo>
                  <a:cubicBezTo>
                    <a:pt x="117" y="114"/>
                    <a:pt x="117" y="114"/>
                    <a:pt x="117" y="114"/>
                  </a:cubicBezTo>
                  <a:cubicBezTo>
                    <a:pt x="117" y="114"/>
                    <a:pt x="117" y="114"/>
                    <a:pt x="117" y="114"/>
                  </a:cubicBezTo>
                  <a:cubicBezTo>
                    <a:pt x="117" y="114"/>
                    <a:pt x="117" y="114"/>
                    <a:pt x="117" y="114"/>
                  </a:cubicBezTo>
                  <a:cubicBezTo>
                    <a:pt x="117" y="114"/>
                    <a:pt x="117" y="114"/>
                    <a:pt x="117" y="114"/>
                  </a:cubicBezTo>
                  <a:cubicBezTo>
                    <a:pt x="117" y="93"/>
                    <a:pt x="117" y="93"/>
                    <a:pt x="117" y="93"/>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6"/>
                    <a:pt x="123" y="86"/>
                    <a:pt x="123"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5"/>
                    <a:pt x="124" y="85"/>
                    <a:pt x="124"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4"/>
                    <a:pt x="125" y="84"/>
                    <a:pt x="125"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3"/>
                    <a:pt x="126" y="83"/>
                    <a:pt x="126" y="83"/>
                  </a:cubicBezTo>
                  <a:cubicBezTo>
                    <a:pt x="127" y="83"/>
                    <a:pt x="127" y="83"/>
                    <a:pt x="127" y="83"/>
                  </a:cubicBezTo>
                  <a:cubicBezTo>
                    <a:pt x="127" y="83"/>
                    <a:pt x="127" y="83"/>
                    <a:pt x="127" y="83"/>
                  </a:cubicBezTo>
                  <a:close/>
                  <a:moveTo>
                    <a:pt x="127" y="137"/>
                  </a:moveTo>
                  <a:cubicBezTo>
                    <a:pt x="127" y="176"/>
                    <a:pt x="127" y="176"/>
                    <a:pt x="127" y="176"/>
                  </a:cubicBezTo>
                  <a:cubicBezTo>
                    <a:pt x="127" y="176"/>
                    <a:pt x="127" y="176"/>
                    <a:pt x="127" y="176"/>
                  </a:cubicBezTo>
                  <a:cubicBezTo>
                    <a:pt x="127" y="176"/>
                    <a:pt x="127" y="176"/>
                    <a:pt x="127"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7"/>
                    <a:pt x="126" y="177"/>
                    <a:pt x="126" y="177"/>
                  </a:cubicBezTo>
                  <a:cubicBezTo>
                    <a:pt x="126" y="177"/>
                    <a:pt x="126" y="177"/>
                    <a:pt x="126" y="177"/>
                  </a:cubicBezTo>
                  <a:cubicBezTo>
                    <a:pt x="126" y="177"/>
                    <a:pt x="126" y="177"/>
                    <a:pt x="126"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8"/>
                    <a:pt x="125" y="178"/>
                    <a:pt x="125" y="178"/>
                  </a:cubicBezTo>
                  <a:cubicBezTo>
                    <a:pt x="125" y="178"/>
                    <a:pt x="125" y="178"/>
                    <a:pt x="125" y="178"/>
                  </a:cubicBezTo>
                  <a:cubicBezTo>
                    <a:pt x="125" y="178"/>
                    <a:pt x="125" y="178"/>
                    <a:pt x="125"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9"/>
                    <a:pt x="124" y="179"/>
                    <a:pt x="124" y="179"/>
                  </a:cubicBezTo>
                  <a:cubicBezTo>
                    <a:pt x="124" y="179"/>
                    <a:pt x="124" y="179"/>
                    <a:pt x="124" y="179"/>
                  </a:cubicBezTo>
                  <a:cubicBezTo>
                    <a:pt x="123" y="179"/>
                    <a:pt x="123" y="179"/>
                    <a:pt x="123" y="179"/>
                  </a:cubicBezTo>
                  <a:cubicBezTo>
                    <a:pt x="117" y="185"/>
                    <a:pt x="117" y="185"/>
                    <a:pt x="117" y="185"/>
                  </a:cubicBezTo>
                  <a:cubicBezTo>
                    <a:pt x="117" y="164"/>
                    <a:pt x="117" y="164"/>
                    <a:pt x="117" y="164"/>
                  </a:cubicBezTo>
                  <a:cubicBezTo>
                    <a:pt x="123" y="158"/>
                    <a:pt x="123" y="158"/>
                    <a:pt x="123" y="158"/>
                  </a:cubicBezTo>
                  <a:cubicBezTo>
                    <a:pt x="117" y="151"/>
                    <a:pt x="117" y="151"/>
                    <a:pt x="117" y="151"/>
                  </a:cubicBezTo>
                  <a:cubicBezTo>
                    <a:pt x="117" y="127"/>
                    <a:pt x="117" y="127"/>
                    <a:pt x="117" y="127"/>
                  </a:cubicBezTo>
                  <a:lnTo>
                    <a:pt x="127" y="137"/>
                  </a:lnTo>
                  <a:close/>
                  <a:moveTo>
                    <a:pt x="117" y="245"/>
                  </a:moveTo>
                  <a:cubicBezTo>
                    <a:pt x="106" y="234"/>
                    <a:pt x="106" y="234"/>
                    <a:pt x="106" y="234"/>
                  </a:cubicBezTo>
                  <a:cubicBezTo>
                    <a:pt x="106" y="206"/>
                    <a:pt x="106" y="206"/>
                    <a:pt x="106" y="206"/>
                  </a:cubicBezTo>
                  <a:cubicBezTo>
                    <a:pt x="117" y="217"/>
                    <a:pt x="117" y="217"/>
                    <a:pt x="117" y="217"/>
                  </a:cubicBezTo>
                  <a:cubicBezTo>
                    <a:pt x="117" y="245"/>
                    <a:pt x="117" y="245"/>
                    <a:pt x="117" y="245"/>
                  </a:cubicBezTo>
                  <a:close/>
                  <a:moveTo>
                    <a:pt x="106" y="24"/>
                  </a:moveTo>
                  <a:cubicBezTo>
                    <a:pt x="117" y="12"/>
                    <a:pt x="117" y="12"/>
                    <a:pt x="117" y="12"/>
                  </a:cubicBezTo>
                  <a:cubicBezTo>
                    <a:pt x="117" y="61"/>
                    <a:pt x="117" y="61"/>
                    <a:pt x="117" y="61"/>
                  </a:cubicBezTo>
                  <a:cubicBezTo>
                    <a:pt x="108" y="52"/>
                    <a:pt x="108" y="52"/>
                    <a:pt x="108" y="52"/>
                  </a:cubicBezTo>
                  <a:cubicBezTo>
                    <a:pt x="108" y="52"/>
                    <a:pt x="108" y="52"/>
                    <a:pt x="108" y="52"/>
                  </a:cubicBezTo>
                  <a:cubicBezTo>
                    <a:pt x="108" y="52"/>
                    <a:pt x="108" y="52"/>
                    <a:pt x="108" y="52"/>
                  </a:cubicBezTo>
                  <a:cubicBezTo>
                    <a:pt x="108" y="53"/>
                    <a:pt x="108" y="53"/>
                    <a:pt x="108" y="53"/>
                  </a:cubicBezTo>
                  <a:cubicBezTo>
                    <a:pt x="108" y="53"/>
                    <a:pt x="108" y="53"/>
                    <a:pt x="108"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4"/>
                    <a:pt x="107" y="54"/>
                    <a:pt x="107" y="54"/>
                  </a:cubicBezTo>
                  <a:cubicBezTo>
                    <a:pt x="107" y="54"/>
                    <a:pt x="107" y="54"/>
                    <a:pt x="107" y="54"/>
                  </a:cubicBezTo>
                  <a:cubicBezTo>
                    <a:pt x="106" y="54"/>
                    <a:pt x="106" y="54"/>
                    <a:pt x="106" y="54"/>
                  </a:cubicBezTo>
                  <a:cubicBezTo>
                    <a:pt x="106" y="54"/>
                    <a:pt x="106" y="54"/>
                    <a:pt x="106" y="54"/>
                  </a:cubicBezTo>
                  <a:cubicBezTo>
                    <a:pt x="106" y="54"/>
                    <a:pt x="106" y="54"/>
                    <a:pt x="106" y="54"/>
                  </a:cubicBezTo>
                  <a:cubicBezTo>
                    <a:pt x="106" y="54"/>
                    <a:pt x="106" y="54"/>
                    <a:pt x="106" y="54"/>
                  </a:cubicBezTo>
                  <a:cubicBezTo>
                    <a:pt x="106" y="55"/>
                    <a:pt x="106" y="55"/>
                    <a:pt x="106" y="55"/>
                  </a:cubicBezTo>
                  <a:cubicBezTo>
                    <a:pt x="106" y="55"/>
                    <a:pt x="106" y="55"/>
                    <a:pt x="106" y="55"/>
                  </a:cubicBezTo>
                  <a:cubicBezTo>
                    <a:pt x="106" y="55"/>
                    <a:pt x="106" y="55"/>
                    <a:pt x="106" y="55"/>
                  </a:cubicBezTo>
                  <a:cubicBezTo>
                    <a:pt x="106" y="55"/>
                    <a:pt x="106" y="55"/>
                    <a:pt x="106" y="55"/>
                  </a:cubicBezTo>
                  <a:cubicBezTo>
                    <a:pt x="106" y="24"/>
                    <a:pt x="106" y="24"/>
                    <a:pt x="106" y="24"/>
                  </a:cubicBezTo>
                  <a:close/>
                  <a:moveTo>
                    <a:pt x="117" y="93"/>
                  </a:moveTo>
                  <a:cubicBezTo>
                    <a:pt x="117" y="114"/>
                    <a:pt x="117" y="114"/>
                    <a:pt x="117" y="114"/>
                  </a:cubicBezTo>
                  <a:cubicBezTo>
                    <a:pt x="117" y="114"/>
                    <a:pt x="117" y="114"/>
                    <a:pt x="117" y="114"/>
                  </a:cubicBezTo>
                  <a:cubicBezTo>
                    <a:pt x="117" y="115"/>
                    <a:pt x="117" y="115"/>
                    <a:pt x="117" y="115"/>
                  </a:cubicBezTo>
                  <a:cubicBezTo>
                    <a:pt x="117" y="115"/>
                    <a:pt x="117" y="115"/>
                    <a:pt x="117" y="115"/>
                  </a:cubicBezTo>
                  <a:cubicBezTo>
                    <a:pt x="116" y="115"/>
                    <a:pt x="116" y="115"/>
                    <a:pt x="116" y="115"/>
                  </a:cubicBezTo>
                  <a:cubicBezTo>
                    <a:pt x="116" y="115"/>
                    <a:pt x="116" y="115"/>
                    <a:pt x="116" y="115"/>
                  </a:cubicBezTo>
                  <a:cubicBezTo>
                    <a:pt x="116" y="115"/>
                    <a:pt x="116" y="115"/>
                    <a:pt x="116" y="115"/>
                  </a:cubicBezTo>
                  <a:cubicBezTo>
                    <a:pt x="116" y="115"/>
                    <a:pt x="116" y="115"/>
                    <a:pt x="116" y="115"/>
                  </a:cubicBezTo>
                  <a:cubicBezTo>
                    <a:pt x="116" y="116"/>
                    <a:pt x="116" y="116"/>
                    <a:pt x="116" y="116"/>
                  </a:cubicBezTo>
                  <a:cubicBezTo>
                    <a:pt x="116" y="116"/>
                    <a:pt x="116" y="116"/>
                    <a:pt x="116"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7"/>
                    <a:pt x="115" y="117"/>
                    <a:pt x="115" y="117"/>
                  </a:cubicBezTo>
                  <a:cubicBezTo>
                    <a:pt x="115" y="117"/>
                    <a:pt x="115" y="117"/>
                    <a:pt x="115" y="117"/>
                  </a:cubicBezTo>
                  <a:cubicBezTo>
                    <a:pt x="114" y="117"/>
                    <a:pt x="114" y="117"/>
                    <a:pt x="114" y="117"/>
                  </a:cubicBezTo>
                  <a:cubicBezTo>
                    <a:pt x="114" y="117"/>
                    <a:pt x="114" y="117"/>
                    <a:pt x="114" y="117"/>
                  </a:cubicBezTo>
                  <a:cubicBezTo>
                    <a:pt x="114" y="117"/>
                    <a:pt x="114" y="117"/>
                    <a:pt x="114" y="117"/>
                  </a:cubicBezTo>
                  <a:cubicBezTo>
                    <a:pt x="114" y="117"/>
                    <a:pt x="114" y="117"/>
                    <a:pt x="114" y="117"/>
                  </a:cubicBezTo>
                  <a:cubicBezTo>
                    <a:pt x="114" y="118"/>
                    <a:pt x="114" y="118"/>
                    <a:pt x="114" y="118"/>
                  </a:cubicBezTo>
                  <a:cubicBezTo>
                    <a:pt x="114" y="118"/>
                    <a:pt x="114" y="118"/>
                    <a:pt x="114" y="118"/>
                  </a:cubicBezTo>
                  <a:cubicBezTo>
                    <a:pt x="113" y="118"/>
                    <a:pt x="113" y="118"/>
                    <a:pt x="113" y="118"/>
                  </a:cubicBezTo>
                  <a:cubicBezTo>
                    <a:pt x="113" y="118"/>
                    <a:pt x="113" y="118"/>
                    <a:pt x="113" y="118"/>
                  </a:cubicBezTo>
                  <a:cubicBezTo>
                    <a:pt x="113" y="118"/>
                    <a:pt x="113" y="118"/>
                    <a:pt x="113" y="118"/>
                  </a:cubicBezTo>
                  <a:cubicBezTo>
                    <a:pt x="113" y="118"/>
                    <a:pt x="113" y="118"/>
                    <a:pt x="113" y="118"/>
                  </a:cubicBezTo>
                  <a:cubicBezTo>
                    <a:pt x="113" y="119"/>
                    <a:pt x="113" y="119"/>
                    <a:pt x="113" y="119"/>
                  </a:cubicBezTo>
                  <a:cubicBezTo>
                    <a:pt x="113" y="119"/>
                    <a:pt x="113" y="119"/>
                    <a:pt x="113"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20"/>
                    <a:pt x="112" y="120"/>
                    <a:pt x="112" y="120"/>
                  </a:cubicBezTo>
                  <a:cubicBezTo>
                    <a:pt x="112" y="120"/>
                    <a:pt x="112" y="120"/>
                    <a:pt x="112" y="120"/>
                  </a:cubicBezTo>
                  <a:cubicBezTo>
                    <a:pt x="111" y="120"/>
                    <a:pt x="111" y="120"/>
                    <a:pt x="111" y="120"/>
                  </a:cubicBezTo>
                  <a:cubicBezTo>
                    <a:pt x="111" y="120"/>
                    <a:pt x="111" y="120"/>
                    <a:pt x="111" y="120"/>
                  </a:cubicBezTo>
                  <a:cubicBezTo>
                    <a:pt x="111" y="120"/>
                    <a:pt x="111" y="120"/>
                    <a:pt x="111" y="120"/>
                  </a:cubicBezTo>
                  <a:cubicBezTo>
                    <a:pt x="111" y="120"/>
                    <a:pt x="111" y="120"/>
                    <a:pt x="111" y="120"/>
                  </a:cubicBezTo>
                  <a:cubicBezTo>
                    <a:pt x="111" y="121"/>
                    <a:pt x="111" y="121"/>
                    <a:pt x="111" y="121"/>
                  </a:cubicBezTo>
                  <a:cubicBezTo>
                    <a:pt x="117" y="127"/>
                    <a:pt x="117" y="127"/>
                    <a:pt x="117" y="127"/>
                  </a:cubicBezTo>
                  <a:cubicBezTo>
                    <a:pt x="117" y="151"/>
                    <a:pt x="117" y="151"/>
                    <a:pt x="117" y="151"/>
                  </a:cubicBezTo>
                  <a:cubicBezTo>
                    <a:pt x="106" y="140"/>
                    <a:pt x="106" y="140"/>
                    <a:pt x="106" y="140"/>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3"/>
                    <a:pt x="106" y="103"/>
                    <a:pt x="106" y="103"/>
                  </a:cubicBezTo>
                  <a:cubicBezTo>
                    <a:pt x="106" y="103"/>
                    <a:pt x="106" y="103"/>
                    <a:pt x="106" y="103"/>
                  </a:cubicBezTo>
                  <a:cubicBezTo>
                    <a:pt x="107" y="103"/>
                    <a:pt x="107" y="103"/>
                    <a:pt x="107" y="103"/>
                  </a:cubicBezTo>
                  <a:cubicBezTo>
                    <a:pt x="107" y="103"/>
                    <a:pt x="107" y="103"/>
                    <a:pt x="107" y="103"/>
                  </a:cubicBezTo>
                  <a:cubicBezTo>
                    <a:pt x="107" y="103"/>
                    <a:pt x="107" y="103"/>
                    <a:pt x="107" y="103"/>
                  </a:cubicBezTo>
                  <a:cubicBezTo>
                    <a:pt x="107" y="103"/>
                    <a:pt x="107" y="103"/>
                    <a:pt x="107" y="103"/>
                  </a:cubicBezTo>
                  <a:cubicBezTo>
                    <a:pt x="107" y="102"/>
                    <a:pt x="107" y="102"/>
                    <a:pt x="107" y="102"/>
                  </a:cubicBezTo>
                  <a:cubicBezTo>
                    <a:pt x="107" y="102"/>
                    <a:pt x="107" y="102"/>
                    <a:pt x="107" y="102"/>
                  </a:cubicBezTo>
                  <a:cubicBezTo>
                    <a:pt x="107" y="102"/>
                    <a:pt x="107" y="102"/>
                    <a:pt x="107" y="102"/>
                  </a:cubicBezTo>
                  <a:cubicBezTo>
                    <a:pt x="108" y="102"/>
                    <a:pt x="108" y="102"/>
                    <a:pt x="108" y="102"/>
                  </a:cubicBezTo>
                  <a:cubicBezTo>
                    <a:pt x="108" y="102"/>
                    <a:pt x="108" y="102"/>
                    <a:pt x="108" y="102"/>
                  </a:cubicBezTo>
                  <a:cubicBezTo>
                    <a:pt x="108" y="102"/>
                    <a:pt x="108" y="102"/>
                    <a:pt x="108" y="102"/>
                  </a:cubicBezTo>
                  <a:cubicBezTo>
                    <a:pt x="108" y="102"/>
                    <a:pt x="108" y="102"/>
                    <a:pt x="108" y="102"/>
                  </a:cubicBezTo>
                  <a:cubicBezTo>
                    <a:pt x="108" y="101"/>
                    <a:pt x="108" y="101"/>
                    <a:pt x="108" y="101"/>
                  </a:cubicBezTo>
                  <a:cubicBezTo>
                    <a:pt x="108" y="101"/>
                    <a:pt x="108" y="101"/>
                    <a:pt x="108" y="101"/>
                  </a:cubicBezTo>
                  <a:cubicBezTo>
                    <a:pt x="108" y="101"/>
                    <a:pt x="108" y="101"/>
                    <a:pt x="108"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0"/>
                    <a:pt x="109" y="100"/>
                    <a:pt x="109"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7" y="93"/>
                    <a:pt x="117" y="93"/>
                    <a:pt x="117" y="93"/>
                  </a:cubicBezTo>
                  <a:close/>
                  <a:moveTo>
                    <a:pt x="117" y="164"/>
                  </a:moveTo>
                  <a:cubicBezTo>
                    <a:pt x="117" y="185"/>
                    <a:pt x="117" y="185"/>
                    <a:pt x="117" y="185"/>
                  </a:cubicBezTo>
                  <a:cubicBezTo>
                    <a:pt x="106" y="196"/>
                    <a:pt x="106" y="196"/>
                    <a:pt x="106" y="196"/>
                  </a:cubicBezTo>
                  <a:cubicBezTo>
                    <a:pt x="106" y="161"/>
                    <a:pt x="106" y="161"/>
                    <a:pt x="106" y="161"/>
                  </a:cubicBezTo>
                  <a:cubicBezTo>
                    <a:pt x="113" y="168"/>
                    <a:pt x="113" y="168"/>
                    <a:pt x="113" y="168"/>
                  </a:cubicBezTo>
                  <a:lnTo>
                    <a:pt x="117" y="164"/>
                  </a:lnTo>
                  <a:close/>
                  <a:moveTo>
                    <a:pt x="106" y="234"/>
                  </a:moveTo>
                  <a:cubicBezTo>
                    <a:pt x="94" y="222"/>
                    <a:pt x="94" y="222"/>
                    <a:pt x="94" y="222"/>
                  </a:cubicBezTo>
                  <a:cubicBezTo>
                    <a:pt x="94" y="186"/>
                    <a:pt x="94" y="186"/>
                    <a:pt x="94" y="186"/>
                  </a:cubicBezTo>
                  <a:cubicBezTo>
                    <a:pt x="100" y="180"/>
                    <a:pt x="100" y="180"/>
                    <a:pt x="100" y="180"/>
                  </a:cubicBezTo>
                  <a:cubicBezTo>
                    <a:pt x="94" y="174"/>
                    <a:pt x="94" y="174"/>
                    <a:pt x="94" y="174"/>
                  </a:cubicBezTo>
                  <a:cubicBezTo>
                    <a:pt x="94" y="149"/>
                    <a:pt x="94" y="149"/>
                    <a:pt x="94" y="149"/>
                  </a:cubicBezTo>
                  <a:cubicBezTo>
                    <a:pt x="106" y="161"/>
                    <a:pt x="106" y="161"/>
                    <a:pt x="106" y="161"/>
                  </a:cubicBezTo>
                  <a:cubicBezTo>
                    <a:pt x="106" y="196"/>
                    <a:pt x="106" y="196"/>
                    <a:pt x="106" y="196"/>
                  </a:cubicBezTo>
                  <a:cubicBezTo>
                    <a:pt x="101" y="201"/>
                    <a:pt x="101" y="201"/>
                    <a:pt x="101" y="201"/>
                  </a:cubicBezTo>
                  <a:cubicBezTo>
                    <a:pt x="106" y="206"/>
                    <a:pt x="106" y="206"/>
                    <a:pt x="106" y="206"/>
                  </a:cubicBezTo>
                  <a:cubicBezTo>
                    <a:pt x="106" y="234"/>
                    <a:pt x="106" y="234"/>
                    <a:pt x="106" y="234"/>
                  </a:cubicBezTo>
                  <a:close/>
                  <a:moveTo>
                    <a:pt x="94" y="35"/>
                  </a:moveTo>
                  <a:cubicBezTo>
                    <a:pt x="106" y="24"/>
                    <a:pt x="106" y="24"/>
                    <a:pt x="106" y="24"/>
                  </a:cubicBezTo>
                  <a:cubicBezTo>
                    <a:pt x="106" y="55"/>
                    <a:pt x="106" y="55"/>
                    <a:pt x="106" y="55"/>
                  </a:cubicBezTo>
                  <a:cubicBezTo>
                    <a:pt x="105" y="55"/>
                    <a:pt x="105" y="55"/>
                    <a:pt x="105" y="55"/>
                  </a:cubicBezTo>
                  <a:cubicBezTo>
                    <a:pt x="105" y="55"/>
                    <a:pt x="105" y="55"/>
                    <a:pt x="105" y="55"/>
                  </a:cubicBezTo>
                  <a:cubicBezTo>
                    <a:pt x="105" y="55"/>
                    <a:pt x="105" y="55"/>
                    <a:pt x="105" y="55"/>
                  </a:cubicBezTo>
                  <a:cubicBezTo>
                    <a:pt x="105" y="55"/>
                    <a:pt x="105" y="55"/>
                    <a:pt x="105" y="55"/>
                  </a:cubicBezTo>
                  <a:cubicBezTo>
                    <a:pt x="105" y="56"/>
                    <a:pt x="105" y="56"/>
                    <a:pt x="105" y="56"/>
                  </a:cubicBezTo>
                  <a:cubicBezTo>
                    <a:pt x="105" y="56"/>
                    <a:pt x="105" y="56"/>
                    <a:pt x="105" y="56"/>
                  </a:cubicBezTo>
                  <a:cubicBezTo>
                    <a:pt x="105" y="56"/>
                    <a:pt x="105" y="56"/>
                    <a:pt x="105"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7"/>
                    <a:pt x="104" y="57"/>
                    <a:pt x="104"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8"/>
                    <a:pt x="103" y="58"/>
                    <a:pt x="103" y="58"/>
                  </a:cubicBezTo>
                  <a:cubicBezTo>
                    <a:pt x="103" y="58"/>
                    <a:pt x="103" y="58"/>
                    <a:pt x="103"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9"/>
                    <a:pt x="102" y="59"/>
                    <a:pt x="102" y="59"/>
                  </a:cubicBezTo>
                  <a:cubicBezTo>
                    <a:pt x="102" y="59"/>
                    <a:pt x="102" y="59"/>
                    <a:pt x="102"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60"/>
                    <a:pt x="101" y="60"/>
                    <a:pt x="101"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1"/>
                    <a:pt x="100" y="61"/>
                    <a:pt x="100" y="61"/>
                  </a:cubicBezTo>
                  <a:cubicBezTo>
                    <a:pt x="100" y="61"/>
                    <a:pt x="100" y="61"/>
                    <a:pt x="100" y="61"/>
                  </a:cubicBezTo>
                  <a:cubicBezTo>
                    <a:pt x="100" y="61"/>
                    <a:pt x="100" y="61"/>
                    <a:pt x="100" y="61"/>
                  </a:cubicBezTo>
                  <a:cubicBezTo>
                    <a:pt x="99" y="61"/>
                    <a:pt x="99" y="61"/>
                    <a:pt x="99" y="61"/>
                  </a:cubicBezTo>
                  <a:cubicBezTo>
                    <a:pt x="99" y="61"/>
                    <a:pt x="99" y="61"/>
                    <a:pt x="99" y="61"/>
                  </a:cubicBezTo>
                  <a:cubicBezTo>
                    <a:pt x="99" y="61"/>
                    <a:pt x="99" y="61"/>
                    <a:pt x="99" y="61"/>
                  </a:cubicBezTo>
                  <a:cubicBezTo>
                    <a:pt x="99" y="61"/>
                    <a:pt x="99" y="61"/>
                    <a:pt x="99" y="61"/>
                  </a:cubicBezTo>
                  <a:cubicBezTo>
                    <a:pt x="99" y="62"/>
                    <a:pt x="99" y="62"/>
                    <a:pt x="99" y="62"/>
                  </a:cubicBezTo>
                  <a:cubicBezTo>
                    <a:pt x="99" y="62"/>
                    <a:pt x="99" y="62"/>
                    <a:pt x="99" y="62"/>
                  </a:cubicBezTo>
                  <a:cubicBezTo>
                    <a:pt x="98" y="62"/>
                    <a:pt x="98" y="62"/>
                    <a:pt x="98" y="62"/>
                  </a:cubicBezTo>
                  <a:cubicBezTo>
                    <a:pt x="98" y="62"/>
                    <a:pt x="98" y="62"/>
                    <a:pt x="98" y="62"/>
                  </a:cubicBezTo>
                  <a:cubicBezTo>
                    <a:pt x="98" y="62"/>
                    <a:pt x="98" y="62"/>
                    <a:pt x="98" y="62"/>
                  </a:cubicBezTo>
                  <a:cubicBezTo>
                    <a:pt x="98" y="62"/>
                    <a:pt x="98" y="62"/>
                    <a:pt x="98" y="62"/>
                  </a:cubicBezTo>
                  <a:cubicBezTo>
                    <a:pt x="98" y="62"/>
                    <a:pt x="98" y="62"/>
                    <a:pt x="98" y="62"/>
                  </a:cubicBezTo>
                  <a:cubicBezTo>
                    <a:pt x="94" y="66"/>
                    <a:pt x="94" y="66"/>
                    <a:pt x="94" y="66"/>
                  </a:cubicBezTo>
                  <a:cubicBezTo>
                    <a:pt x="94" y="35"/>
                    <a:pt x="94" y="35"/>
                    <a:pt x="94" y="35"/>
                  </a:cubicBezTo>
                  <a:close/>
                  <a:moveTo>
                    <a:pt x="106" y="104"/>
                  </a:moveTo>
                  <a:cubicBezTo>
                    <a:pt x="106" y="140"/>
                    <a:pt x="106" y="140"/>
                    <a:pt x="106" y="140"/>
                  </a:cubicBezTo>
                  <a:cubicBezTo>
                    <a:pt x="98" y="133"/>
                    <a:pt x="98" y="133"/>
                    <a:pt x="98" y="133"/>
                  </a:cubicBezTo>
                  <a:cubicBezTo>
                    <a:pt x="94" y="137"/>
                    <a:pt x="94" y="137"/>
                    <a:pt x="94" y="137"/>
                  </a:cubicBezTo>
                  <a:cubicBezTo>
                    <a:pt x="94" y="115"/>
                    <a:pt x="94" y="115"/>
                    <a:pt x="94" y="115"/>
                  </a:cubicBezTo>
                  <a:cubicBezTo>
                    <a:pt x="100" y="110"/>
                    <a:pt x="100" y="110"/>
                    <a:pt x="100" y="110"/>
                  </a:cubicBezTo>
                  <a:cubicBezTo>
                    <a:pt x="100" y="110"/>
                    <a:pt x="100" y="110"/>
                    <a:pt x="100" y="110"/>
                  </a:cubicBezTo>
                  <a:cubicBezTo>
                    <a:pt x="100" y="109"/>
                    <a:pt x="100" y="109"/>
                    <a:pt x="100" y="109"/>
                  </a:cubicBezTo>
                  <a:cubicBezTo>
                    <a:pt x="100" y="109"/>
                    <a:pt x="100" y="109"/>
                    <a:pt x="100"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8"/>
                    <a:pt x="101" y="108"/>
                    <a:pt x="101" y="108"/>
                  </a:cubicBezTo>
                  <a:cubicBezTo>
                    <a:pt x="101" y="108"/>
                    <a:pt x="101" y="108"/>
                    <a:pt x="101" y="108"/>
                  </a:cubicBezTo>
                  <a:cubicBezTo>
                    <a:pt x="102" y="108"/>
                    <a:pt x="102" y="108"/>
                    <a:pt x="102" y="108"/>
                  </a:cubicBezTo>
                  <a:cubicBezTo>
                    <a:pt x="102" y="108"/>
                    <a:pt x="102" y="108"/>
                    <a:pt x="102" y="108"/>
                  </a:cubicBezTo>
                  <a:cubicBezTo>
                    <a:pt x="102" y="108"/>
                    <a:pt x="102" y="108"/>
                    <a:pt x="102" y="108"/>
                  </a:cubicBezTo>
                  <a:cubicBezTo>
                    <a:pt x="102" y="108"/>
                    <a:pt x="102" y="108"/>
                    <a:pt x="102" y="108"/>
                  </a:cubicBezTo>
                  <a:cubicBezTo>
                    <a:pt x="102" y="107"/>
                    <a:pt x="102" y="107"/>
                    <a:pt x="102" y="107"/>
                  </a:cubicBezTo>
                  <a:cubicBezTo>
                    <a:pt x="102" y="107"/>
                    <a:pt x="102" y="107"/>
                    <a:pt x="102" y="107"/>
                  </a:cubicBezTo>
                  <a:cubicBezTo>
                    <a:pt x="102" y="107"/>
                    <a:pt x="102" y="107"/>
                    <a:pt x="102" y="107"/>
                  </a:cubicBezTo>
                  <a:cubicBezTo>
                    <a:pt x="102" y="107"/>
                    <a:pt x="102" y="107"/>
                    <a:pt x="102" y="107"/>
                  </a:cubicBezTo>
                  <a:cubicBezTo>
                    <a:pt x="103" y="107"/>
                    <a:pt x="103" y="107"/>
                    <a:pt x="103" y="107"/>
                  </a:cubicBezTo>
                  <a:cubicBezTo>
                    <a:pt x="103" y="107"/>
                    <a:pt x="103" y="107"/>
                    <a:pt x="103" y="107"/>
                  </a:cubicBezTo>
                  <a:cubicBezTo>
                    <a:pt x="103" y="107"/>
                    <a:pt x="103" y="107"/>
                    <a:pt x="103" y="107"/>
                  </a:cubicBezTo>
                  <a:cubicBezTo>
                    <a:pt x="103" y="107"/>
                    <a:pt x="103" y="107"/>
                    <a:pt x="103" y="107"/>
                  </a:cubicBezTo>
                  <a:cubicBezTo>
                    <a:pt x="103" y="106"/>
                    <a:pt x="103" y="106"/>
                    <a:pt x="103" y="106"/>
                  </a:cubicBezTo>
                  <a:cubicBezTo>
                    <a:pt x="103" y="106"/>
                    <a:pt x="103" y="106"/>
                    <a:pt x="103"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5"/>
                    <a:pt x="104" y="105"/>
                    <a:pt x="104" y="105"/>
                  </a:cubicBezTo>
                  <a:cubicBezTo>
                    <a:pt x="104" y="105"/>
                    <a:pt x="104" y="105"/>
                    <a:pt x="104"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4"/>
                    <a:pt x="105" y="104"/>
                    <a:pt x="105" y="104"/>
                  </a:cubicBezTo>
                  <a:cubicBezTo>
                    <a:pt x="105" y="104"/>
                    <a:pt x="105" y="104"/>
                    <a:pt x="105" y="104"/>
                  </a:cubicBezTo>
                  <a:lnTo>
                    <a:pt x="106" y="104"/>
                  </a:lnTo>
                  <a:close/>
                  <a:moveTo>
                    <a:pt x="94" y="222"/>
                  </a:moveTo>
                  <a:cubicBezTo>
                    <a:pt x="81" y="210"/>
                    <a:pt x="81" y="210"/>
                    <a:pt x="81" y="210"/>
                  </a:cubicBezTo>
                  <a:cubicBezTo>
                    <a:pt x="81" y="181"/>
                    <a:pt x="81" y="181"/>
                    <a:pt x="81" y="181"/>
                  </a:cubicBezTo>
                  <a:cubicBezTo>
                    <a:pt x="90" y="190"/>
                    <a:pt x="90" y="190"/>
                    <a:pt x="90" y="190"/>
                  </a:cubicBezTo>
                  <a:cubicBezTo>
                    <a:pt x="94" y="186"/>
                    <a:pt x="94" y="186"/>
                    <a:pt x="94" y="186"/>
                  </a:cubicBezTo>
                  <a:cubicBezTo>
                    <a:pt x="94" y="222"/>
                    <a:pt x="94" y="222"/>
                    <a:pt x="94" y="222"/>
                  </a:cubicBezTo>
                  <a:close/>
                  <a:moveTo>
                    <a:pt x="81" y="48"/>
                  </a:moveTo>
                  <a:cubicBezTo>
                    <a:pt x="94" y="35"/>
                    <a:pt x="94" y="35"/>
                    <a:pt x="94" y="35"/>
                  </a:cubicBezTo>
                  <a:cubicBezTo>
                    <a:pt x="94" y="66"/>
                    <a:pt x="94" y="66"/>
                    <a:pt x="94" y="66"/>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6"/>
                    <a:pt x="85" y="76"/>
                    <a:pt x="85"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7"/>
                    <a:pt x="84" y="77"/>
                    <a:pt x="84" y="77"/>
                  </a:cubicBezTo>
                  <a:cubicBezTo>
                    <a:pt x="83" y="77"/>
                    <a:pt x="83" y="77"/>
                    <a:pt x="83" y="77"/>
                  </a:cubicBezTo>
                  <a:cubicBezTo>
                    <a:pt x="83" y="77"/>
                    <a:pt x="83" y="77"/>
                    <a:pt x="83" y="77"/>
                  </a:cubicBezTo>
                  <a:cubicBezTo>
                    <a:pt x="83" y="77"/>
                    <a:pt x="83" y="77"/>
                    <a:pt x="83" y="77"/>
                  </a:cubicBezTo>
                  <a:cubicBezTo>
                    <a:pt x="83" y="77"/>
                    <a:pt x="83" y="77"/>
                    <a:pt x="83" y="77"/>
                  </a:cubicBezTo>
                  <a:cubicBezTo>
                    <a:pt x="83" y="77"/>
                    <a:pt x="83" y="77"/>
                    <a:pt x="83" y="77"/>
                  </a:cubicBezTo>
                  <a:cubicBezTo>
                    <a:pt x="83" y="78"/>
                    <a:pt x="83" y="78"/>
                    <a:pt x="83" y="78"/>
                  </a:cubicBezTo>
                  <a:cubicBezTo>
                    <a:pt x="83" y="78"/>
                    <a:pt x="83" y="78"/>
                    <a:pt x="83" y="78"/>
                  </a:cubicBezTo>
                  <a:cubicBezTo>
                    <a:pt x="82" y="78"/>
                    <a:pt x="82" y="78"/>
                    <a:pt x="82" y="78"/>
                  </a:cubicBezTo>
                  <a:cubicBezTo>
                    <a:pt x="82" y="78"/>
                    <a:pt x="82" y="78"/>
                    <a:pt x="82" y="78"/>
                  </a:cubicBezTo>
                  <a:cubicBezTo>
                    <a:pt x="82" y="78"/>
                    <a:pt x="82" y="78"/>
                    <a:pt x="82" y="78"/>
                  </a:cubicBezTo>
                  <a:cubicBezTo>
                    <a:pt x="82" y="78"/>
                    <a:pt x="82" y="78"/>
                    <a:pt x="82" y="78"/>
                  </a:cubicBezTo>
                  <a:cubicBezTo>
                    <a:pt x="82" y="78"/>
                    <a:pt x="82" y="78"/>
                    <a:pt x="82" y="78"/>
                  </a:cubicBezTo>
                  <a:cubicBezTo>
                    <a:pt x="82" y="79"/>
                    <a:pt x="82" y="79"/>
                    <a:pt x="82" y="79"/>
                  </a:cubicBezTo>
                  <a:cubicBezTo>
                    <a:pt x="81" y="79"/>
                    <a:pt x="81" y="79"/>
                    <a:pt x="81" y="79"/>
                  </a:cubicBezTo>
                  <a:cubicBezTo>
                    <a:pt x="81" y="48"/>
                    <a:pt x="81" y="48"/>
                    <a:pt x="81" y="48"/>
                  </a:cubicBezTo>
                  <a:close/>
                  <a:moveTo>
                    <a:pt x="94" y="115"/>
                  </a:moveTo>
                  <a:cubicBezTo>
                    <a:pt x="94" y="137"/>
                    <a:pt x="94" y="137"/>
                    <a:pt x="94" y="137"/>
                  </a:cubicBezTo>
                  <a:cubicBezTo>
                    <a:pt x="88" y="143"/>
                    <a:pt x="88" y="143"/>
                    <a:pt x="88" y="143"/>
                  </a:cubicBezTo>
                  <a:cubicBezTo>
                    <a:pt x="94" y="149"/>
                    <a:pt x="94" y="149"/>
                    <a:pt x="94" y="149"/>
                  </a:cubicBezTo>
                  <a:cubicBezTo>
                    <a:pt x="94" y="174"/>
                    <a:pt x="94" y="174"/>
                    <a:pt x="94" y="174"/>
                  </a:cubicBezTo>
                  <a:cubicBezTo>
                    <a:pt x="81" y="161"/>
                    <a:pt x="81" y="161"/>
                    <a:pt x="81" y="161"/>
                  </a:cubicBezTo>
                  <a:cubicBezTo>
                    <a:pt x="81" y="128"/>
                    <a:pt x="81" y="128"/>
                    <a:pt x="81" y="128"/>
                  </a:cubicBezTo>
                  <a:cubicBezTo>
                    <a:pt x="82" y="128"/>
                    <a:pt x="82" y="128"/>
                    <a:pt x="82" y="128"/>
                  </a:cubicBezTo>
                  <a:cubicBezTo>
                    <a:pt x="82" y="128"/>
                    <a:pt x="82" y="128"/>
                    <a:pt x="82" y="128"/>
                  </a:cubicBezTo>
                  <a:cubicBezTo>
                    <a:pt x="82" y="128"/>
                    <a:pt x="82" y="128"/>
                    <a:pt x="82" y="128"/>
                  </a:cubicBezTo>
                  <a:cubicBezTo>
                    <a:pt x="82" y="128"/>
                    <a:pt x="82" y="128"/>
                    <a:pt x="82" y="128"/>
                  </a:cubicBezTo>
                  <a:cubicBezTo>
                    <a:pt x="82" y="127"/>
                    <a:pt x="82" y="127"/>
                    <a:pt x="82" y="127"/>
                  </a:cubicBezTo>
                  <a:cubicBezTo>
                    <a:pt x="82" y="127"/>
                    <a:pt x="82" y="127"/>
                    <a:pt x="82" y="127"/>
                  </a:cubicBezTo>
                  <a:cubicBezTo>
                    <a:pt x="82" y="127"/>
                    <a:pt x="82" y="127"/>
                    <a:pt x="82" y="127"/>
                  </a:cubicBezTo>
                  <a:cubicBezTo>
                    <a:pt x="83" y="127"/>
                    <a:pt x="83" y="127"/>
                    <a:pt x="83" y="127"/>
                  </a:cubicBezTo>
                  <a:cubicBezTo>
                    <a:pt x="83" y="127"/>
                    <a:pt x="83" y="127"/>
                    <a:pt x="83" y="127"/>
                  </a:cubicBezTo>
                  <a:cubicBezTo>
                    <a:pt x="83" y="127"/>
                    <a:pt x="83" y="127"/>
                    <a:pt x="83" y="127"/>
                  </a:cubicBezTo>
                  <a:cubicBezTo>
                    <a:pt x="83" y="127"/>
                    <a:pt x="83" y="127"/>
                    <a:pt x="83" y="127"/>
                  </a:cubicBezTo>
                  <a:cubicBezTo>
                    <a:pt x="83" y="126"/>
                    <a:pt x="83" y="126"/>
                    <a:pt x="83" y="126"/>
                  </a:cubicBezTo>
                  <a:cubicBezTo>
                    <a:pt x="83" y="126"/>
                    <a:pt x="83" y="126"/>
                    <a:pt x="83" y="126"/>
                  </a:cubicBezTo>
                  <a:cubicBezTo>
                    <a:pt x="83" y="126"/>
                    <a:pt x="83" y="126"/>
                    <a:pt x="83" y="126"/>
                  </a:cubicBezTo>
                  <a:cubicBezTo>
                    <a:pt x="84" y="126"/>
                    <a:pt x="84" y="126"/>
                    <a:pt x="84" y="126"/>
                  </a:cubicBezTo>
                  <a:cubicBezTo>
                    <a:pt x="84" y="126"/>
                    <a:pt x="84" y="126"/>
                    <a:pt x="84" y="126"/>
                  </a:cubicBezTo>
                  <a:cubicBezTo>
                    <a:pt x="84" y="126"/>
                    <a:pt x="84" y="126"/>
                    <a:pt x="84" y="126"/>
                  </a:cubicBezTo>
                  <a:cubicBezTo>
                    <a:pt x="84" y="125"/>
                    <a:pt x="84" y="125"/>
                    <a:pt x="84" y="125"/>
                  </a:cubicBezTo>
                  <a:cubicBezTo>
                    <a:pt x="84" y="125"/>
                    <a:pt x="84" y="125"/>
                    <a:pt x="84" y="125"/>
                  </a:cubicBezTo>
                  <a:cubicBezTo>
                    <a:pt x="84" y="125"/>
                    <a:pt x="84" y="125"/>
                    <a:pt x="84" y="125"/>
                  </a:cubicBezTo>
                  <a:cubicBezTo>
                    <a:pt x="84" y="125"/>
                    <a:pt x="84" y="125"/>
                    <a:pt x="84" y="125"/>
                  </a:cubicBezTo>
                  <a:cubicBezTo>
                    <a:pt x="85" y="125"/>
                    <a:pt x="85" y="125"/>
                    <a:pt x="85" y="125"/>
                  </a:cubicBezTo>
                  <a:cubicBezTo>
                    <a:pt x="85" y="125"/>
                    <a:pt x="85" y="125"/>
                    <a:pt x="85" y="125"/>
                  </a:cubicBezTo>
                  <a:cubicBezTo>
                    <a:pt x="85" y="125"/>
                    <a:pt x="85" y="125"/>
                    <a:pt x="85" y="125"/>
                  </a:cubicBezTo>
                  <a:cubicBezTo>
                    <a:pt x="85" y="124"/>
                    <a:pt x="85" y="124"/>
                    <a:pt x="85" y="124"/>
                  </a:cubicBezTo>
                  <a:cubicBezTo>
                    <a:pt x="85" y="124"/>
                    <a:pt x="85" y="124"/>
                    <a:pt x="85" y="124"/>
                  </a:cubicBezTo>
                  <a:cubicBezTo>
                    <a:pt x="85" y="124"/>
                    <a:pt x="85" y="124"/>
                    <a:pt x="85" y="124"/>
                  </a:cubicBezTo>
                  <a:cubicBezTo>
                    <a:pt x="85" y="124"/>
                    <a:pt x="85" y="124"/>
                    <a:pt x="85" y="124"/>
                  </a:cubicBezTo>
                  <a:cubicBezTo>
                    <a:pt x="86" y="124"/>
                    <a:pt x="86" y="124"/>
                    <a:pt x="86" y="124"/>
                  </a:cubicBezTo>
                  <a:cubicBezTo>
                    <a:pt x="86" y="124"/>
                    <a:pt x="86" y="124"/>
                    <a:pt x="86" y="124"/>
                  </a:cubicBezTo>
                  <a:cubicBezTo>
                    <a:pt x="86" y="124"/>
                    <a:pt x="86" y="124"/>
                    <a:pt x="86" y="124"/>
                  </a:cubicBezTo>
                  <a:cubicBezTo>
                    <a:pt x="86" y="124"/>
                    <a:pt x="86" y="124"/>
                    <a:pt x="86" y="124"/>
                  </a:cubicBezTo>
                  <a:cubicBezTo>
                    <a:pt x="86" y="123"/>
                    <a:pt x="86" y="123"/>
                    <a:pt x="86" y="123"/>
                  </a:cubicBezTo>
                  <a:cubicBezTo>
                    <a:pt x="86" y="123"/>
                    <a:pt x="86" y="123"/>
                    <a:pt x="86" y="123"/>
                  </a:cubicBezTo>
                  <a:cubicBezTo>
                    <a:pt x="86" y="123"/>
                    <a:pt x="86" y="123"/>
                    <a:pt x="86" y="123"/>
                  </a:cubicBezTo>
                  <a:cubicBezTo>
                    <a:pt x="86" y="123"/>
                    <a:pt x="86" y="123"/>
                    <a:pt x="86" y="123"/>
                  </a:cubicBezTo>
                  <a:cubicBezTo>
                    <a:pt x="87" y="123"/>
                    <a:pt x="87" y="123"/>
                    <a:pt x="87" y="123"/>
                  </a:cubicBezTo>
                  <a:cubicBezTo>
                    <a:pt x="87" y="123"/>
                    <a:pt x="87" y="123"/>
                    <a:pt x="87" y="123"/>
                  </a:cubicBezTo>
                  <a:cubicBezTo>
                    <a:pt x="87" y="123"/>
                    <a:pt x="87" y="123"/>
                    <a:pt x="87" y="123"/>
                  </a:cubicBezTo>
                  <a:cubicBezTo>
                    <a:pt x="87" y="122"/>
                    <a:pt x="87" y="122"/>
                    <a:pt x="87" y="122"/>
                  </a:cubicBezTo>
                  <a:cubicBezTo>
                    <a:pt x="87" y="122"/>
                    <a:pt x="87" y="122"/>
                    <a:pt x="87" y="122"/>
                  </a:cubicBezTo>
                  <a:cubicBezTo>
                    <a:pt x="87" y="122"/>
                    <a:pt x="87" y="122"/>
                    <a:pt x="87" y="122"/>
                  </a:cubicBezTo>
                  <a:cubicBezTo>
                    <a:pt x="88" y="122"/>
                    <a:pt x="88" y="122"/>
                    <a:pt x="88" y="122"/>
                  </a:cubicBezTo>
                  <a:lnTo>
                    <a:pt x="94" y="115"/>
                  </a:lnTo>
                  <a:close/>
                  <a:moveTo>
                    <a:pt x="81" y="210"/>
                  </a:moveTo>
                  <a:cubicBezTo>
                    <a:pt x="0" y="128"/>
                    <a:pt x="0" y="128"/>
                    <a:pt x="0" y="128"/>
                  </a:cubicBezTo>
                  <a:cubicBezTo>
                    <a:pt x="81" y="48"/>
                    <a:pt x="81" y="48"/>
                    <a:pt x="81" y="48"/>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1"/>
                    <a:pt x="80" y="81"/>
                    <a:pt x="80"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2"/>
                    <a:pt x="79" y="82"/>
                    <a:pt x="79"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4"/>
                    <a:pt x="77" y="84"/>
                    <a:pt x="77"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5" y="85"/>
                    <a:pt x="75" y="85"/>
                    <a:pt x="75" y="85"/>
                  </a:cubicBezTo>
                  <a:cubicBezTo>
                    <a:pt x="75" y="85"/>
                    <a:pt x="75" y="85"/>
                    <a:pt x="75" y="85"/>
                  </a:cubicBezTo>
                  <a:cubicBezTo>
                    <a:pt x="63" y="97"/>
                    <a:pt x="63" y="97"/>
                    <a:pt x="63" y="97"/>
                  </a:cubicBezTo>
                  <a:cubicBezTo>
                    <a:pt x="63" y="97"/>
                    <a:pt x="63" y="97"/>
                    <a:pt x="63" y="97"/>
                  </a:cubicBezTo>
                  <a:cubicBezTo>
                    <a:pt x="63" y="97"/>
                    <a:pt x="63" y="97"/>
                    <a:pt x="63" y="97"/>
                  </a:cubicBezTo>
                  <a:cubicBezTo>
                    <a:pt x="62" y="97"/>
                    <a:pt x="62" y="97"/>
                    <a:pt x="62" y="97"/>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1" y="98"/>
                    <a:pt x="61" y="98"/>
                    <a:pt x="61" y="98"/>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0" y="99"/>
                    <a:pt x="60" y="99"/>
                    <a:pt x="60" y="99"/>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6" y="103"/>
                    <a:pt x="56" y="103"/>
                    <a:pt x="56" y="103"/>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5" y="104"/>
                    <a:pt x="55" y="104"/>
                    <a:pt x="55" y="104"/>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4" y="105"/>
                    <a:pt x="54" y="105"/>
                    <a:pt x="54" y="105"/>
                  </a:cubicBezTo>
                  <a:cubicBezTo>
                    <a:pt x="54" y="105"/>
                    <a:pt x="54" y="105"/>
                    <a:pt x="54" y="105"/>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3" y="106"/>
                    <a:pt x="53" y="106"/>
                    <a:pt x="53" y="106"/>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30" y="130"/>
                    <a:pt x="30" y="130"/>
                    <a:pt x="30" y="130"/>
                  </a:cubicBezTo>
                  <a:cubicBezTo>
                    <a:pt x="38" y="138"/>
                    <a:pt x="47" y="146"/>
                    <a:pt x="55" y="155"/>
                  </a:cubicBezTo>
                  <a:cubicBezTo>
                    <a:pt x="77" y="132"/>
                    <a:pt x="77" y="132"/>
                    <a:pt x="77" y="132"/>
                  </a:cubicBezTo>
                  <a:cubicBezTo>
                    <a:pt x="77" y="132"/>
                    <a:pt x="77" y="132"/>
                    <a:pt x="77" y="132"/>
                  </a:cubicBezTo>
                  <a:cubicBezTo>
                    <a:pt x="78" y="132"/>
                    <a:pt x="78" y="132"/>
                    <a:pt x="78" y="132"/>
                  </a:cubicBezTo>
                  <a:cubicBezTo>
                    <a:pt x="78" y="132"/>
                    <a:pt x="78" y="132"/>
                    <a:pt x="78" y="132"/>
                  </a:cubicBezTo>
                  <a:cubicBezTo>
                    <a:pt x="78" y="132"/>
                    <a:pt x="78" y="132"/>
                    <a:pt x="78" y="132"/>
                  </a:cubicBezTo>
                  <a:cubicBezTo>
                    <a:pt x="78" y="132"/>
                    <a:pt x="78" y="132"/>
                    <a:pt x="78" y="132"/>
                  </a:cubicBezTo>
                  <a:cubicBezTo>
                    <a:pt x="78" y="131"/>
                    <a:pt x="78" y="131"/>
                    <a:pt x="78" y="131"/>
                  </a:cubicBezTo>
                  <a:cubicBezTo>
                    <a:pt x="78" y="131"/>
                    <a:pt x="78" y="131"/>
                    <a:pt x="78" y="131"/>
                  </a:cubicBezTo>
                  <a:cubicBezTo>
                    <a:pt x="78" y="131"/>
                    <a:pt x="78" y="131"/>
                    <a:pt x="78" y="131"/>
                  </a:cubicBezTo>
                  <a:cubicBezTo>
                    <a:pt x="79" y="131"/>
                    <a:pt x="79" y="131"/>
                    <a:pt x="79" y="131"/>
                  </a:cubicBezTo>
                  <a:cubicBezTo>
                    <a:pt x="79" y="131"/>
                    <a:pt x="79" y="131"/>
                    <a:pt x="79" y="131"/>
                  </a:cubicBezTo>
                  <a:cubicBezTo>
                    <a:pt x="79" y="131"/>
                    <a:pt x="79" y="131"/>
                    <a:pt x="79" y="131"/>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80" y="130"/>
                    <a:pt x="80" y="130"/>
                    <a:pt x="80" y="130"/>
                  </a:cubicBezTo>
                  <a:cubicBezTo>
                    <a:pt x="80" y="130"/>
                    <a:pt x="80" y="130"/>
                    <a:pt x="80" y="130"/>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1" y="129"/>
                    <a:pt x="81" y="129"/>
                    <a:pt x="81" y="129"/>
                  </a:cubicBezTo>
                  <a:cubicBezTo>
                    <a:pt x="81" y="129"/>
                    <a:pt x="81" y="129"/>
                    <a:pt x="81" y="129"/>
                  </a:cubicBezTo>
                  <a:cubicBezTo>
                    <a:pt x="81" y="129"/>
                    <a:pt x="81" y="129"/>
                    <a:pt x="81" y="129"/>
                  </a:cubicBezTo>
                  <a:cubicBezTo>
                    <a:pt x="81" y="128"/>
                    <a:pt x="81" y="128"/>
                    <a:pt x="81" y="128"/>
                  </a:cubicBezTo>
                  <a:cubicBezTo>
                    <a:pt x="81" y="128"/>
                    <a:pt x="81" y="128"/>
                    <a:pt x="81" y="128"/>
                  </a:cubicBezTo>
                  <a:cubicBezTo>
                    <a:pt x="81" y="128"/>
                    <a:pt x="81" y="128"/>
                    <a:pt x="81" y="128"/>
                  </a:cubicBezTo>
                  <a:cubicBezTo>
                    <a:pt x="81" y="128"/>
                    <a:pt x="81" y="128"/>
                    <a:pt x="81" y="128"/>
                  </a:cubicBezTo>
                  <a:cubicBezTo>
                    <a:pt x="81" y="161"/>
                    <a:pt x="81" y="161"/>
                    <a:pt x="81" y="161"/>
                  </a:cubicBezTo>
                  <a:cubicBezTo>
                    <a:pt x="76" y="155"/>
                    <a:pt x="76" y="155"/>
                    <a:pt x="76" y="155"/>
                  </a:cubicBezTo>
                  <a:cubicBezTo>
                    <a:pt x="72" y="159"/>
                    <a:pt x="69" y="162"/>
                    <a:pt x="66" y="165"/>
                  </a:cubicBezTo>
                  <a:cubicBezTo>
                    <a:pt x="81" y="181"/>
                    <a:pt x="81" y="181"/>
                    <a:pt x="81" y="181"/>
                  </a:cubicBezTo>
                  <a:lnTo>
                    <a:pt x="81" y="21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5" name="íslidé">
              <a:extLst>
                <a:ext uri="{FF2B5EF4-FFF2-40B4-BE49-F238E27FC236}">
                  <a16:creationId xmlns:a16="http://schemas.microsoft.com/office/drawing/2014/main" id="{DBBFB816-A6B7-4304-A333-D9508F1D9530}"/>
                </a:ext>
              </a:extLst>
            </p:cNvPr>
            <p:cNvSpPr/>
            <p:nvPr/>
          </p:nvSpPr>
          <p:spPr bwMode="auto">
            <a:xfrm flipH="1">
              <a:off x="4582110" y="3055278"/>
              <a:ext cx="439048" cy="426417"/>
            </a:xfrm>
            <a:custGeom>
              <a:avLst/>
              <a:gdLst>
                <a:gd name="T0" fmla="*/ 213 w 262"/>
                <a:gd name="T1" fmla="*/ 161 h 261"/>
                <a:gd name="T2" fmla="*/ 223 w 262"/>
                <a:gd name="T3" fmla="*/ 132 h 261"/>
                <a:gd name="T4" fmla="*/ 234 w 262"/>
                <a:gd name="T5" fmla="*/ 98 h 261"/>
                <a:gd name="T6" fmla="*/ 213 w 262"/>
                <a:gd name="T7" fmla="*/ 50 h 261"/>
                <a:gd name="T8" fmla="*/ 210 w 262"/>
                <a:gd name="T9" fmla="*/ 90 h 261"/>
                <a:gd name="T10" fmla="*/ 198 w 262"/>
                <a:gd name="T11" fmla="*/ 124 h 261"/>
                <a:gd name="T12" fmla="*/ 189 w 262"/>
                <a:gd name="T13" fmla="*/ 150 h 261"/>
                <a:gd name="T14" fmla="*/ 189 w 262"/>
                <a:gd name="T15" fmla="*/ 66 h 261"/>
                <a:gd name="T16" fmla="*/ 189 w 262"/>
                <a:gd name="T17" fmla="*/ 258 h 261"/>
                <a:gd name="T18" fmla="*/ 189 w 262"/>
                <a:gd name="T19" fmla="*/ 197 h 261"/>
                <a:gd name="T20" fmla="*/ 189 w 262"/>
                <a:gd name="T21" fmla="*/ 159 h 261"/>
                <a:gd name="T22" fmla="*/ 143 w 262"/>
                <a:gd name="T23" fmla="*/ 26 h 261"/>
                <a:gd name="T24" fmla="*/ 180 w 262"/>
                <a:gd name="T25" fmla="*/ 62 h 261"/>
                <a:gd name="T26" fmla="*/ 187 w 262"/>
                <a:gd name="T27" fmla="*/ 158 h 261"/>
                <a:gd name="T28" fmla="*/ 175 w 262"/>
                <a:gd name="T29" fmla="*/ 192 h 261"/>
                <a:gd name="T30" fmla="*/ 164 w 262"/>
                <a:gd name="T31" fmla="*/ 226 h 261"/>
                <a:gd name="T32" fmla="*/ 143 w 262"/>
                <a:gd name="T33" fmla="*/ 242 h 261"/>
                <a:gd name="T34" fmla="*/ 146 w 262"/>
                <a:gd name="T35" fmla="*/ 165 h 261"/>
                <a:gd name="T36" fmla="*/ 143 w 262"/>
                <a:gd name="T37" fmla="*/ 126 h 261"/>
                <a:gd name="T38" fmla="*/ 143 w 262"/>
                <a:gd name="T39" fmla="*/ 88 h 261"/>
                <a:gd name="T40" fmla="*/ 145 w 262"/>
                <a:gd name="T41" fmla="*/ 51 h 261"/>
                <a:gd name="T42" fmla="*/ 143 w 262"/>
                <a:gd name="T43" fmla="*/ 26 h 261"/>
                <a:gd name="T44" fmla="*/ 143 w 262"/>
                <a:gd name="T45" fmla="*/ 88 h 261"/>
                <a:gd name="T46" fmla="*/ 143 w 262"/>
                <a:gd name="T47" fmla="*/ 126 h 261"/>
                <a:gd name="T48" fmla="*/ 129 w 262"/>
                <a:gd name="T49" fmla="*/ 63 h 261"/>
                <a:gd name="T50" fmla="*/ 143 w 262"/>
                <a:gd name="T51" fmla="*/ 242 h 261"/>
                <a:gd name="T52" fmla="*/ 119 w 262"/>
                <a:gd name="T53" fmla="*/ 194 h 261"/>
                <a:gd name="T54" fmla="*/ 119 w 262"/>
                <a:gd name="T55" fmla="*/ 156 h 261"/>
                <a:gd name="T56" fmla="*/ 143 w 262"/>
                <a:gd name="T57" fmla="*/ 172 h 261"/>
                <a:gd name="T58" fmla="*/ 96 w 262"/>
                <a:gd name="T59" fmla="*/ 11 h 261"/>
                <a:gd name="T60" fmla="*/ 105 w 262"/>
                <a:gd name="T61" fmla="*/ 54 h 261"/>
                <a:gd name="T62" fmla="*/ 119 w 262"/>
                <a:gd name="T63" fmla="*/ 135 h 261"/>
                <a:gd name="T64" fmla="*/ 119 w 262"/>
                <a:gd name="T65" fmla="*/ 173 h 261"/>
                <a:gd name="T66" fmla="*/ 96 w 262"/>
                <a:gd name="T67" fmla="*/ 128 h 261"/>
                <a:gd name="T68" fmla="*/ 96 w 262"/>
                <a:gd name="T69" fmla="*/ 43 h 261"/>
                <a:gd name="T70" fmla="*/ 119 w 262"/>
                <a:gd name="T71" fmla="*/ 235 h 261"/>
                <a:gd name="T72" fmla="*/ 118 w 262"/>
                <a:gd name="T73" fmla="*/ 211 h 261"/>
                <a:gd name="T74" fmla="*/ 96 w 262"/>
                <a:gd name="T75" fmla="*/ 11 h 261"/>
                <a:gd name="T76" fmla="*/ 73 w 262"/>
                <a:gd name="T77" fmla="*/ 3 h 261"/>
                <a:gd name="T78" fmla="*/ 83 w 262"/>
                <a:gd name="T79" fmla="*/ 199 h 261"/>
                <a:gd name="T80" fmla="*/ 83 w 262"/>
                <a:gd name="T81" fmla="*/ 85 h 261"/>
                <a:gd name="T82" fmla="*/ 94 w 262"/>
                <a:gd name="T83" fmla="*/ 51 h 261"/>
                <a:gd name="T84" fmla="*/ 82 w 262"/>
                <a:gd name="T85" fmla="*/ 123 h 261"/>
                <a:gd name="T86" fmla="*/ 96 w 262"/>
                <a:gd name="T87" fmla="*/ 203 h 261"/>
                <a:gd name="T88" fmla="*/ 73 w 262"/>
                <a:gd name="T89" fmla="*/ 3 h 261"/>
                <a:gd name="T90" fmla="*/ 73 w 262"/>
                <a:gd name="T91" fmla="*/ 64 h 261"/>
                <a:gd name="T92" fmla="*/ 73 w 262"/>
                <a:gd name="T93" fmla="*/ 178 h 261"/>
                <a:gd name="T94" fmla="*/ 73 w 262"/>
                <a:gd name="T95" fmla="*/ 219 h 261"/>
                <a:gd name="T96" fmla="*/ 53 w 262"/>
                <a:gd name="T97" fmla="*/ 172 h 261"/>
                <a:gd name="T98" fmla="*/ 65 w 262"/>
                <a:gd name="T99" fmla="*/ 138 h 261"/>
                <a:gd name="T100" fmla="*/ 0 w 262"/>
                <a:gd name="T101" fmla="*/ 195 h 261"/>
                <a:gd name="T102" fmla="*/ 39 w 262"/>
                <a:gd name="T103" fmla="*/ 146 h 261"/>
                <a:gd name="T104" fmla="*/ 39 w 262"/>
                <a:gd name="T105" fmla="*/ 18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261">
                  <a:moveTo>
                    <a:pt x="213" y="50"/>
                  </a:moveTo>
                  <a:cubicBezTo>
                    <a:pt x="262" y="66"/>
                    <a:pt x="262" y="66"/>
                    <a:pt x="262" y="66"/>
                  </a:cubicBezTo>
                  <a:cubicBezTo>
                    <a:pt x="213" y="212"/>
                    <a:pt x="213" y="212"/>
                    <a:pt x="213" y="212"/>
                  </a:cubicBezTo>
                  <a:cubicBezTo>
                    <a:pt x="213" y="161"/>
                    <a:pt x="213" y="161"/>
                    <a:pt x="213" y="161"/>
                  </a:cubicBezTo>
                  <a:cubicBezTo>
                    <a:pt x="216" y="151"/>
                    <a:pt x="216" y="151"/>
                    <a:pt x="216" y="151"/>
                  </a:cubicBezTo>
                  <a:cubicBezTo>
                    <a:pt x="213" y="149"/>
                    <a:pt x="213" y="149"/>
                    <a:pt x="213" y="149"/>
                  </a:cubicBezTo>
                  <a:cubicBezTo>
                    <a:pt x="213" y="129"/>
                    <a:pt x="213" y="129"/>
                    <a:pt x="213" y="129"/>
                  </a:cubicBezTo>
                  <a:cubicBezTo>
                    <a:pt x="223" y="132"/>
                    <a:pt x="223" y="132"/>
                    <a:pt x="223" y="132"/>
                  </a:cubicBezTo>
                  <a:cubicBezTo>
                    <a:pt x="224" y="127"/>
                    <a:pt x="226" y="122"/>
                    <a:pt x="228" y="117"/>
                  </a:cubicBezTo>
                  <a:cubicBezTo>
                    <a:pt x="213" y="112"/>
                    <a:pt x="213" y="112"/>
                    <a:pt x="213" y="112"/>
                  </a:cubicBezTo>
                  <a:cubicBezTo>
                    <a:pt x="213" y="91"/>
                    <a:pt x="213" y="91"/>
                    <a:pt x="213" y="91"/>
                  </a:cubicBezTo>
                  <a:cubicBezTo>
                    <a:pt x="234" y="98"/>
                    <a:pt x="234" y="98"/>
                    <a:pt x="234" y="98"/>
                  </a:cubicBezTo>
                  <a:cubicBezTo>
                    <a:pt x="236" y="93"/>
                    <a:pt x="238" y="88"/>
                    <a:pt x="239" y="82"/>
                  </a:cubicBezTo>
                  <a:cubicBezTo>
                    <a:pt x="231" y="80"/>
                    <a:pt x="223" y="77"/>
                    <a:pt x="215" y="74"/>
                  </a:cubicBezTo>
                  <a:cubicBezTo>
                    <a:pt x="213" y="80"/>
                    <a:pt x="213" y="80"/>
                    <a:pt x="213" y="80"/>
                  </a:cubicBezTo>
                  <a:lnTo>
                    <a:pt x="213" y="50"/>
                  </a:lnTo>
                  <a:close/>
                  <a:moveTo>
                    <a:pt x="189" y="42"/>
                  </a:moveTo>
                  <a:cubicBezTo>
                    <a:pt x="213" y="50"/>
                    <a:pt x="213" y="50"/>
                    <a:pt x="213" y="50"/>
                  </a:cubicBezTo>
                  <a:cubicBezTo>
                    <a:pt x="213" y="80"/>
                    <a:pt x="213" y="80"/>
                    <a:pt x="213" y="80"/>
                  </a:cubicBezTo>
                  <a:cubicBezTo>
                    <a:pt x="210" y="90"/>
                    <a:pt x="210" y="90"/>
                    <a:pt x="210" y="90"/>
                  </a:cubicBezTo>
                  <a:cubicBezTo>
                    <a:pt x="213" y="91"/>
                    <a:pt x="213" y="91"/>
                    <a:pt x="213" y="91"/>
                  </a:cubicBezTo>
                  <a:cubicBezTo>
                    <a:pt x="213" y="112"/>
                    <a:pt x="213" y="112"/>
                    <a:pt x="213" y="112"/>
                  </a:cubicBezTo>
                  <a:cubicBezTo>
                    <a:pt x="203" y="108"/>
                    <a:pt x="203" y="108"/>
                    <a:pt x="203" y="108"/>
                  </a:cubicBezTo>
                  <a:cubicBezTo>
                    <a:pt x="202" y="113"/>
                    <a:pt x="200" y="119"/>
                    <a:pt x="198" y="124"/>
                  </a:cubicBezTo>
                  <a:cubicBezTo>
                    <a:pt x="213" y="129"/>
                    <a:pt x="213" y="129"/>
                    <a:pt x="213" y="129"/>
                  </a:cubicBezTo>
                  <a:cubicBezTo>
                    <a:pt x="213" y="149"/>
                    <a:pt x="213" y="149"/>
                    <a:pt x="213" y="149"/>
                  </a:cubicBezTo>
                  <a:cubicBezTo>
                    <a:pt x="192" y="142"/>
                    <a:pt x="192" y="142"/>
                    <a:pt x="192" y="142"/>
                  </a:cubicBezTo>
                  <a:cubicBezTo>
                    <a:pt x="189" y="150"/>
                    <a:pt x="189" y="150"/>
                    <a:pt x="189" y="150"/>
                  </a:cubicBezTo>
                  <a:cubicBezTo>
                    <a:pt x="189" y="83"/>
                    <a:pt x="189" y="83"/>
                    <a:pt x="189" y="83"/>
                  </a:cubicBezTo>
                  <a:cubicBezTo>
                    <a:pt x="199" y="86"/>
                    <a:pt x="199" y="86"/>
                    <a:pt x="199" y="86"/>
                  </a:cubicBezTo>
                  <a:cubicBezTo>
                    <a:pt x="201" y="81"/>
                    <a:pt x="203" y="76"/>
                    <a:pt x="204" y="71"/>
                  </a:cubicBezTo>
                  <a:cubicBezTo>
                    <a:pt x="189" y="66"/>
                    <a:pt x="189" y="66"/>
                    <a:pt x="189" y="66"/>
                  </a:cubicBezTo>
                  <a:cubicBezTo>
                    <a:pt x="189" y="42"/>
                    <a:pt x="189" y="42"/>
                    <a:pt x="189" y="42"/>
                  </a:cubicBezTo>
                  <a:close/>
                  <a:moveTo>
                    <a:pt x="213" y="212"/>
                  </a:moveTo>
                  <a:cubicBezTo>
                    <a:pt x="197" y="261"/>
                    <a:pt x="197" y="261"/>
                    <a:pt x="197" y="261"/>
                  </a:cubicBezTo>
                  <a:cubicBezTo>
                    <a:pt x="189" y="258"/>
                    <a:pt x="189" y="258"/>
                    <a:pt x="189" y="258"/>
                  </a:cubicBezTo>
                  <a:cubicBezTo>
                    <a:pt x="189" y="231"/>
                    <a:pt x="189" y="231"/>
                    <a:pt x="189" y="231"/>
                  </a:cubicBezTo>
                  <a:cubicBezTo>
                    <a:pt x="194" y="219"/>
                    <a:pt x="194" y="219"/>
                    <a:pt x="194" y="219"/>
                  </a:cubicBezTo>
                  <a:cubicBezTo>
                    <a:pt x="189" y="217"/>
                    <a:pt x="189" y="217"/>
                    <a:pt x="189" y="217"/>
                  </a:cubicBezTo>
                  <a:cubicBezTo>
                    <a:pt x="189" y="197"/>
                    <a:pt x="189" y="197"/>
                    <a:pt x="189" y="197"/>
                  </a:cubicBezTo>
                  <a:cubicBezTo>
                    <a:pt x="200" y="200"/>
                    <a:pt x="200" y="200"/>
                    <a:pt x="200" y="200"/>
                  </a:cubicBezTo>
                  <a:cubicBezTo>
                    <a:pt x="202" y="195"/>
                    <a:pt x="203" y="190"/>
                    <a:pt x="205" y="185"/>
                  </a:cubicBezTo>
                  <a:cubicBezTo>
                    <a:pt x="189" y="179"/>
                    <a:pt x="189" y="179"/>
                    <a:pt x="189" y="179"/>
                  </a:cubicBezTo>
                  <a:cubicBezTo>
                    <a:pt x="189" y="159"/>
                    <a:pt x="189" y="159"/>
                    <a:pt x="189" y="159"/>
                  </a:cubicBezTo>
                  <a:cubicBezTo>
                    <a:pt x="211" y="166"/>
                    <a:pt x="211" y="166"/>
                    <a:pt x="211" y="166"/>
                  </a:cubicBezTo>
                  <a:cubicBezTo>
                    <a:pt x="213" y="161"/>
                    <a:pt x="213" y="161"/>
                    <a:pt x="213" y="161"/>
                  </a:cubicBezTo>
                  <a:lnTo>
                    <a:pt x="213" y="212"/>
                  </a:lnTo>
                  <a:close/>
                  <a:moveTo>
                    <a:pt x="143" y="26"/>
                  </a:moveTo>
                  <a:cubicBezTo>
                    <a:pt x="164" y="33"/>
                    <a:pt x="164" y="33"/>
                    <a:pt x="164" y="33"/>
                  </a:cubicBezTo>
                  <a:cubicBezTo>
                    <a:pt x="189" y="42"/>
                    <a:pt x="189" y="42"/>
                    <a:pt x="189" y="42"/>
                  </a:cubicBezTo>
                  <a:cubicBezTo>
                    <a:pt x="189" y="66"/>
                    <a:pt x="189" y="66"/>
                    <a:pt x="189" y="66"/>
                  </a:cubicBezTo>
                  <a:cubicBezTo>
                    <a:pt x="180" y="62"/>
                    <a:pt x="180" y="62"/>
                    <a:pt x="180" y="62"/>
                  </a:cubicBezTo>
                  <a:cubicBezTo>
                    <a:pt x="178" y="68"/>
                    <a:pt x="176" y="73"/>
                    <a:pt x="175" y="78"/>
                  </a:cubicBezTo>
                  <a:cubicBezTo>
                    <a:pt x="189" y="83"/>
                    <a:pt x="189" y="83"/>
                    <a:pt x="189" y="83"/>
                  </a:cubicBezTo>
                  <a:cubicBezTo>
                    <a:pt x="189" y="150"/>
                    <a:pt x="189" y="150"/>
                    <a:pt x="189" y="150"/>
                  </a:cubicBezTo>
                  <a:cubicBezTo>
                    <a:pt x="187" y="158"/>
                    <a:pt x="187" y="158"/>
                    <a:pt x="187" y="158"/>
                  </a:cubicBezTo>
                  <a:cubicBezTo>
                    <a:pt x="189" y="159"/>
                    <a:pt x="189" y="159"/>
                    <a:pt x="189" y="159"/>
                  </a:cubicBezTo>
                  <a:cubicBezTo>
                    <a:pt x="189" y="179"/>
                    <a:pt x="189" y="179"/>
                    <a:pt x="189" y="179"/>
                  </a:cubicBezTo>
                  <a:cubicBezTo>
                    <a:pt x="181" y="176"/>
                    <a:pt x="181" y="176"/>
                    <a:pt x="181" y="176"/>
                  </a:cubicBezTo>
                  <a:cubicBezTo>
                    <a:pt x="179" y="182"/>
                    <a:pt x="177" y="187"/>
                    <a:pt x="175" y="192"/>
                  </a:cubicBezTo>
                  <a:cubicBezTo>
                    <a:pt x="189" y="197"/>
                    <a:pt x="189" y="197"/>
                    <a:pt x="189" y="197"/>
                  </a:cubicBezTo>
                  <a:cubicBezTo>
                    <a:pt x="189" y="217"/>
                    <a:pt x="189" y="217"/>
                    <a:pt x="189" y="217"/>
                  </a:cubicBezTo>
                  <a:cubicBezTo>
                    <a:pt x="169" y="211"/>
                    <a:pt x="169" y="211"/>
                    <a:pt x="169" y="211"/>
                  </a:cubicBezTo>
                  <a:cubicBezTo>
                    <a:pt x="167" y="216"/>
                    <a:pt x="166" y="221"/>
                    <a:pt x="164" y="226"/>
                  </a:cubicBezTo>
                  <a:cubicBezTo>
                    <a:pt x="172" y="229"/>
                    <a:pt x="180" y="231"/>
                    <a:pt x="188" y="234"/>
                  </a:cubicBezTo>
                  <a:cubicBezTo>
                    <a:pt x="189" y="231"/>
                    <a:pt x="189" y="231"/>
                    <a:pt x="189" y="231"/>
                  </a:cubicBezTo>
                  <a:cubicBezTo>
                    <a:pt x="189" y="258"/>
                    <a:pt x="189" y="258"/>
                    <a:pt x="189" y="258"/>
                  </a:cubicBezTo>
                  <a:cubicBezTo>
                    <a:pt x="143" y="242"/>
                    <a:pt x="143" y="242"/>
                    <a:pt x="143" y="242"/>
                  </a:cubicBezTo>
                  <a:cubicBezTo>
                    <a:pt x="143" y="181"/>
                    <a:pt x="143" y="181"/>
                    <a:pt x="143" y="181"/>
                  </a:cubicBezTo>
                  <a:cubicBezTo>
                    <a:pt x="165" y="188"/>
                    <a:pt x="165" y="188"/>
                    <a:pt x="165" y="188"/>
                  </a:cubicBezTo>
                  <a:cubicBezTo>
                    <a:pt x="166" y="183"/>
                    <a:pt x="168" y="178"/>
                    <a:pt x="170" y="173"/>
                  </a:cubicBezTo>
                  <a:cubicBezTo>
                    <a:pt x="162" y="170"/>
                    <a:pt x="154" y="167"/>
                    <a:pt x="146" y="165"/>
                  </a:cubicBezTo>
                  <a:cubicBezTo>
                    <a:pt x="143" y="172"/>
                    <a:pt x="143" y="172"/>
                    <a:pt x="143" y="172"/>
                  </a:cubicBezTo>
                  <a:cubicBezTo>
                    <a:pt x="143" y="137"/>
                    <a:pt x="143" y="137"/>
                    <a:pt x="143" y="137"/>
                  </a:cubicBezTo>
                  <a:cubicBezTo>
                    <a:pt x="146" y="127"/>
                    <a:pt x="146" y="127"/>
                    <a:pt x="146" y="127"/>
                  </a:cubicBezTo>
                  <a:cubicBezTo>
                    <a:pt x="143" y="126"/>
                    <a:pt x="143" y="126"/>
                    <a:pt x="143" y="126"/>
                  </a:cubicBezTo>
                  <a:cubicBezTo>
                    <a:pt x="143" y="105"/>
                    <a:pt x="143" y="105"/>
                    <a:pt x="143" y="105"/>
                  </a:cubicBezTo>
                  <a:cubicBezTo>
                    <a:pt x="153" y="108"/>
                    <a:pt x="153" y="108"/>
                    <a:pt x="153" y="108"/>
                  </a:cubicBezTo>
                  <a:cubicBezTo>
                    <a:pt x="154" y="103"/>
                    <a:pt x="156" y="98"/>
                    <a:pt x="158" y="93"/>
                  </a:cubicBezTo>
                  <a:cubicBezTo>
                    <a:pt x="143" y="88"/>
                    <a:pt x="143" y="88"/>
                    <a:pt x="143" y="88"/>
                  </a:cubicBezTo>
                  <a:cubicBezTo>
                    <a:pt x="143" y="67"/>
                    <a:pt x="143" y="67"/>
                    <a:pt x="143" y="67"/>
                  </a:cubicBezTo>
                  <a:cubicBezTo>
                    <a:pt x="164" y="74"/>
                    <a:pt x="164" y="74"/>
                    <a:pt x="164" y="74"/>
                  </a:cubicBezTo>
                  <a:cubicBezTo>
                    <a:pt x="166" y="69"/>
                    <a:pt x="168" y="64"/>
                    <a:pt x="169" y="59"/>
                  </a:cubicBezTo>
                  <a:cubicBezTo>
                    <a:pt x="161" y="56"/>
                    <a:pt x="153" y="53"/>
                    <a:pt x="145" y="51"/>
                  </a:cubicBezTo>
                  <a:cubicBezTo>
                    <a:pt x="143" y="56"/>
                    <a:pt x="143" y="56"/>
                    <a:pt x="143" y="56"/>
                  </a:cubicBezTo>
                  <a:lnTo>
                    <a:pt x="143" y="26"/>
                  </a:lnTo>
                  <a:close/>
                  <a:moveTo>
                    <a:pt x="119" y="19"/>
                  </a:moveTo>
                  <a:cubicBezTo>
                    <a:pt x="143" y="26"/>
                    <a:pt x="143" y="26"/>
                    <a:pt x="143" y="26"/>
                  </a:cubicBezTo>
                  <a:cubicBezTo>
                    <a:pt x="143" y="56"/>
                    <a:pt x="143" y="56"/>
                    <a:pt x="143" y="56"/>
                  </a:cubicBezTo>
                  <a:cubicBezTo>
                    <a:pt x="140" y="66"/>
                    <a:pt x="140" y="66"/>
                    <a:pt x="140" y="66"/>
                  </a:cubicBezTo>
                  <a:cubicBezTo>
                    <a:pt x="143" y="67"/>
                    <a:pt x="143" y="67"/>
                    <a:pt x="143" y="67"/>
                  </a:cubicBezTo>
                  <a:cubicBezTo>
                    <a:pt x="143" y="88"/>
                    <a:pt x="143" y="88"/>
                    <a:pt x="143" y="88"/>
                  </a:cubicBezTo>
                  <a:cubicBezTo>
                    <a:pt x="133" y="85"/>
                    <a:pt x="133" y="85"/>
                    <a:pt x="133" y="85"/>
                  </a:cubicBezTo>
                  <a:cubicBezTo>
                    <a:pt x="132" y="90"/>
                    <a:pt x="130" y="95"/>
                    <a:pt x="128" y="100"/>
                  </a:cubicBezTo>
                  <a:cubicBezTo>
                    <a:pt x="143" y="105"/>
                    <a:pt x="143" y="105"/>
                    <a:pt x="143" y="105"/>
                  </a:cubicBezTo>
                  <a:cubicBezTo>
                    <a:pt x="143" y="126"/>
                    <a:pt x="143" y="126"/>
                    <a:pt x="143" y="126"/>
                  </a:cubicBezTo>
                  <a:cubicBezTo>
                    <a:pt x="122" y="119"/>
                    <a:pt x="122" y="119"/>
                    <a:pt x="122" y="119"/>
                  </a:cubicBezTo>
                  <a:cubicBezTo>
                    <a:pt x="119" y="126"/>
                    <a:pt x="119" y="126"/>
                    <a:pt x="119" y="126"/>
                  </a:cubicBezTo>
                  <a:cubicBezTo>
                    <a:pt x="119" y="59"/>
                    <a:pt x="119" y="59"/>
                    <a:pt x="119" y="59"/>
                  </a:cubicBezTo>
                  <a:cubicBezTo>
                    <a:pt x="129" y="63"/>
                    <a:pt x="129" y="63"/>
                    <a:pt x="129" y="63"/>
                  </a:cubicBezTo>
                  <a:cubicBezTo>
                    <a:pt x="131" y="57"/>
                    <a:pt x="132" y="52"/>
                    <a:pt x="134" y="47"/>
                  </a:cubicBezTo>
                  <a:cubicBezTo>
                    <a:pt x="119" y="42"/>
                    <a:pt x="119" y="42"/>
                    <a:pt x="119" y="42"/>
                  </a:cubicBezTo>
                  <a:cubicBezTo>
                    <a:pt x="119" y="19"/>
                    <a:pt x="119" y="19"/>
                    <a:pt x="119" y="19"/>
                  </a:cubicBezTo>
                  <a:close/>
                  <a:moveTo>
                    <a:pt x="143" y="242"/>
                  </a:moveTo>
                  <a:cubicBezTo>
                    <a:pt x="119" y="235"/>
                    <a:pt x="119" y="235"/>
                    <a:pt x="119" y="235"/>
                  </a:cubicBezTo>
                  <a:cubicBezTo>
                    <a:pt x="119" y="207"/>
                    <a:pt x="119" y="207"/>
                    <a:pt x="119" y="207"/>
                  </a:cubicBezTo>
                  <a:cubicBezTo>
                    <a:pt x="123" y="195"/>
                    <a:pt x="123" y="195"/>
                    <a:pt x="123" y="195"/>
                  </a:cubicBezTo>
                  <a:cubicBezTo>
                    <a:pt x="119" y="194"/>
                    <a:pt x="119" y="194"/>
                    <a:pt x="119" y="194"/>
                  </a:cubicBezTo>
                  <a:cubicBezTo>
                    <a:pt x="119" y="173"/>
                    <a:pt x="119" y="173"/>
                    <a:pt x="119" y="173"/>
                  </a:cubicBezTo>
                  <a:cubicBezTo>
                    <a:pt x="130" y="177"/>
                    <a:pt x="130" y="177"/>
                    <a:pt x="130" y="177"/>
                  </a:cubicBezTo>
                  <a:cubicBezTo>
                    <a:pt x="131" y="171"/>
                    <a:pt x="133" y="166"/>
                    <a:pt x="135" y="161"/>
                  </a:cubicBezTo>
                  <a:cubicBezTo>
                    <a:pt x="119" y="156"/>
                    <a:pt x="119" y="156"/>
                    <a:pt x="119" y="156"/>
                  </a:cubicBezTo>
                  <a:cubicBezTo>
                    <a:pt x="119" y="135"/>
                    <a:pt x="119" y="135"/>
                    <a:pt x="119" y="135"/>
                  </a:cubicBezTo>
                  <a:cubicBezTo>
                    <a:pt x="141" y="142"/>
                    <a:pt x="141" y="142"/>
                    <a:pt x="141" y="142"/>
                  </a:cubicBezTo>
                  <a:cubicBezTo>
                    <a:pt x="143" y="137"/>
                    <a:pt x="143" y="137"/>
                    <a:pt x="143" y="137"/>
                  </a:cubicBezTo>
                  <a:cubicBezTo>
                    <a:pt x="143" y="172"/>
                    <a:pt x="143" y="172"/>
                    <a:pt x="143" y="172"/>
                  </a:cubicBezTo>
                  <a:cubicBezTo>
                    <a:pt x="140" y="180"/>
                    <a:pt x="140" y="180"/>
                    <a:pt x="140" y="180"/>
                  </a:cubicBezTo>
                  <a:cubicBezTo>
                    <a:pt x="143" y="181"/>
                    <a:pt x="143" y="181"/>
                    <a:pt x="143" y="181"/>
                  </a:cubicBezTo>
                  <a:lnTo>
                    <a:pt x="143" y="242"/>
                  </a:lnTo>
                  <a:close/>
                  <a:moveTo>
                    <a:pt x="96" y="11"/>
                  </a:moveTo>
                  <a:cubicBezTo>
                    <a:pt x="119" y="19"/>
                    <a:pt x="119" y="19"/>
                    <a:pt x="119" y="19"/>
                  </a:cubicBezTo>
                  <a:cubicBezTo>
                    <a:pt x="119" y="42"/>
                    <a:pt x="119" y="42"/>
                    <a:pt x="119" y="42"/>
                  </a:cubicBezTo>
                  <a:cubicBezTo>
                    <a:pt x="110" y="39"/>
                    <a:pt x="110" y="39"/>
                    <a:pt x="110" y="39"/>
                  </a:cubicBezTo>
                  <a:cubicBezTo>
                    <a:pt x="108" y="44"/>
                    <a:pt x="106" y="49"/>
                    <a:pt x="105" y="54"/>
                  </a:cubicBezTo>
                  <a:cubicBezTo>
                    <a:pt x="119" y="59"/>
                    <a:pt x="119" y="59"/>
                    <a:pt x="119" y="59"/>
                  </a:cubicBezTo>
                  <a:cubicBezTo>
                    <a:pt x="119" y="126"/>
                    <a:pt x="119" y="126"/>
                    <a:pt x="119" y="126"/>
                  </a:cubicBezTo>
                  <a:cubicBezTo>
                    <a:pt x="117" y="134"/>
                    <a:pt x="117" y="134"/>
                    <a:pt x="117" y="134"/>
                  </a:cubicBezTo>
                  <a:cubicBezTo>
                    <a:pt x="119" y="135"/>
                    <a:pt x="119" y="135"/>
                    <a:pt x="119" y="135"/>
                  </a:cubicBezTo>
                  <a:cubicBezTo>
                    <a:pt x="119" y="156"/>
                    <a:pt x="119" y="156"/>
                    <a:pt x="119" y="156"/>
                  </a:cubicBezTo>
                  <a:cubicBezTo>
                    <a:pt x="110" y="153"/>
                    <a:pt x="110" y="153"/>
                    <a:pt x="110" y="153"/>
                  </a:cubicBezTo>
                  <a:cubicBezTo>
                    <a:pt x="109" y="158"/>
                    <a:pt x="107" y="163"/>
                    <a:pt x="105" y="168"/>
                  </a:cubicBezTo>
                  <a:cubicBezTo>
                    <a:pt x="119" y="173"/>
                    <a:pt x="119" y="173"/>
                    <a:pt x="119" y="173"/>
                  </a:cubicBezTo>
                  <a:cubicBezTo>
                    <a:pt x="119" y="194"/>
                    <a:pt x="119" y="194"/>
                    <a:pt x="119" y="194"/>
                  </a:cubicBezTo>
                  <a:cubicBezTo>
                    <a:pt x="99" y="187"/>
                    <a:pt x="99" y="187"/>
                    <a:pt x="99" y="187"/>
                  </a:cubicBezTo>
                  <a:cubicBezTo>
                    <a:pt x="96" y="195"/>
                    <a:pt x="96" y="195"/>
                    <a:pt x="96" y="195"/>
                  </a:cubicBezTo>
                  <a:cubicBezTo>
                    <a:pt x="96" y="128"/>
                    <a:pt x="96" y="128"/>
                    <a:pt x="96" y="128"/>
                  </a:cubicBezTo>
                  <a:cubicBezTo>
                    <a:pt x="106" y="131"/>
                    <a:pt x="106" y="131"/>
                    <a:pt x="106" y="131"/>
                  </a:cubicBezTo>
                  <a:cubicBezTo>
                    <a:pt x="108" y="126"/>
                    <a:pt x="110" y="120"/>
                    <a:pt x="111" y="115"/>
                  </a:cubicBezTo>
                  <a:cubicBezTo>
                    <a:pt x="96" y="110"/>
                    <a:pt x="96" y="110"/>
                    <a:pt x="96" y="110"/>
                  </a:cubicBezTo>
                  <a:cubicBezTo>
                    <a:pt x="96" y="43"/>
                    <a:pt x="96" y="43"/>
                    <a:pt x="96" y="43"/>
                  </a:cubicBezTo>
                  <a:cubicBezTo>
                    <a:pt x="99" y="35"/>
                    <a:pt x="99" y="35"/>
                    <a:pt x="99" y="35"/>
                  </a:cubicBezTo>
                  <a:cubicBezTo>
                    <a:pt x="96" y="34"/>
                    <a:pt x="96" y="34"/>
                    <a:pt x="96" y="34"/>
                  </a:cubicBezTo>
                  <a:cubicBezTo>
                    <a:pt x="96" y="11"/>
                    <a:pt x="96" y="11"/>
                    <a:pt x="96" y="11"/>
                  </a:cubicBezTo>
                  <a:close/>
                  <a:moveTo>
                    <a:pt x="119" y="235"/>
                  </a:moveTo>
                  <a:cubicBezTo>
                    <a:pt x="99" y="228"/>
                    <a:pt x="99" y="228"/>
                    <a:pt x="99" y="228"/>
                  </a:cubicBezTo>
                  <a:cubicBezTo>
                    <a:pt x="96" y="227"/>
                    <a:pt x="96" y="227"/>
                    <a:pt x="96" y="227"/>
                  </a:cubicBezTo>
                  <a:cubicBezTo>
                    <a:pt x="96" y="203"/>
                    <a:pt x="96" y="203"/>
                    <a:pt x="96" y="203"/>
                  </a:cubicBezTo>
                  <a:cubicBezTo>
                    <a:pt x="118" y="211"/>
                    <a:pt x="118" y="211"/>
                    <a:pt x="118" y="211"/>
                  </a:cubicBezTo>
                  <a:cubicBezTo>
                    <a:pt x="119" y="207"/>
                    <a:pt x="119" y="207"/>
                    <a:pt x="119" y="207"/>
                  </a:cubicBezTo>
                  <a:lnTo>
                    <a:pt x="119" y="235"/>
                  </a:lnTo>
                  <a:close/>
                  <a:moveTo>
                    <a:pt x="73" y="3"/>
                  </a:moveTo>
                  <a:cubicBezTo>
                    <a:pt x="96" y="11"/>
                    <a:pt x="96" y="11"/>
                    <a:pt x="96" y="11"/>
                  </a:cubicBezTo>
                  <a:cubicBezTo>
                    <a:pt x="96" y="34"/>
                    <a:pt x="96" y="34"/>
                    <a:pt x="96" y="34"/>
                  </a:cubicBezTo>
                  <a:cubicBezTo>
                    <a:pt x="75" y="27"/>
                    <a:pt x="75" y="27"/>
                    <a:pt x="75" y="27"/>
                  </a:cubicBezTo>
                  <a:cubicBezTo>
                    <a:pt x="73" y="33"/>
                    <a:pt x="73" y="33"/>
                    <a:pt x="73" y="33"/>
                  </a:cubicBezTo>
                  <a:cubicBezTo>
                    <a:pt x="73" y="3"/>
                    <a:pt x="73" y="3"/>
                    <a:pt x="73" y="3"/>
                  </a:cubicBezTo>
                  <a:close/>
                  <a:moveTo>
                    <a:pt x="96" y="227"/>
                  </a:moveTo>
                  <a:cubicBezTo>
                    <a:pt x="73" y="219"/>
                    <a:pt x="73" y="219"/>
                    <a:pt x="73" y="219"/>
                  </a:cubicBezTo>
                  <a:cubicBezTo>
                    <a:pt x="73" y="195"/>
                    <a:pt x="73" y="195"/>
                    <a:pt x="73" y="195"/>
                  </a:cubicBezTo>
                  <a:cubicBezTo>
                    <a:pt x="83" y="199"/>
                    <a:pt x="83" y="199"/>
                    <a:pt x="83" y="199"/>
                  </a:cubicBezTo>
                  <a:cubicBezTo>
                    <a:pt x="85" y="194"/>
                    <a:pt x="87" y="189"/>
                    <a:pt x="88" y="184"/>
                  </a:cubicBezTo>
                  <a:cubicBezTo>
                    <a:pt x="73" y="178"/>
                    <a:pt x="73" y="178"/>
                    <a:pt x="73" y="178"/>
                  </a:cubicBezTo>
                  <a:cubicBezTo>
                    <a:pt x="73" y="82"/>
                    <a:pt x="73" y="82"/>
                    <a:pt x="73" y="82"/>
                  </a:cubicBezTo>
                  <a:cubicBezTo>
                    <a:pt x="83" y="85"/>
                    <a:pt x="83" y="85"/>
                    <a:pt x="83" y="85"/>
                  </a:cubicBezTo>
                  <a:cubicBezTo>
                    <a:pt x="84" y="80"/>
                    <a:pt x="86" y="75"/>
                    <a:pt x="88" y="69"/>
                  </a:cubicBezTo>
                  <a:cubicBezTo>
                    <a:pt x="73" y="64"/>
                    <a:pt x="73" y="64"/>
                    <a:pt x="73" y="64"/>
                  </a:cubicBezTo>
                  <a:cubicBezTo>
                    <a:pt x="73" y="44"/>
                    <a:pt x="73" y="44"/>
                    <a:pt x="73" y="44"/>
                  </a:cubicBezTo>
                  <a:cubicBezTo>
                    <a:pt x="94" y="51"/>
                    <a:pt x="94" y="51"/>
                    <a:pt x="94" y="51"/>
                  </a:cubicBezTo>
                  <a:cubicBezTo>
                    <a:pt x="96" y="43"/>
                    <a:pt x="96" y="43"/>
                    <a:pt x="96" y="43"/>
                  </a:cubicBezTo>
                  <a:cubicBezTo>
                    <a:pt x="96" y="110"/>
                    <a:pt x="96" y="110"/>
                    <a:pt x="96" y="110"/>
                  </a:cubicBezTo>
                  <a:cubicBezTo>
                    <a:pt x="87" y="107"/>
                    <a:pt x="87" y="107"/>
                    <a:pt x="87" y="107"/>
                  </a:cubicBezTo>
                  <a:cubicBezTo>
                    <a:pt x="85" y="112"/>
                    <a:pt x="83" y="117"/>
                    <a:pt x="82" y="123"/>
                  </a:cubicBezTo>
                  <a:cubicBezTo>
                    <a:pt x="96" y="128"/>
                    <a:pt x="96" y="128"/>
                    <a:pt x="96" y="128"/>
                  </a:cubicBezTo>
                  <a:cubicBezTo>
                    <a:pt x="96" y="195"/>
                    <a:pt x="96" y="195"/>
                    <a:pt x="96" y="195"/>
                  </a:cubicBezTo>
                  <a:cubicBezTo>
                    <a:pt x="94" y="202"/>
                    <a:pt x="94" y="202"/>
                    <a:pt x="94" y="202"/>
                  </a:cubicBezTo>
                  <a:cubicBezTo>
                    <a:pt x="96" y="203"/>
                    <a:pt x="96" y="203"/>
                    <a:pt x="96" y="203"/>
                  </a:cubicBezTo>
                  <a:lnTo>
                    <a:pt x="96" y="227"/>
                  </a:lnTo>
                  <a:close/>
                  <a:moveTo>
                    <a:pt x="39" y="81"/>
                  </a:moveTo>
                  <a:cubicBezTo>
                    <a:pt x="65" y="0"/>
                    <a:pt x="65" y="0"/>
                    <a:pt x="65" y="0"/>
                  </a:cubicBezTo>
                  <a:cubicBezTo>
                    <a:pt x="73" y="3"/>
                    <a:pt x="73" y="3"/>
                    <a:pt x="73" y="3"/>
                  </a:cubicBezTo>
                  <a:cubicBezTo>
                    <a:pt x="73" y="33"/>
                    <a:pt x="73" y="33"/>
                    <a:pt x="73" y="33"/>
                  </a:cubicBezTo>
                  <a:cubicBezTo>
                    <a:pt x="69" y="43"/>
                    <a:pt x="69" y="43"/>
                    <a:pt x="69" y="43"/>
                  </a:cubicBezTo>
                  <a:cubicBezTo>
                    <a:pt x="73" y="44"/>
                    <a:pt x="73" y="44"/>
                    <a:pt x="73" y="44"/>
                  </a:cubicBezTo>
                  <a:cubicBezTo>
                    <a:pt x="73" y="64"/>
                    <a:pt x="73" y="64"/>
                    <a:pt x="73" y="64"/>
                  </a:cubicBezTo>
                  <a:cubicBezTo>
                    <a:pt x="63" y="61"/>
                    <a:pt x="63" y="61"/>
                    <a:pt x="63" y="61"/>
                  </a:cubicBezTo>
                  <a:cubicBezTo>
                    <a:pt x="62" y="66"/>
                    <a:pt x="60" y="72"/>
                    <a:pt x="58" y="77"/>
                  </a:cubicBezTo>
                  <a:cubicBezTo>
                    <a:pt x="73" y="82"/>
                    <a:pt x="73" y="82"/>
                    <a:pt x="73" y="82"/>
                  </a:cubicBezTo>
                  <a:cubicBezTo>
                    <a:pt x="73" y="178"/>
                    <a:pt x="73" y="178"/>
                    <a:pt x="73" y="178"/>
                  </a:cubicBezTo>
                  <a:cubicBezTo>
                    <a:pt x="64" y="175"/>
                    <a:pt x="64" y="175"/>
                    <a:pt x="64" y="175"/>
                  </a:cubicBezTo>
                  <a:cubicBezTo>
                    <a:pt x="62" y="181"/>
                    <a:pt x="60" y="186"/>
                    <a:pt x="59" y="191"/>
                  </a:cubicBezTo>
                  <a:cubicBezTo>
                    <a:pt x="73" y="195"/>
                    <a:pt x="73" y="195"/>
                    <a:pt x="73" y="195"/>
                  </a:cubicBezTo>
                  <a:cubicBezTo>
                    <a:pt x="73" y="219"/>
                    <a:pt x="73" y="219"/>
                    <a:pt x="73" y="219"/>
                  </a:cubicBezTo>
                  <a:cubicBezTo>
                    <a:pt x="39" y="207"/>
                    <a:pt x="39" y="207"/>
                    <a:pt x="39" y="207"/>
                  </a:cubicBezTo>
                  <a:cubicBezTo>
                    <a:pt x="39" y="184"/>
                    <a:pt x="39" y="184"/>
                    <a:pt x="39" y="184"/>
                  </a:cubicBezTo>
                  <a:cubicBezTo>
                    <a:pt x="48" y="187"/>
                    <a:pt x="48" y="187"/>
                    <a:pt x="48" y="187"/>
                  </a:cubicBezTo>
                  <a:cubicBezTo>
                    <a:pt x="50" y="182"/>
                    <a:pt x="52" y="177"/>
                    <a:pt x="53" y="172"/>
                  </a:cubicBezTo>
                  <a:cubicBezTo>
                    <a:pt x="39" y="167"/>
                    <a:pt x="39" y="167"/>
                    <a:pt x="39" y="167"/>
                  </a:cubicBezTo>
                  <a:cubicBezTo>
                    <a:pt x="39" y="146"/>
                    <a:pt x="39" y="146"/>
                    <a:pt x="39" y="146"/>
                  </a:cubicBezTo>
                  <a:cubicBezTo>
                    <a:pt x="60" y="153"/>
                    <a:pt x="60" y="153"/>
                    <a:pt x="60" y="153"/>
                  </a:cubicBezTo>
                  <a:cubicBezTo>
                    <a:pt x="61" y="148"/>
                    <a:pt x="63" y="143"/>
                    <a:pt x="65" y="138"/>
                  </a:cubicBezTo>
                  <a:cubicBezTo>
                    <a:pt x="57" y="135"/>
                    <a:pt x="49" y="132"/>
                    <a:pt x="40" y="129"/>
                  </a:cubicBezTo>
                  <a:cubicBezTo>
                    <a:pt x="39" y="135"/>
                    <a:pt x="39" y="135"/>
                    <a:pt x="39" y="135"/>
                  </a:cubicBezTo>
                  <a:lnTo>
                    <a:pt x="39" y="81"/>
                  </a:lnTo>
                  <a:close/>
                  <a:moveTo>
                    <a:pt x="0" y="195"/>
                  </a:moveTo>
                  <a:cubicBezTo>
                    <a:pt x="39" y="81"/>
                    <a:pt x="39" y="81"/>
                    <a:pt x="39" y="81"/>
                  </a:cubicBezTo>
                  <a:cubicBezTo>
                    <a:pt x="39" y="135"/>
                    <a:pt x="39" y="135"/>
                    <a:pt x="39" y="135"/>
                  </a:cubicBezTo>
                  <a:cubicBezTo>
                    <a:pt x="35" y="145"/>
                    <a:pt x="35" y="145"/>
                    <a:pt x="35" y="145"/>
                  </a:cubicBezTo>
                  <a:cubicBezTo>
                    <a:pt x="39" y="146"/>
                    <a:pt x="39" y="146"/>
                    <a:pt x="39" y="146"/>
                  </a:cubicBezTo>
                  <a:cubicBezTo>
                    <a:pt x="39" y="167"/>
                    <a:pt x="39" y="167"/>
                    <a:pt x="39" y="167"/>
                  </a:cubicBezTo>
                  <a:cubicBezTo>
                    <a:pt x="29" y="164"/>
                    <a:pt x="29" y="164"/>
                    <a:pt x="29" y="164"/>
                  </a:cubicBezTo>
                  <a:cubicBezTo>
                    <a:pt x="27" y="169"/>
                    <a:pt x="25" y="174"/>
                    <a:pt x="24" y="179"/>
                  </a:cubicBezTo>
                  <a:cubicBezTo>
                    <a:pt x="39" y="184"/>
                    <a:pt x="39" y="184"/>
                    <a:pt x="39" y="184"/>
                  </a:cubicBezTo>
                  <a:cubicBezTo>
                    <a:pt x="39" y="207"/>
                    <a:pt x="39" y="207"/>
                    <a:pt x="39" y="207"/>
                  </a:cubicBezTo>
                  <a:lnTo>
                    <a:pt x="0" y="195"/>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6" name="iśḻîdè">
              <a:extLst>
                <a:ext uri="{FF2B5EF4-FFF2-40B4-BE49-F238E27FC236}">
                  <a16:creationId xmlns:a16="http://schemas.microsoft.com/office/drawing/2014/main" id="{A0F0B936-DD60-4DD8-95C9-6E2B6FDDB2CD}"/>
                </a:ext>
              </a:extLst>
            </p:cNvPr>
            <p:cNvSpPr/>
            <p:nvPr/>
          </p:nvSpPr>
          <p:spPr bwMode="auto">
            <a:xfrm flipH="1">
              <a:off x="2251617" y="2019694"/>
              <a:ext cx="290271" cy="182750"/>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8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1"/>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8"/>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7" name="iṧlîďê">
              <a:extLst>
                <a:ext uri="{FF2B5EF4-FFF2-40B4-BE49-F238E27FC236}">
                  <a16:creationId xmlns:a16="http://schemas.microsoft.com/office/drawing/2014/main" id="{485F2CED-B0C3-47F5-804D-4C834C63CB6F}"/>
                </a:ext>
              </a:extLst>
            </p:cNvPr>
            <p:cNvSpPr/>
            <p:nvPr/>
          </p:nvSpPr>
          <p:spPr bwMode="auto">
            <a:xfrm flipH="1">
              <a:off x="2671938" y="1818669"/>
              <a:ext cx="234090" cy="148231"/>
            </a:xfrm>
            <a:custGeom>
              <a:avLst/>
              <a:gdLst>
                <a:gd name="T0" fmla="*/ 98 w 140"/>
                <a:gd name="T1" fmla="*/ 11 h 91"/>
                <a:gd name="T2" fmla="*/ 140 w 140"/>
                <a:gd name="T3" fmla="*/ 42 h 91"/>
                <a:gd name="T4" fmla="*/ 98 w 140"/>
                <a:gd name="T5" fmla="*/ 73 h 91"/>
                <a:gd name="T6" fmla="*/ 82 w 140"/>
                <a:gd name="T7" fmla="*/ 71 h 91"/>
                <a:gd name="T8" fmla="*/ 42 w 140"/>
                <a:gd name="T9" fmla="*/ 91 h 91"/>
                <a:gd name="T10" fmla="*/ 0 w 140"/>
                <a:gd name="T11" fmla="*/ 59 h 91"/>
                <a:gd name="T12" fmla="*/ 9 w 140"/>
                <a:gd name="T13" fmla="*/ 40 h 91"/>
                <a:gd name="T14" fmla="*/ 7 w 140"/>
                <a:gd name="T15" fmla="*/ 31 h 91"/>
                <a:gd name="T16" fmla="*/ 50 w 140"/>
                <a:gd name="T17" fmla="*/ 0 h 91"/>
                <a:gd name="T18" fmla="*/ 84 w 140"/>
                <a:gd name="T19" fmla="*/ 13 h 91"/>
                <a:gd name="T20" fmla="*/ 98 w 140"/>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91">
                  <a:moveTo>
                    <a:pt x="98" y="11"/>
                  </a:moveTo>
                  <a:cubicBezTo>
                    <a:pt x="121" y="11"/>
                    <a:pt x="140" y="25"/>
                    <a:pt x="140" y="42"/>
                  </a:cubicBezTo>
                  <a:cubicBezTo>
                    <a:pt x="140" y="59"/>
                    <a:pt x="121" y="73"/>
                    <a:pt x="98" y="73"/>
                  </a:cubicBezTo>
                  <a:cubicBezTo>
                    <a:pt x="92" y="73"/>
                    <a:pt x="87" y="73"/>
                    <a:pt x="82" y="71"/>
                  </a:cubicBezTo>
                  <a:cubicBezTo>
                    <a:pt x="75" y="82"/>
                    <a:pt x="60" y="91"/>
                    <a:pt x="42" y="91"/>
                  </a:cubicBezTo>
                  <a:cubicBezTo>
                    <a:pt x="19" y="91"/>
                    <a:pt x="0" y="77"/>
                    <a:pt x="0" y="59"/>
                  </a:cubicBezTo>
                  <a:cubicBezTo>
                    <a:pt x="0" y="52"/>
                    <a:pt x="3" y="45"/>
                    <a:pt x="9" y="40"/>
                  </a:cubicBezTo>
                  <a:cubicBezTo>
                    <a:pt x="8" y="37"/>
                    <a:pt x="7" y="34"/>
                    <a:pt x="7" y="31"/>
                  </a:cubicBezTo>
                  <a:cubicBezTo>
                    <a:pt x="7" y="14"/>
                    <a:pt x="26" y="0"/>
                    <a:pt x="50" y="0"/>
                  </a:cubicBezTo>
                  <a:cubicBezTo>
                    <a:pt x="64" y="0"/>
                    <a:pt x="77" y="5"/>
                    <a:pt x="84" y="13"/>
                  </a:cubicBezTo>
                  <a:cubicBezTo>
                    <a:pt x="89" y="12"/>
                    <a:pt x="93" y="11"/>
                    <a:pt x="98"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8" name="iŝļïḓé">
              <a:extLst>
                <a:ext uri="{FF2B5EF4-FFF2-40B4-BE49-F238E27FC236}">
                  <a16:creationId xmlns:a16="http://schemas.microsoft.com/office/drawing/2014/main" id="{27C1B33D-4F29-4AB5-AECC-1A96861B40AE}"/>
                </a:ext>
              </a:extLst>
            </p:cNvPr>
            <p:cNvSpPr/>
            <p:nvPr/>
          </p:nvSpPr>
          <p:spPr bwMode="auto">
            <a:xfrm flipH="1">
              <a:off x="3919376" y="1760798"/>
              <a:ext cx="289231" cy="183765"/>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9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2"/>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9"/>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9" name="îsliďè">
              <a:extLst>
                <a:ext uri="{FF2B5EF4-FFF2-40B4-BE49-F238E27FC236}">
                  <a16:creationId xmlns:a16="http://schemas.microsoft.com/office/drawing/2014/main" id="{EC04BD24-D9B4-42D3-A6B8-05BCB0B10A63}"/>
                </a:ext>
              </a:extLst>
            </p:cNvPr>
            <p:cNvSpPr/>
            <p:nvPr/>
          </p:nvSpPr>
          <p:spPr bwMode="auto">
            <a:xfrm flipH="1">
              <a:off x="4182597" y="1971976"/>
              <a:ext cx="235130" cy="148231"/>
            </a:xfrm>
            <a:custGeom>
              <a:avLst/>
              <a:gdLst>
                <a:gd name="T0" fmla="*/ 99 w 141"/>
                <a:gd name="T1" fmla="*/ 11 h 91"/>
                <a:gd name="T2" fmla="*/ 141 w 141"/>
                <a:gd name="T3" fmla="*/ 42 h 91"/>
                <a:gd name="T4" fmla="*/ 99 w 141"/>
                <a:gd name="T5" fmla="*/ 73 h 91"/>
                <a:gd name="T6" fmla="*/ 82 w 141"/>
                <a:gd name="T7" fmla="*/ 71 h 91"/>
                <a:gd name="T8" fmla="*/ 43 w 141"/>
                <a:gd name="T9" fmla="*/ 91 h 91"/>
                <a:gd name="T10" fmla="*/ 0 w 141"/>
                <a:gd name="T11" fmla="*/ 59 h 91"/>
                <a:gd name="T12" fmla="*/ 10 w 141"/>
                <a:gd name="T13" fmla="*/ 40 h 91"/>
                <a:gd name="T14" fmla="*/ 8 w 141"/>
                <a:gd name="T15" fmla="*/ 31 h 91"/>
                <a:gd name="T16" fmla="*/ 50 w 141"/>
                <a:gd name="T17" fmla="*/ 0 h 91"/>
                <a:gd name="T18" fmla="*/ 85 w 141"/>
                <a:gd name="T19" fmla="*/ 13 h 91"/>
                <a:gd name="T20" fmla="*/ 99 w 141"/>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91">
                  <a:moveTo>
                    <a:pt x="99" y="11"/>
                  </a:moveTo>
                  <a:cubicBezTo>
                    <a:pt x="122" y="11"/>
                    <a:pt x="141" y="25"/>
                    <a:pt x="141" y="42"/>
                  </a:cubicBezTo>
                  <a:cubicBezTo>
                    <a:pt x="141" y="60"/>
                    <a:pt x="122" y="73"/>
                    <a:pt x="99" y="73"/>
                  </a:cubicBezTo>
                  <a:cubicBezTo>
                    <a:pt x="93" y="73"/>
                    <a:pt x="87" y="73"/>
                    <a:pt x="82" y="71"/>
                  </a:cubicBezTo>
                  <a:cubicBezTo>
                    <a:pt x="76" y="83"/>
                    <a:pt x="61" y="91"/>
                    <a:pt x="43" y="91"/>
                  </a:cubicBezTo>
                  <a:cubicBezTo>
                    <a:pt x="19" y="91"/>
                    <a:pt x="0" y="77"/>
                    <a:pt x="0" y="59"/>
                  </a:cubicBezTo>
                  <a:cubicBezTo>
                    <a:pt x="0" y="52"/>
                    <a:pt x="4" y="45"/>
                    <a:pt x="10" y="40"/>
                  </a:cubicBezTo>
                  <a:cubicBezTo>
                    <a:pt x="8" y="37"/>
                    <a:pt x="8" y="34"/>
                    <a:pt x="8" y="31"/>
                  </a:cubicBezTo>
                  <a:cubicBezTo>
                    <a:pt x="8" y="14"/>
                    <a:pt x="27" y="0"/>
                    <a:pt x="50" y="0"/>
                  </a:cubicBezTo>
                  <a:cubicBezTo>
                    <a:pt x="65" y="0"/>
                    <a:pt x="77" y="5"/>
                    <a:pt x="85" y="13"/>
                  </a:cubicBezTo>
                  <a:cubicBezTo>
                    <a:pt x="89" y="12"/>
                    <a:pt x="94" y="11"/>
                    <a:pt x="99"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91" name="işḻîḍe">
            <a:extLst>
              <a:ext uri="{FF2B5EF4-FFF2-40B4-BE49-F238E27FC236}">
                <a16:creationId xmlns:a16="http://schemas.microsoft.com/office/drawing/2014/main" id="{55F84246-DE96-4F18-A86C-755445C7966C}"/>
              </a:ext>
            </a:extLst>
          </p:cNvPr>
          <p:cNvSpPr/>
          <p:nvPr/>
        </p:nvSpPr>
        <p:spPr bwMode="auto">
          <a:xfrm flipH="1">
            <a:off x="1913489" y="2580127"/>
            <a:ext cx="2953691" cy="3495603"/>
          </a:xfrm>
          <a:custGeom>
            <a:avLst/>
            <a:gdLst>
              <a:gd name="T0" fmla="*/ 0 w 1764"/>
              <a:gd name="T1" fmla="*/ 564 h 2140"/>
              <a:gd name="T2" fmla="*/ 153 w 1764"/>
              <a:gd name="T3" fmla="*/ 803 h 2140"/>
              <a:gd name="T4" fmla="*/ 345 w 1764"/>
              <a:gd name="T5" fmla="*/ 594 h 2140"/>
              <a:gd name="T6" fmla="*/ 239 w 1764"/>
              <a:gd name="T7" fmla="*/ 585 h 2140"/>
              <a:gd name="T8" fmla="*/ 241 w 1764"/>
              <a:gd name="T9" fmla="*/ 567 h 2140"/>
              <a:gd name="T10" fmla="*/ 610 w 1764"/>
              <a:gd name="T11" fmla="*/ 79 h 2140"/>
              <a:gd name="T12" fmla="*/ 1428 w 1764"/>
              <a:gd name="T13" fmla="*/ 464 h 2140"/>
              <a:gd name="T14" fmla="*/ 1445 w 1764"/>
              <a:gd name="T15" fmla="*/ 533 h 2140"/>
              <a:gd name="T16" fmla="*/ 1454 w 1764"/>
              <a:gd name="T17" fmla="*/ 624 h 2140"/>
              <a:gd name="T18" fmla="*/ 1436 w 1764"/>
              <a:gd name="T19" fmla="*/ 839 h 2140"/>
              <a:gd name="T20" fmla="*/ 1335 w 1764"/>
              <a:gd name="T21" fmla="*/ 1060 h 2140"/>
              <a:gd name="T22" fmla="*/ 1173 w 1764"/>
              <a:gd name="T23" fmla="*/ 1173 h 2140"/>
              <a:gd name="T24" fmla="*/ 968 w 1764"/>
              <a:gd name="T25" fmla="*/ 1232 h 2140"/>
              <a:gd name="T26" fmla="*/ 759 w 1764"/>
              <a:gd name="T27" fmla="*/ 1331 h 2140"/>
              <a:gd name="T28" fmla="*/ 314 w 1764"/>
              <a:gd name="T29" fmla="*/ 2135 h 2140"/>
              <a:gd name="T30" fmla="*/ 656 w 1764"/>
              <a:gd name="T31" fmla="*/ 1947 h 2140"/>
              <a:gd name="T32" fmla="*/ 945 w 1764"/>
              <a:gd name="T33" fmla="*/ 2140 h 2140"/>
              <a:gd name="T34" fmla="*/ 974 w 1764"/>
              <a:gd name="T35" fmla="*/ 2019 h 2140"/>
              <a:gd name="T36" fmla="*/ 1030 w 1764"/>
              <a:gd name="T37" fmla="*/ 1865 h 2140"/>
              <a:gd name="T38" fmla="*/ 1105 w 1764"/>
              <a:gd name="T39" fmla="*/ 1739 h 2140"/>
              <a:gd name="T40" fmla="*/ 1189 w 1764"/>
              <a:gd name="T41" fmla="*/ 1702 h 2140"/>
              <a:gd name="T42" fmla="*/ 1247 w 1764"/>
              <a:gd name="T43" fmla="*/ 1709 h 2140"/>
              <a:gd name="T44" fmla="*/ 1539 w 1764"/>
              <a:gd name="T45" fmla="*/ 1727 h 2140"/>
              <a:gd name="T46" fmla="*/ 1573 w 1764"/>
              <a:gd name="T47" fmla="*/ 1687 h 2140"/>
              <a:gd name="T48" fmla="*/ 1576 w 1764"/>
              <a:gd name="T49" fmla="*/ 1634 h 2140"/>
              <a:gd name="T50" fmla="*/ 1576 w 1764"/>
              <a:gd name="T51" fmla="*/ 1580 h 2140"/>
              <a:gd name="T52" fmla="*/ 1608 w 1764"/>
              <a:gd name="T53" fmla="*/ 1529 h 2140"/>
              <a:gd name="T54" fmla="*/ 1628 w 1764"/>
              <a:gd name="T55" fmla="*/ 1524 h 2140"/>
              <a:gd name="T56" fmla="*/ 1643 w 1764"/>
              <a:gd name="T57" fmla="*/ 1517 h 2140"/>
              <a:gd name="T58" fmla="*/ 1627 w 1764"/>
              <a:gd name="T59" fmla="*/ 1463 h 2140"/>
              <a:gd name="T60" fmla="*/ 1618 w 1764"/>
              <a:gd name="T61" fmla="*/ 1451 h 2140"/>
              <a:gd name="T62" fmla="*/ 1629 w 1764"/>
              <a:gd name="T63" fmla="*/ 1441 h 2140"/>
              <a:gd name="T64" fmla="*/ 1649 w 1764"/>
              <a:gd name="T65" fmla="*/ 1412 h 2140"/>
              <a:gd name="T66" fmla="*/ 1653 w 1764"/>
              <a:gd name="T67" fmla="*/ 1400 h 2140"/>
              <a:gd name="T68" fmla="*/ 1636 w 1764"/>
              <a:gd name="T69" fmla="*/ 1354 h 2140"/>
              <a:gd name="T70" fmla="*/ 1632 w 1764"/>
              <a:gd name="T71" fmla="*/ 1324 h 2140"/>
              <a:gd name="T72" fmla="*/ 1674 w 1764"/>
              <a:gd name="T73" fmla="*/ 1284 h 2140"/>
              <a:gd name="T74" fmla="*/ 1739 w 1764"/>
              <a:gd name="T75" fmla="*/ 1245 h 2140"/>
              <a:gd name="T76" fmla="*/ 1763 w 1764"/>
              <a:gd name="T77" fmla="*/ 1216 h 2140"/>
              <a:gd name="T78" fmla="*/ 1748 w 1764"/>
              <a:gd name="T79" fmla="*/ 1174 h 2140"/>
              <a:gd name="T80" fmla="*/ 1696 w 1764"/>
              <a:gd name="T81" fmla="*/ 1107 h 2140"/>
              <a:gd name="T82" fmla="*/ 1623 w 1764"/>
              <a:gd name="T83" fmla="*/ 829 h 2140"/>
              <a:gd name="T84" fmla="*/ 1635 w 1764"/>
              <a:gd name="T85" fmla="*/ 704 h 2140"/>
              <a:gd name="T86" fmla="*/ 1620 w 1764"/>
              <a:gd name="T87" fmla="*/ 563 h 2140"/>
              <a:gd name="T88" fmla="*/ 1569 w 1764"/>
              <a:gd name="T89" fmla="*/ 440 h 2140"/>
              <a:gd name="T90" fmla="*/ 1471 w 1764"/>
              <a:gd name="T91" fmla="*/ 298 h 2140"/>
              <a:gd name="T92" fmla="*/ 1365 w 1764"/>
              <a:gd name="T93" fmla="*/ 192 h 2140"/>
              <a:gd name="T94" fmla="*/ 959 w 1764"/>
              <a:gd name="T95" fmla="*/ 30 h 2140"/>
              <a:gd name="T96" fmla="*/ 425 w 1764"/>
              <a:gd name="T97" fmla="*/ 111 h 2140"/>
              <a:gd name="T98" fmla="*/ 98 w 1764"/>
              <a:gd name="T99" fmla="*/ 557 h 2140"/>
              <a:gd name="T100" fmla="*/ 95 w 1764"/>
              <a:gd name="T101" fmla="*/ 572 h 2140"/>
              <a:gd name="T102" fmla="*/ 0 w 1764"/>
              <a:gd name="T103" fmla="*/ 564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64" h="2140">
                <a:moveTo>
                  <a:pt x="0" y="564"/>
                </a:moveTo>
                <a:cubicBezTo>
                  <a:pt x="153" y="803"/>
                  <a:pt x="153" y="803"/>
                  <a:pt x="153" y="803"/>
                </a:cubicBezTo>
                <a:cubicBezTo>
                  <a:pt x="345" y="594"/>
                  <a:pt x="345" y="594"/>
                  <a:pt x="345" y="594"/>
                </a:cubicBezTo>
                <a:cubicBezTo>
                  <a:pt x="239" y="585"/>
                  <a:pt x="239" y="585"/>
                  <a:pt x="239" y="585"/>
                </a:cubicBezTo>
                <a:cubicBezTo>
                  <a:pt x="241" y="567"/>
                  <a:pt x="241" y="567"/>
                  <a:pt x="241" y="567"/>
                </a:cubicBezTo>
                <a:cubicBezTo>
                  <a:pt x="265" y="337"/>
                  <a:pt x="371" y="134"/>
                  <a:pt x="610" y="79"/>
                </a:cubicBezTo>
                <a:cubicBezTo>
                  <a:pt x="952" y="0"/>
                  <a:pt x="1303" y="112"/>
                  <a:pt x="1428" y="464"/>
                </a:cubicBezTo>
                <a:cubicBezTo>
                  <a:pt x="1436" y="486"/>
                  <a:pt x="1441" y="510"/>
                  <a:pt x="1445" y="533"/>
                </a:cubicBezTo>
                <a:cubicBezTo>
                  <a:pt x="1450" y="563"/>
                  <a:pt x="1453" y="594"/>
                  <a:pt x="1454" y="624"/>
                </a:cubicBezTo>
                <a:cubicBezTo>
                  <a:pt x="1457" y="695"/>
                  <a:pt x="1451" y="769"/>
                  <a:pt x="1436" y="839"/>
                </a:cubicBezTo>
                <a:cubicBezTo>
                  <a:pt x="1419" y="918"/>
                  <a:pt x="1388" y="998"/>
                  <a:pt x="1335" y="1060"/>
                </a:cubicBezTo>
                <a:cubicBezTo>
                  <a:pt x="1290" y="1112"/>
                  <a:pt x="1237" y="1147"/>
                  <a:pt x="1173" y="1173"/>
                </a:cubicBezTo>
                <a:cubicBezTo>
                  <a:pt x="1107" y="1199"/>
                  <a:pt x="1036" y="1213"/>
                  <a:pt x="968" y="1232"/>
                </a:cubicBezTo>
                <a:cubicBezTo>
                  <a:pt x="891" y="1255"/>
                  <a:pt x="823" y="1283"/>
                  <a:pt x="759" y="1331"/>
                </a:cubicBezTo>
                <a:cubicBezTo>
                  <a:pt x="528" y="1503"/>
                  <a:pt x="387" y="1857"/>
                  <a:pt x="314" y="2135"/>
                </a:cubicBezTo>
                <a:cubicBezTo>
                  <a:pt x="656" y="1947"/>
                  <a:pt x="656" y="1947"/>
                  <a:pt x="656" y="1947"/>
                </a:cubicBezTo>
                <a:cubicBezTo>
                  <a:pt x="945" y="2140"/>
                  <a:pt x="945" y="2140"/>
                  <a:pt x="945" y="2140"/>
                </a:cubicBezTo>
                <a:cubicBezTo>
                  <a:pt x="951" y="2099"/>
                  <a:pt x="962" y="2058"/>
                  <a:pt x="974" y="2019"/>
                </a:cubicBezTo>
                <a:cubicBezTo>
                  <a:pt x="991" y="1967"/>
                  <a:pt x="1011" y="1916"/>
                  <a:pt x="1030" y="1865"/>
                </a:cubicBezTo>
                <a:cubicBezTo>
                  <a:pt x="1047" y="1821"/>
                  <a:pt x="1070" y="1771"/>
                  <a:pt x="1105" y="1739"/>
                </a:cubicBezTo>
                <a:cubicBezTo>
                  <a:pt x="1129" y="1716"/>
                  <a:pt x="1156" y="1703"/>
                  <a:pt x="1189" y="1702"/>
                </a:cubicBezTo>
                <a:cubicBezTo>
                  <a:pt x="1209" y="1702"/>
                  <a:pt x="1228" y="1705"/>
                  <a:pt x="1247" y="1709"/>
                </a:cubicBezTo>
                <a:cubicBezTo>
                  <a:pt x="1313" y="1725"/>
                  <a:pt x="1479" y="1762"/>
                  <a:pt x="1539" y="1727"/>
                </a:cubicBezTo>
                <a:cubicBezTo>
                  <a:pt x="1556" y="1718"/>
                  <a:pt x="1568" y="1706"/>
                  <a:pt x="1573" y="1687"/>
                </a:cubicBezTo>
                <a:cubicBezTo>
                  <a:pt x="1577" y="1670"/>
                  <a:pt x="1577" y="1651"/>
                  <a:pt x="1576" y="1634"/>
                </a:cubicBezTo>
                <a:cubicBezTo>
                  <a:pt x="1575" y="1616"/>
                  <a:pt x="1574" y="1598"/>
                  <a:pt x="1576" y="1580"/>
                </a:cubicBezTo>
                <a:cubicBezTo>
                  <a:pt x="1578" y="1558"/>
                  <a:pt x="1586" y="1538"/>
                  <a:pt x="1608" y="1529"/>
                </a:cubicBezTo>
                <a:cubicBezTo>
                  <a:pt x="1614" y="1527"/>
                  <a:pt x="1621" y="1525"/>
                  <a:pt x="1628" y="1524"/>
                </a:cubicBezTo>
                <a:cubicBezTo>
                  <a:pt x="1634" y="1523"/>
                  <a:pt x="1640" y="1521"/>
                  <a:pt x="1643" y="1517"/>
                </a:cubicBezTo>
                <a:cubicBezTo>
                  <a:pt x="1652" y="1505"/>
                  <a:pt x="1634" y="1473"/>
                  <a:pt x="1627" y="1463"/>
                </a:cubicBezTo>
                <a:cubicBezTo>
                  <a:pt x="1618" y="1451"/>
                  <a:pt x="1618" y="1451"/>
                  <a:pt x="1618" y="1451"/>
                </a:cubicBezTo>
                <a:cubicBezTo>
                  <a:pt x="1629" y="1441"/>
                  <a:pt x="1629" y="1441"/>
                  <a:pt x="1629" y="1441"/>
                </a:cubicBezTo>
                <a:cubicBezTo>
                  <a:pt x="1636" y="1433"/>
                  <a:pt x="1644" y="1421"/>
                  <a:pt x="1649" y="1412"/>
                </a:cubicBezTo>
                <a:cubicBezTo>
                  <a:pt x="1651" y="1409"/>
                  <a:pt x="1653" y="1405"/>
                  <a:pt x="1653" y="1400"/>
                </a:cubicBezTo>
                <a:cubicBezTo>
                  <a:pt x="1654" y="1388"/>
                  <a:pt x="1641" y="1365"/>
                  <a:pt x="1636" y="1354"/>
                </a:cubicBezTo>
                <a:cubicBezTo>
                  <a:pt x="1631" y="1345"/>
                  <a:pt x="1629" y="1334"/>
                  <a:pt x="1632" y="1324"/>
                </a:cubicBezTo>
                <a:cubicBezTo>
                  <a:pt x="1637" y="1304"/>
                  <a:pt x="1658" y="1293"/>
                  <a:pt x="1674" y="1284"/>
                </a:cubicBezTo>
                <a:cubicBezTo>
                  <a:pt x="1697" y="1271"/>
                  <a:pt x="1718" y="1260"/>
                  <a:pt x="1739" y="1245"/>
                </a:cubicBezTo>
                <a:cubicBezTo>
                  <a:pt x="1749" y="1238"/>
                  <a:pt x="1761" y="1228"/>
                  <a:pt x="1763" y="1216"/>
                </a:cubicBezTo>
                <a:cubicBezTo>
                  <a:pt x="1764" y="1202"/>
                  <a:pt x="1755" y="1185"/>
                  <a:pt x="1748" y="1174"/>
                </a:cubicBezTo>
                <a:cubicBezTo>
                  <a:pt x="1733" y="1151"/>
                  <a:pt x="1713" y="1129"/>
                  <a:pt x="1696" y="1107"/>
                </a:cubicBezTo>
                <a:cubicBezTo>
                  <a:pt x="1631" y="1027"/>
                  <a:pt x="1608" y="931"/>
                  <a:pt x="1623" y="829"/>
                </a:cubicBezTo>
                <a:cubicBezTo>
                  <a:pt x="1629" y="787"/>
                  <a:pt x="1634" y="746"/>
                  <a:pt x="1635" y="704"/>
                </a:cubicBezTo>
                <a:cubicBezTo>
                  <a:pt x="1635" y="656"/>
                  <a:pt x="1630" y="610"/>
                  <a:pt x="1620" y="563"/>
                </a:cubicBezTo>
                <a:cubicBezTo>
                  <a:pt x="1611" y="522"/>
                  <a:pt x="1589" y="477"/>
                  <a:pt x="1569" y="440"/>
                </a:cubicBezTo>
                <a:cubicBezTo>
                  <a:pt x="1541" y="390"/>
                  <a:pt x="1508" y="342"/>
                  <a:pt x="1471" y="298"/>
                </a:cubicBezTo>
                <a:cubicBezTo>
                  <a:pt x="1440" y="260"/>
                  <a:pt x="1404" y="223"/>
                  <a:pt x="1365" y="192"/>
                </a:cubicBezTo>
                <a:cubicBezTo>
                  <a:pt x="1253" y="103"/>
                  <a:pt x="1099" y="49"/>
                  <a:pt x="959" y="30"/>
                </a:cubicBezTo>
                <a:cubicBezTo>
                  <a:pt x="777" y="4"/>
                  <a:pt x="590" y="30"/>
                  <a:pt x="425" y="111"/>
                </a:cubicBezTo>
                <a:cubicBezTo>
                  <a:pt x="240" y="200"/>
                  <a:pt x="137" y="359"/>
                  <a:pt x="98" y="557"/>
                </a:cubicBezTo>
                <a:cubicBezTo>
                  <a:pt x="95" y="572"/>
                  <a:pt x="95" y="572"/>
                  <a:pt x="95" y="572"/>
                </a:cubicBezTo>
                <a:lnTo>
                  <a:pt x="0" y="56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7" name="图片 6">
            <a:extLst>
              <a:ext uri="{FF2B5EF4-FFF2-40B4-BE49-F238E27FC236}">
                <a16:creationId xmlns:a16="http://schemas.microsoft.com/office/drawing/2014/main" id="{727AC9A8-169D-90A3-C66F-CDFD72FC9D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2354" y="1421251"/>
            <a:ext cx="5118704" cy="5128356"/>
          </a:xfrm>
          <a:prstGeom prst="rect">
            <a:avLst/>
          </a:prstGeom>
        </p:spPr>
      </p:pic>
    </p:spTree>
    <p:custDataLst>
      <p:tags r:id="rId1"/>
    </p:custDataLst>
    <p:extLst>
      <p:ext uri="{BB962C8B-B14F-4D97-AF65-F5344CB8AC3E}">
        <p14:creationId xmlns:p14="http://schemas.microsoft.com/office/powerpoint/2010/main" val="801794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iśľîḓe"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śļíḑê"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ṡḻïḓê"/>
          <p:cNvSpPr>
            <a:spLocks noGrp="1"/>
          </p:cNvSpPr>
          <p:nvPr>
            <p:ph type="ctrTitle"/>
          </p:nvPr>
        </p:nvSpPr>
        <p:spPr>
          <a:xfrm>
            <a:off x="673100" y="2371548"/>
            <a:ext cx="10845798" cy="1621509"/>
          </a:xfrm>
        </p:spPr>
        <p:txBody>
          <a:bodyPr>
            <a:normAutofit fontScale="90000"/>
          </a:bodyPr>
          <a:lstStyle/>
          <a:p>
            <a:r>
              <a:rPr lang="en-US" altLang="zh-CN" sz="8000" dirty="0">
                <a:solidFill>
                  <a:schemeClr val="accent3"/>
                </a:solidFill>
              </a:rPr>
              <a:t>THANKS</a:t>
            </a:r>
            <a:br>
              <a:rPr lang="en-US" altLang="zh-CN" dirty="0">
                <a:solidFill>
                  <a:schemeClr val="accent3"/>
                </a:solidFill>
              </a:rPr>
            </a:br>
            <a:endParaRPr lang="zh-CN" altLang="en-US" dirty="0">
              <a:solidFill>
                <a:schemeClr val="accent3"/>
              </a:solidFill>
            </a:endParaRPr>
          </a:p>
        </p:txBody>
      </p:sp>
      <p:sp>
        <p:nvSpPr>
          <p:cNvPr id="7" name="iṩ1ïḋe"/>
          <p:cNvSpPr>
            <a:spLocks noGrp="1"/>
          </p:cNvSpPr>
          <p:nvPr>
            <p:ph type="body" sz="quarter" idx="18"/>
          </p:nvPr>
        </p:nvSpPr>
        <p:spPr>
          <a:xfrm>
            <a:off x="673100" y="4833219"/>
            <a:ext cx="10845798" cy="310871"/>
          </a:xfrm>
        </p:spPr>
        <p:txBody>
          <a:bodyPr/>
          <a:lstStyle/>
          <a:p>
            <a:r>
              <a:rPr lang="en-US" altLang="zh-CN" dirty="0"/>
              <a:t>www.uestc.edu</a:t>
            </a:r>
            <a:r>
              <a:rPr lang="en-US" altLang="zh-CN" sz="100" dirty="0"/>
              <a:t> </a:t>
            </a:r>
            <a:r>
              <a:rPr lang="en-US" altLang="zh-CN" dirty="0"/>
              <a:t>.cn</a:t>
            </a:r>
            <a:endParaRPr lang="en-US" altLang="en-US" dirty="0"/>
          </a:p>
        </p:txBody>
      </p:sp>
      <p:sp>
        <p:nvSpPr>
          <p:cNvPr id="6" name="ísļíḍê"/>
          <p:cNvSpPr>
            <a:spLocks noGrp="1"/>
          </p:cNvSpPr>
          <p:nvPr>
            <p:ph type="body" sz="quarter" idx="10"/>
          </p:nvPr>
        </p:nvSpPr>
        <p:spPr>
          <a:xfrm>
            <a:off x="673100" y="4226077"/>
            <a:ext cx="10845798" cy="607142"/>
          </a:xfrm>
        </p:spPr>
        <p:txBody>
          <a:bodyPr/>
          <a:lstStyle/>
          <a:p>
            <a:r>
              <a:rPr lang="zh-CN" altLang="en-US" dirty="0"/>
              <a:t>基于人工智能的信息安全</a:t>
            </a:r>
            <a:endParaRPr lang="en-US" altLang="zh-CN" dirty="0"/>
          </a:p>
          <a:p>
            <a:r>
              <a:rPr lang="zh-CN" altLang="en-US" dirty="0"/>
              <a:t>杨孟衡</a:t>
            </a:r>
            <a:endParaRPr lang="en-US" altLang="zh-CN"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ṥḷîḑè"/>
        <p:cNvGrpSpPr/>
        <p:nvPr/>
      </p:nvGrpSpPr>
      <p:grpSpPr>
        <a:xfrm>
          <a:off x="0" y="0"/>
          <a:ext cx="0" cy="0"/>
          <a:chOff x="0" y="0"/>
          <a:chExt cx="0" cy="0"/>
        </a:xfrm>
      </p:grpSpPr>
      <p:grpSp>
        <p:nvGrpSpPr>
          <p:cNvPr id="45" name="íŝḷiḋé">
            <a:extLst>
              <a:ext uri="{FF2B5EF4-FFF2-40B4-BE49-F238E27FC236}">
                <a16:creationId xmlns:a16="http://schemas.microsoft.com/office/drawing/2014/main" id="{3C2F0F09-3D89-4747-B4CE-A26FC1A26CB8}"/>
              </a:ext>
            </a:extLst>
          </p:cNvPr>
          <p:cNvGrpSpPr/>
          <p:nvPr/>
        </p:nvGrpSpPr>
        <p:grpSpPr>
          <a:xfrm>
            <a:off x="47143" y="4026879"/>
            <a:ext cx="12130525" cy="2137152"/>
            <a:chOff x="35399" y="4466341"/>
            <a:chExt cx="9108601" cy="1604749"/>
          </a:xfrm>
        </p:grpSpPr>
        <p:sp>
          <p:nvSpPr>
            <p:cNvPr id="46" name="ïŝľîďe">
              <a:extLst>
                <a:ext uri="{FF2B5EF4-FFF2-40B4-BE49-F238E27FC236}">
                  <a16:creationId xmlns:a16="http://schemas.microsoft.com/office/drawing/2014/main" id="{5515AA1C-2DC3-48F3-AAA3-A8B5EFE49FE1}"/>
                </a:ext>
              </a:extLst>
            </p:cNvPr>
            <p:cNvSpPr/>
            <p:nvPr/>
          </p:nvSpPr>
          <p:spPr bwMode="auto">
            <a:xfrm>
              <a:off x="772875" y="4678733"/>
              <a:ext cx="4359944" cy="1392352"/>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7" name="iṥḷîḋè">
              <a:extLst>
                <a:ext uri="{FF2B5EF4-FFF2-40B4-BE49-F238E27FC236}">
                  <a16:creationId xmlns:a16="http://schemas.microsoft.com/office/drawing/2014/main" id="{A1BD0CB9-AFD6-4C34-AC3A-6867B4D04C6B}"/>
                </a:ext>
              </a:extLst>
            </p:cNvPr>
            <p:cNvSpPr/>
            <p:nvPr/>
          </p:nvSpPr>
          <p:spPr bwMode="auto">
            <a:xfrm>
              <a:off x="117996" y="5321000"/>
              <a:ext cx="5994189" cy="750090"/>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8" name="íŝ1idê">
              <a:extLst>
                <a:ext uri="{FF2B5EF4-FFF2-40B4-BE49-F238E27FC236}">
                  <a16:creationId xmlns:a16="http://schemas.microsoft.com/office/drawing/2014/main" id="{AFB1A53B-FFAB-47AF-889D-C3B05877E954}"/>
                </a:ext>
              </a:extLst>
            </p:cNvPr>
            <p:cNvSpPr/>
            <p:nvPr/>
          </p:nvSpPr>
          <p:spPr bwMode="auto">
            <a:xfrm>
              <a:off x="430686"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9" name="îṣlîḓe">
              <a:extLst>
                <a:ext uri="{FF2B5EF4-FFF2-40B4-BE49-F238E27FC236}">
                  <a16:creationId xmlns:a16="http://schemas.microsoft.com/office/drawing/2014/main" id="{478B3644-8B28-457C-8A31-82C95B98C0FF}"/>
                </a:ext>
              </a:extLst>
            </p:cNvPr>
            <p:cNvSpPr/>
            <p:nvPr/>
          </p:nvSpPr>
          <p:spPr bwMode="auto">
            <a:xfrm>
              <a:off x="908568"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0" name="íṡľíḑe">
              <a:extLst>
                <a:ext uri="{FF2B5EF4-FFF2-40B4-BE49-F238E27FC236}">
                  <a16:creationId xmlns:a16="http://schemas.microsoft.com/office/drawing/2014/main" id="{0451BE8B-B154-44C5-9F7F-97335D8E2709}"/>
                </a:ext>
              </a:extLst>
            </p:cNvPr>
            <p:cNvSpPr/>
            <p:nvPr/>
          </p:nvSpPr>
          <p:spPr bwMode="auto">
            <a:xfrm>
              <a:off x="2041328"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51" name="ïṧļiḍê">
              <a:extLst>
                <a:ext uri="{FF2B5EF4-FFF2-40B4-BE49-F238E27FC236}">
                  <a16:creationId xmlns:a16="http://schemas.microsoft.com/office/drawing/2014/main" id="{5EAB7128-2F95-4242-8708-20B8191D9ED1}"/>
                </a:ext>
              </a:extLst>
            </p:cNvPr>
            <p:cNvSpPr/>
            <p:nvPr/>
          </p:nvSpPr>
          <p:spPr bwMode="auto">
            <a:xfrm>
              <a:off x="2118028"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52" name="iṧḷíḋê">
              <a:extLst>
                <a:ext uri="{FF2B5EF4-FFF2-40B4-BE49-F238E27FC236}">
                  <a16:creationId xmlns:a16="http://schemas.microsoft.com/office/drawing/2014/main" id="{BE25D3AD-5DD4-4899-ADC2-8D25A6DDA7DD}"/>
                </a:ext>
              </a:extLst>
            </p:cNvPr>
            <p:cNvSpPr/>
            <p:nvPr/>
          </p:nvSpPr>
          <p:spPr bwMode="auto">
            <a:xfrm>
              <a:off x="2348117"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3" name="ísliḋê">
              <a:extLst>
                <a:ext uri="{FF2B5EF4-FFF2-40B4-BE49-F238E27FC236}">
                  <a16:creationId xmlns:a16="http://schemas.microsoft.com/office/drawing/2014/main" id="{48EB2826-58D0-4186-A407-95C5511A2ACF}"/>
                </a:ext>
              </a:extLst>
            </p:cNvPr>
            <p:cNvSpPr/>
            <p:nvPr/>
          </p:nvSpPr>
          <p:spPr bwMode="auto">
            <a:xfrm>
              <a:off x="2660808"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54" name="í$ļïḍé">
              <a:extLst>
                <a:ext uri="{FF2B5EF4-FFF2-40B4-BE49-F238E27FC236}">
                  <a16:creationId xmlns:a16="http://schemas.microsoft.com/office/drawing/2014/main" id="{65F1EDAA-7573-46B3-8596-949648FA58AA}"/>
                </a:ext>
              </a:extLst>
            </p:cNvPr>
            <p:cNvSpPr/>
            <p:nvPr/>
          </p:nvSpPr>
          <p:spPr bwMode="auto">
            <a:xfrm>
              <a:off x="2796502"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5" name="íṡ1íḍé">
              <a:extLst>
                <a:ext uri="{FF2B5EF4-FFF2-40B4-BE49-F238E27FC236}">
                  <a16:creationId xmlns:a16="http://schemas.microsoft.com/office/drawing/2014/main" id="{FBD4DC72-288A-4CB5-A58C-3F52C2B52941}"/>
                </a:ext>
              </a:extLst>
            </p:cNvPr>
            <p:cNvSpPr/>
            <p:nvPr/>
          </p:nvSpPr>
          <p:spPr bwMode="auto">
            <a:xfrm>
              <a:off x="3421880" y="5610901"/>
              <a:ext cx="147494" cy="442486"/>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6" name="îšḻîḑé">
              <a:extLst>
                <a:ext uri="{FF2B5EF4-FFF2-40B4-BE49-F238E27FC236}">
                  <a16:creationId xmlns:a16="http://schemas.microsoft.com/office/drawing/2014/main" id="{73817D13-5E29-4F10-856A-8C57F0B15AC6}"/>
                </a:ext>
              </a:extLst>
            </p:cNvPr>
            <p:cNvSpPr/>
            <p:nvPr/>
          </p:nvSpPr>
          <p:spPr bwMode="auto">
            <a:xfrm>
              <a:off x="3646071" y="5964889"/>
              <a:ext cx="82597" cy="88498"/>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57" name="ïṡľíḋè">
              <a:extLst>
                <a:ext uri="{FF2B5EF4-FFF2-40B4-BE49-F238E27FC236}">
                  <a16:creationId xmlns:a16="http://schemas.microsoft.com/office/drawing/2014/main" id="{6924BB50-5EA0-4859-9C0E-AF77DC34CA30}"/>
                </a:ext>
              </a:extLst>
            </p:cNvPr>
            <p:cNvSpPr/>
            <p:nvPr/>
          </p:nvSpPr>
          <p:spPr bwMode="auto">
            <a:xfrm>
              <a:off x="3675572" y="5021475"/>
              <a:ext cx="778773" cy="1031913"/>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8" name="í$ľíḋé">
              <a:extLst>
                <a:ext uri="{FF2B5EF4-FFF2-40B4-BE49-F238E27FC236}">
                  <a16:creationId xmlns:a16="http://schemas.microsoft.com/office/drawing/2014/main" id="{CB7E5D8B-CAA8-47BB-A70B-FB104F9E36BC}"/>
                </a:ext>
              </a:extLst>
            </p:cNvPr>
            <p:cNvSpPr/>
            <p:nvPr/>
          </p:nvSpPr>
          <p:spPr bwMode="auto">
            <a:xfrm>
              <a:off x="4383548" y="5622700"/>
              <a:ext cx="306789" cy="430687"/>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9" name="ïS1îďè">
              <a:extLst>
                <a:ext uri="{FF2B5EF4-FFF2-40B4-BE49-F238E27FC236}">
                  <a16:creationId xmlns:a16="http://schemas.microsoft.com/office/drawing/2014/main" id="{A62F3E6A-3172-4A4A-AF38-4CBB29951510}"/>
                </a:ext>
              </a:extLst>
            </p:cNvPr>
            <p:cNvSpPr/>
            <p:nvPr/>
          </p:nvSpPr>
          <p:spPr bwMode="auto">
            <a:xfrm>
              <a:off x="4908627" y="5634500"/>
              <a:ext cx="365788" cy="418888"/>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0" name="îSliḓe">
              <a:extLst>
                <a:ext uri="{FF2B5EF4-FFF2-40B4-BE49-F238E27FC236}">
                  <a16:creationId xmlns:a16="http://schemas.microsoft.com/office/drawing/2014/main" id="{37D3A04D-1126-4611-8CEA-4E6FF1976274}"/>
                </a:ext>
              </a:extLst>
            </p:cNvPr>
            <p:cNvSpPr/>
            <p:nvPr/>
          </p:nvSpPr>
          <p:spPr bwMode="auto">
            <a:xfrm>
              <a:off x="5303915" y="5410309"/>
              <a:ext cx="873170" cy="643080"/>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1" name="ïṥliḓè">
              <a:extLst>
                <a:ext uri="{FF2B5EF4-FFF2-40B4-BE49-F238E27FC236}">
                  <a16:creationId xmlns:a16="http://schemas.microsoft.com/office/drawing/2014/main" id="{08B50FF2-1F8C-4F38-8CD5-6A5E3A29DB3D}"/>
                </a:ext>
              </a:extLst>
            </p:cNvPr>
            <p:cNvSpPr/>
            <p:nvPr/>
          </p:nvSpPr>
          <p:spPr bwMode="auto">
            <a:xfrm>
              <a:off x="35399"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62" name="išľîḍê">
              <a:extLst>
                <a:ext uri="{FF2B5EF4-FFF2-40B4-BE49-F238E27FC236}">
                  <a16:creationId xmlns:a16="http://schemas.microsoft.com/office/drawing/2014/main" id="{DF3A36F1-234C-4840-B2CB-D861E9E32279}"/>
                </a:ext>
              </a:extLst>
            </p:cNvPr>
            <p:cNvSpPr/>
            <p:nvPr/>
          </p:nvSpPr>
          <p:spPr bwMode="auto">
            <a:xfrm>
              <a:off x="2796502" y="4887064"/>
              <a:ext cx="595877" cy="116632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3" name="íşḻíḑe">
              <a:extLst>
                <a:ext uri="{FF2B5EF4-FFF2-40B4-BE49-F238E27FC236}">
                  <a16:creationId xmlns:a16="http://schemas.microsoft.com/office/drawing/2014/main" id="{BFAE3937-C439-4BFB-9922-5503F076A213}"/>
                </a:ext>
              </a:extLst>
            </p:cNvPr>
            <p:cNvSpPr/>
            <p:nvPr/>
          </p:nvSpPr>
          <p:spPr bwMode="auto">
            <a:xfrm>
              <a:off x="4708034" y="6006189"/>
              <a:ext cx="631276" cy="47199"/>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64" name="íS1íḑè">
              <a:extLst>
                <a:ext uri="{FF2B5EF4-FFF2-40B4-BE49-F238E27FC236}">
                  <a16:creationId xmlns:a16="http://schemas.microsoft.com/office/drawing/2014/main" id="{6DC3C403-CB50-4A12-95F9-52E4847B564D}"/>
                </a:ext>
              </a:extLst>
            </p:cNvPr>
            <p:cNvSpPr/>
            <p:nvPr/>
          </p:nvSpPr>
          <p:spPr bwMode="auto">
            <a:xfrm>
              <a:off x="6503219"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5" name="îSḻîdé">
              <a:extLst>
                <a:ext uri="{FF2B5EF4-FFF2-40B4-BE49-F238E27FC236}">
                  <a16:creationId xmlns:a16="http://schemas.microsoft.com/office/drawing/2014/main" id="{BBBA07A8-6CCE-4612-812F-375CC4ADAAE4}"/>
                </a:ext>
              </a:extLst>
            </p:cNvPr>
            <p:cNvSpPr/>
            <p:nvPr/>
          </p:nvSpPr>
          <p:spPr bwMode="auto">
            <a:xfrm>
              <a:off x="6981101"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6" name="iṧļíḍé">
              <a:extLst>
                <a:ext uri="{FF2B5EF4-FFF2-40B4-BE49-F238E27FC236}">
                  <a16:creationId xmlns:a16="http://schemas.microsoft.com/office/drawing/2014/main" id="{76A11E42-234B-4C15-99F9-BD3C57668EAE}"/>
                </a:ext>
              </a:extLst>
            </p:cNvPr>
            <p:cNvSpPr/>
            <p:nvPr/>
          </p:nvSpPr>
          <p:spPr bwMode="auto">
            <a:xfrm>
              <a:off x="8113861"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67" name="i$ľïḋè">
              <a:extLst>
                <a:ext uri="{FF2B5EF4-FFF2-40B4-BE49-F238E27FC236}">
                  <a16:creationId xmlns:a16="http://schemas.microsoft.com/office/drawing/2014/main" id="{A2A058A7-3BC5-456E-8CCC-2D04DCF6CB9E}"/>
                </a:ext>
              </a:extLst>
            </p:cNvPr>
            <p:cNvSpPr/>
            <p:nvPr/>
          </p:nvSpPr>
          <p:spPr bwMode="auto">
            <a:xfrm>
              <a:off x="8190561"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68" name="isļíḋe">
              <a:extLst>
                <a:ext uri="{FF2B5EF4-FFF2-40B4-BE49-F238E27FC236}">
                  <a16:creationId xmlns:a16="http://schemas.microsoft.com/office/drawing/2014/main" id="{9C9CE156-EC27-4E4F-A205-A112E1518014}"/>
                </a:ext>
              </a:extLst>
            </p:cNvPr>
            <p:cNvSpPr/>
            <p:nvPr/>
          </p:nvSpPr>
          <p:spPr bwMode="auto">
            <a:xfrm>
              <a:off x="8420651"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9" name="íśľiḓé">
              <a:extLst>
                <a:ext uri="{FF2B5EF4-FFF2-40B4-BE49-F238E27FC236}">
                  <a16:creationId xmlns:a16="http://schemas.microsoft.com/office/drawing/2014/main" id="{F412B58A-D5F0-418C-9FB7-A52A809331F0}"/>
                </a:ext>
              </a:extLst>
            </p:cNvPr>
            <p:cNvSpPr/>
            <p:nvPr/>
          </p:nvSpPr>
          <p:spPr bwMode="auto">
            <a:xfrm>
              <a:off x="8733341"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70" name="ïṡḻïḑé">
              <a:extLst>
                <a:ext uri="{FF2B5EF4-FFF2-40B4-BE49-F238E27FC236}">
                  <a16:creationId xmlns:a16="http://schemas.microsoft.com/office/drawing/2014/main" id="{934457AD-B22A-4AB1-B129-4CA8EE8CE670}"/>
                </a:ext>
              </a:extLst>
            </p:cNvPr>
            <p:cNvSpPr/>
            <p:nvPr/>
          </p:nvSpPr>
          <p:spPr bwMode="auto">
            <a:xfrm>
              <a:off x="8869035"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71" name="îṡḷïḍé">
              <a:extLst>
                <a:ext uri="{FF2B5EF4-FFF2-40B4-BE49-F238E27FC236}">
                  <a16:creationId xmlns:a16="http://schemas.microsoft.com/office/drawing/2014/main" id="{8D32F4E1-4C35-4E22-86DD-C97400F834C5}"/>
                </a:ext>
              </a:extLst>
            </p:cNvPr>
            <p:cNvSpPr/>
            <p:nvPr/>
          </p:nvSpPr>
          <p:spPr bwMode="auto">
            <a:xfrm>
              <a:off x="6107932"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72" name="isļíḋè">
              <a:extLst>
                <a:ext uri="{FF2B5EF4-FFF2-40B4-BE49-F238E27FC236}">
                  <a16:creationId xmlns:a16="http://schemas.microsoft.com/office/drawing/2014/main" id="{0339D2E5-7070-456E-88D2-B9503D73341B}"/>
                </a:ext>
              </a:extLst>
            </p:cNvPr>
            <p:cNvSpPr/>
            <p:nvPr/>
          </p:nvSpPr>
          <p:spPr bwMode="auto">
            <a:xfrm>
              <a:off x="8454305" y="4466341"/>
              <a:ext cx="595877" cy="1587046"/>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73" name="ïśḷïḍè">
              <a:extLst>
                <a:ext uri="{FF2B5EF4-FFF2-40B4-BE49-F238E27FC236}">
                  <a16:creationId xmlns:a16="http://schemas.microsoft.com/office/drawing/2014/main" id="{6941D892-B18D-431B-966B-69BD6B146620}"/>
                </a:ext>
              </a:extLst>
            </p:cNvPr>
            <p:cNvSpPr/>
            <p:nvPr/>
          </p:nvSpPr>
          <p:spPr bwMode="auto">
            <a:xfrm>
              <a:off x="3813013" y="5050424"/>
              <a:ext cx="5330987" cy="1020666"/>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grpSp>
      <p:grpSp>
        <p:nvGrpSpPr>
          <p:cNvPr id="4" name="组合 3">
            <a:extLst>
              <a:ext uri="{FF2B5EF4-FFF2-40B4-BE49-F238E27FC236}">
                <a16:creationId xmlns:a16="http://schemas.microsoft.com/office/drawing/2014/main" id="{48E0E9A4-0D73-D492-6B06-F55D8C95F9E9}"/>
              </a:ext>
            </a:extLst>
          </p:cNvPr>
          <p:cNvGrpSpPr/>
          <p:nvPr/>
        </p:nvGrpSpPr>
        <p:grpSpPr>
          <a:xfrm>
            <a:off x="4299531" y="1251116"/>
            <a:ext cx="3386605" cy="3223195"/>
            <a:chOff x="4299531" y="1251116"/>
            <a:chExt cx="3386605" cy="2561271"/>
          </a:xfrm>
        </p:grpSpPr>
        <p:sp>
          <p:nvSpPr>
            <p:cNvPr id="75" name="ï$ḻïḋê">
              <a:extLst>
                <a:ext uri="{FF2B5EF4-FFF2-40B4-BE49-F238E27FC236}">
                  <a16:creationId xmlns:a16="http://schemas.microsoft.com/office/drawing/2014/main" id="{E06CD773-8FCD-4DE3-934B-7A4909953A17}"/>
                </a:ext>
              </a:extLst>
            </p:cNvPr>
            <p:cNvSpPr txBox="1"/>
            <p:nvPr/>
          </p:nvSpPr>
          <p:spPr bwMode="auto">
            <a:xfrm>
              <a:off x="4698983" y="2384067"/>
              <a:ext cx="2888331" cy="142832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sz="1800" b="0" dirty="0">
                  <a:latin typeface="+mn-lt"/>
                  <a:ea typeface="+mn-ea"/>
                  <a:sym typeface="+mn-lt"/>
                </a:rPr>
                <a:t>研究目标</a:t>
              </a:r>
              <a:endParaRPr lang="en-US" altLang="zh-CN" sz="1800" b="0" dirty="0">
                <a:latin typeface="+mn-lt"/>
                <a:ea typeface="+mn-ea"/>
                <a:sym typeface="+mn-lt"/>
              </a:endParaRPr>
            </a:p>
            <a:p>
              <a:pPr marL="342900" indent="-342900">
                <a:lnSpc>
                  <a:spcPct val="150000"/>
                </a:lnSpc>
                <a:buFont typeface="+mj-lt"/>
                <a:buAutoNum type="arabicPeriod"/>
              </a:pPr>
              <a:r>
                <a:rPr lang="zh-CN" altLang="en-US" sz="1800" b="0" dirty="0">
                  <a:latin typeface="+mn-lt"/>
                  <a:ea typeface="+mn-ea"/>
                  <a:sym typeface="+mn-lt"/>
                </a:rPr>
                <a:t>研究内容</a:t>
              </a:r>
              <a:endParaRPr lang="en-US" altLang="zh-CN" sz="1800" b="0" dirty="0">
                <a:latin typeface="+mn-lt"/>
                <a:ea typeface="+mn-ea"/>
                <a:sym typeface="+mn-lt"/>
              </a:endParaRPr>
            </a:p>
            <a:p>
              <a:pPr marL="342900" indent="-342900">
                <a:lnSpc>
                  <a:spcPct val="150000"/>
                </a:lnSpc>
                <a:buFont typeface="+mj-lt"/>
                <a:buAutoNum type="arabicPeriod"/>
              </a:pPr>
              <a:r>
                <a:rPr lang="zh-CN" altLang="en-US" sz="1800" b="0" dirty="0">
                  <a:latin typeface="+mn-lt"/>
                  <a:ea typeface="+mn-ea"/>
                  <a:sym typeface="+mn-lt"/>
                </a:rPr>
                <a:t>技术关键</a:t>
              </a:r>
              <a:endParaRPr lang="en-US" altLang="zh-CN" sz="1800" b="0" dirty="0">
                <a:latin typeface="+mn-lt"/>
                <a:ea typeface="+mn-ea"/>
                <a:sym typeface="+mn-lt"/>
              </a:endParaRPr>
            </a:p>
            <a:p>
              <a:pPr marL="342900" indent="-342900">
                <a:lnSpc>
                  <a:spcPct val="150000"/>
                </a:lnSpc>
                <a:buFont typeface="+mj-lt"/>
                <a:buAutoNum type="arabicPeriod"/>
              </a:pPr>
              <a:r>
                <a:rPr lang="zh-CN" altLang="en-US" sz="1800" b="0" dirty="0">
                  <a:latin typeface="+mn-lt"/>
                  <a:ea typeface="+mn-ea"/>
                  <a:sym typeface="+mn-lt"/>
                </a:rPr>
                <a:t>应用实例</a:t>
              </a:r>
              <a:endParaRPr lang="en-US" altLang="zh-CN" sz="1800" b="0" dirty="0">
                <a:latin typeface="+mn-lt"/>
                <a:ea typeface="+mn-ea"/>
                <a:sym typeface="+mn-lt"/>
              </a:endParaRPr>
            </a:p>
          </p:txBody>
        </p:sp>
        <p:sp>
          <p:nvSpPr>
            <p:cNvPr id="76" name="is1ïḍe">
              <a:extLst>
                <a:ext uri="{FF2B5EF4-FFF2-40B4-BE49-F238E27FC236}">
                  <a16:creationId xmlns:a16="http://schemas.microsoft.com/office/drawing/2014/main" id="{4415A554-CCFC-4B73-BDC4-DAA8A2116EEE}"/>
                </a:ext>
              </a:extLst>
            </p:cNvPr>
            <p:cNvSpPr/>
            <p:nvPr/>
          </p:nvSpPr>
          <p:spPr>
            <a:xfrm>
              <a:off x="4299531" y="1251116"/>
              <a:ext cx="3386605" cy="672121"/>
            </a:xfrm>
            <a:prstGeom prst="rect">
              <a:avLst/>
            </a:prstGeom>
          </p:spPr>
          <p:txBody>
            <a:bodyPr wrap="square" lIns="91440" tIns="45720" rIns="91440" bIns="45720">
              <a:normAutofit/>
            </a:bodyPr>
            <a:lstStyle/>
            <a:p>
              <a:r>
                <a:rPr lang="zh-CN" altLang="en-US" sz="3600" b="1" kern="0" dirty="0">
                  <a:ln w="6350">
                    <a:noFill/>
                  </a:ln>
                  <a:solidFill>
                    <a:schemeClr val="accent1"/>
                  </a:solidFill>
                  <a:ea typeface="微软雅黑" panose="020B0503020204020204" pitchFamily="34" charset="-122"/>
                </a:rPr>
                <a:t>目录</a:t>
              </a:r>
              <a:r>
                <a:rPr lang="en-US" altLang="zh-CN" sz="3600" b="1" kern="0" dirty="0">
                  <a:ln w="6350">
                    <a:noFill/>
                  </a:ln>
                  <a:solidFill>
                    <a:schemeClr val="accent1"/>
                  </a:solidFill>
                  <a:ea typeface="微软雅黑" panose="020B0503020204020204" pitchFamily="34" charset="-122"/>
                </a:rPr>
                <a:t>/</a:t>
              </a:r>
              <a:r>
                <a:rPr lang="zh-CN" altLang="en-US" sz="3600" b="1" dirty="0">
                  <a:solidFill>
                    <a:schemeClr val="accent1"/>
                  </a:solidFill>
                </a:rPr>
                <a:t>Con</a:t>
              </a:r>
              <a:r>
                <a:rPr lang="zh-CN" altLang="en-US" sz="100" b="1" dirty="0">
                  <a:solidFill>
                    <a:schemeClr val="accent1"/>
                  </a:solidFill>
                </a:rPr>
                <a:t> </a:t>
              </a:r>
              <a:r>
                <a:rPr lang="zh-CN" altLang="en-US" sz="3600" b="1" dirty="0">
                  <a:solidFill>
                    <a:schemeClr val="accent1"/>
                  </a:solidFill>
                </a:rPr>
                <a:t>tents</a:t>
              </a:r>
            </a:p>
          </p:txBody>
        </p:sp>
      </p:grpSp>
      <p:sp>
        <p:nvSpPr>
          <p:cNvPr id="77" name="îsḷîḍê">
            <a:extLst>
              <a:ext uri="{FF2B5EF4-FFF2-40B4-BE49-F238E27FC236}">
                <a16:creationId xmlns:a16="http://schemas.microsoft.com/office/drawing/2014/main" id="{278D0113-8CE1-477C-A079-D72F0002C86A}"/>
              </a:ext>
            </a:extLst>
          </p:cNvPr>
          <p:cNvSpPr txBox="1">
            <a:spLocks/>
          </p:cNvSpPr>
          <p:nvPr/>
        </p:nvSpPr>
        <p:spPr>
          <a:xfrm>
            <a:off x="1301059" y="6305762"/>
            <a:ext cx="4584698" cy="31087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800" spc="600">
                <a:solidFill>
                  <a:schemeClr val="accent3"/>
                </a:solidFill>
              </a:rPr>
              <a:t>www.uestc</a:t>
            </a:r>
            <a:r>
              <a:rPr lang="en-US" altLang="zh-CN" sz="100" spc="600">
                <a:solidFill>
                  <a:schemeClr val="accent3"/>
                </a:solidFill>
              </a:rPr>
              <a:t> </a:t>
            </a:r>
            <a:r>
              <a:rPr lang="en-US" altLang="zh-CN" sz="800" spc="600">
                <a:solidFill>
                  <a:schemeClr val="accent3"/>
                </a:solidFill>
              </a:rPr>
              <a:t>.</a:t>
            </a:r>
            <a:r>
              <a:rPr lang="en-US" altLang="zh-CN" sz="800" spc="600" dirty="0">
                <a:solidFill>
                  <a:schemeClr val="accent3"/>
                </a:solidFill>
              </a:rPr>
              <a:t>edu.cn</a:t>
            </a:r>
            <a:endParaRPr lang="zh-CN" altLang="en-US" sz="800" spc="600" dirty="0">
              <a:solidFill>
                <a:schemeClr val="accent3"/>
              </a:solidFill>
            </a:endParaRPr>
          </a:p>
        </p:txBody>
      </p:sp>
      <p:sp>
        <p:nvSpPr>
          <p:cNvPr id="3" name="î$ḷide">
            <a:extLst>
              <a:ext uri="{FF2B5EF4-FFF2-40B4-BE49-F238E27FC236}">
                <a16:creationId xmlns:a16="http://schemas.microsoft.com/office/drawing/2014/main" id="{F99566FB-AE5C-4E43-93BF-1236C997E9F3}"/>
              </a:ext>
            </a:extLst>
          </p:cNvPr>
          <p:cNvSpPr/>
          <p:nvPr/>
        </p:nvSpPr>
        <p:spPr>
          <a:xfrm>
            <a:off x="0" y="6122852"/>
            <a:ext cx="12192000"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grpSp>
        <p:nvGrpSpPr>
          <p:cNvPr id="79" name="ís1iḋè">
            <a:extLst>
              <a:ext uri="{FF2B5EF4-FFF2-40B4-BE49-F238E27FC236}">
                <a16:creationId xmlns:a16="http://schemas.microsoft.com/office/drawing/2014/main" id="{FFF708EB-D135-4216-BB59-4FEEE28D2733}"/>
              </a:ext>
            </a:extLst>
          </p:cNvPr>
          <p:cNvGrpSpPr/>
          <p:nvPr/>
        </p:nvGrpSpPr>
        <p:grpSpPr>
          <a:xfrm>
            <a:off x="10075891" y="6281444"/>
            <a:ext cx="1381172" cy="310871"/>
            <a:chOff x="1071789" y="916886"/>
            <a:chExt cx="2217511" cy="499112"/>
          </a:xfrm>
        </p:grpSpPr>
        <p:grpSp>
          <p:nvGrpSpPr>
            <p:cNvPr id="80" name="ïsḻídè">
              <a:extLst>
                <a:ext uri="{FF2B5EF4-FFF2-40B4-BE49-F238E27FC236}">
                  <a16:creationId xmlns:a16="http://schemas.microsoft.com/office/drawing/2014/main" id="{10012BE1-18FB-414E-A234-192CB1DF14BE}"/>
                </a:ext>
              </a:extLst>
            </p:cNvPr>
            <p:cNvGrpSpPr/>
            <p:nvPr userDrawn="1"/>
          </p:nvGrpSpPr>
          <p:grpSpPr>
            <a:xfrm>
              <a:off x="1071789" y="916886"/>
              <a:ext cx="496620" cy="499112"/>
              <a:chOff x="1905000" y="2476500"/>
              <a:chExt cx="1898650" cy="1908175"/>
            </a:xfrm>
          </p:grpSpPr>
          <p:sp>
            <p:nvSpPr>
              <p:cNvPr id="91" name="ïṣ1iḑè">
                <a:extLst>
                  <a:ext uri="{FF2B5EF4-FFF2-40B4-BE49-F238E27FC236}">
                    <a16:creationId xmlns:a16="http://schemas.microsoft.com/office/drawing/2014/main" id="{7589E371-A64A-41E9-9886-88C2723455AE}"/>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ḷíḑe">
                <a:extLst>
                  <a:ext uri="{FF2B5EF4-FFF2-40B4-BE49-F238E27FC236}">
                    <a16:creationId xmlns:a16="http://schemas.microsoft.com/office/drawing/2014/main" id="{481E7B09-48A6-4402-9252-8024391809F9}"/>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sḻïḋe">
                <a:extLst>
                  <a:ext uri="{FF2B5EF4-FFF2-40B4-BE49-F238E27FC236}">
                    <a16:creationId xmlns:a16="http://schemas.microsoft.com/office/drawing/2014/main" id="{A443E617-0032-4B7F-A31A-5582D856EEA0}"/>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ṧ1ïḍe">
                <a:extLst>
                  <a:ext uri="{FF2B5EF4-FFF2-40B4-BE49-F238E27FC236}">
                    <a16:creationId xmlns:a16="http://schemas.microsoft.com/office/drawing/2014/main" id="{FE3F1AC8-55DA-4AB9-A42B-FC09D3696A05}"/>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sḻîdè">
                <a:extLst>
                  <a:ext uri="{FF2B5EF4-FFF2-40B4-BE49-F238E27FC236}">
                    <a16:creationId xmlns:a16="http://schemas.microsoft.com/office/drawing/2014/main" id="{35A105D4-2AD3-473D-80F2-878DEC702A65}"/>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1íḓê">
                <a:extLst>
                  <a:ext uri="{FF2B5EF4-FFF2-40B4-BE49-F238E27FC236}">
                    <a16:creationId xmlns:a16="http://schemas.microsoft.com/office/drawing/2014/main" id="{C52DD86A-ABAA-4ED8-BA26-DE5BB7F813DA}"/>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îṥļíḍê">
                <a:extLst>
                  <a:ext uri="{FF2B5EF4-FFF2-40B4-BE49-F238E27FC236}">
                    <a16:creationId xmlns:a16="http://schemas.microsoft.com/office/drawing/2014/main" id="{476C0FCF-E78A-483B-9F7C-5BC89ECDECF3}"/>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sļïḍe">
                <a:extLst>
                  <a:ext uri="{FF2B5EF4-FFF2-40B4-BE49-F238E27FC236}">
                    <a16:creationId xmlns:a16="http://schemas.microsoft.com/office/drawing/2014/main" id="{683633E5-B317-4B50-BCA2-7E71A1822B5B}"/>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şḻîḓè">
                <a:extLst>
                  <a:ext uri="{FF2B5EF4-FFF2-40B4-BE49-F238E27FC236}">
                    <a16:creationId xmlns:a16="http://schemas.microsoft.com/office/drawing/2014/main" id="{74268E3B-F4FB-4E3B-BE45-515BF8332ED9}"/>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100" name="isliḋé">
                <a:extLst>
                  <a:ext uri="{FF2B5EF4-FFF2-40B4-BE49-F238E27FC236}">
                    <a16:creationId xmlns:a16="http://schemas.microsoft.com/office/drawing/2014/main" id="{FD05117D-F6E3-495C-90DC-F67D0C4320D5}"/>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101" name="íSlídè">
                <a:extLst>
                  <a:ext uri="{FF2B5EF4-FFF2-40B4-BE49-F238E27FC236}">
                    <a16:creationId xmlns:a16="http://schemas.microsoft.com/office/drawing/2014/main" id="{36851A5D-3808-42BE-8352-CA317958E568}"/>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liḋé">
                <a:extLst>
                  <a:ext uri="{FF2B5EF4-FFF2-40B4-BE49-F238E27FC236}">
                    <a16:creationId xmlns:a16="http://schemas.microsoft.com/office/drawing/2014/main" id="{C00E0AA7-DC1D-49D2-A9F5-39D08ECA9F8A}"/>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îṡlíḍe">
                <a:extLst>
                  <a:ext uri="{FF2B5EF4-FFF2-40B4-BE49-F238E27FC236}">
                    <a16:creationId xmlns:a16="http://schemas.microsoft.com/office/drawing/2014/main" id="{6F3391CF-A6F7-44CB-81ED-D140EE054995}"/>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îŝḷîďe">
                <a:extLst>
                  <a:ext uri="{FF2B5EF4-FFF2-40B4-BE49-F238E27FC236}">
                    <a16:creationId xmlns:a16="http://schemas.microsoft.com/office/drawing/2014/main" id="{2B8F685D-5B82-4833-B322-44A0C12D0142}"/>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îṩľîḋé">
                <a:extLst>
                  <a:ext uri="{FF2B5EF4-FFF2-40B4-BE49-F238E27FC236}">
                    <a16:creationId xmlns:a16="http://schemas.microsoft.com/office/drawing/2014/main" id="{A582AE63-7AEF-4ABB-AFD7-8EB05E1C5B05}"/>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îŝliďè">
                <a:extLst>
                  <a:ext uri="{FF2B5EF4-FFF2-40B4-BE49-F238E27FC236}">
                    <a16:creationId xmlns:a16="http://schemas.microsoft.com/office/drawing/2014/main" id="{1AB8CA30-0378-4636-9C86-C3B972C4E213}"/>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îsḻiďe">
                <a:extLst>
                  <a:ext uri="{FF2B5EF4-FFF2-40B4-BE49-F238E27FC236}">
                    <a16:creationId xmlns:a16="http://schemas.microsoft.com/office/drawing/2014/main" id="{30B9A6C2-EDBC-4112-987D-410E8F152223}"/>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81" name="ïṥḷidè">
              <a:extLst>
                <a:ext uri="{FF2B5EF4-FFF2-40B4-BE49-F238E27FC236}">
                  <a16:creationId xmlns:a16="http://schemas.microsoft.com/office/drawing/2014/main" id="{3361794D-7D66-4705-B5C6-C498666B8052}"/>
                </a:ext>
              </a:extLst>
            </p:cNvPr>
            <p:cNvGrpSpPr/>
            <p:nvPr userDrawn="1"/>
          </p:nvGrpSpPr>
          <p:grpSpPr>
            <a:xfrm>
              <a:off x="1682758" y="962385"/>
              <a:ext cx="1606542" cy="289834"/>
              <a:chOff x="4164013" y="2535238"/>
              <a:chExt cx="6142038" cy="1108075"/>
            </a:xfrm>
            <a:solidFill>
              <a:srgbClr val="001736"/>
            </a:solidFill>
          </p:grpSpPr>
          <p:sp>
            <p:nvSpPr>
              <p:cNvPr id="85" name="išḷïḍé">
                <a:extLst>
                  <a:ext uri="{FF2B5EF4-FFF2-40B4-BE49-F238E27FC236}">
                    <a16:creationId xmlns:a16="http://schemas.microsoft.com/office/drawing/2014/main" id="{714015A9-52B2-404C-AB01-38AF7D8E03C9}"/>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ṧ1iḓé">
                <a:extLst>
                  <a:ext uri="{FF2B5EF4-FFF2-40B4-BE49-F238E27FC236}">
                    <a16:creationId xmlns:a16="http://schemas.microsoft.com/office/drawing/2014/main" id="{61B4CA39-C447-42BD-825F-9443075B7F3A}"/>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śḻîḍé">
                <a:extLst>
                  <a:ext uri="{FF2B5EF4-FFF2-40B4-BE49-F238E27FC236}">
                    <a16:creationId xmlns:a16="http://schemas.microsoft.com/office/drawing/2014/main" id="{DEF6740A-2D08-488B-9EEE-61266D7BC869}"/>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ṣľïḑe">
                <a:extLst>
                  <a:ext uri="{FF2B5EF4-FFF2-40B4-BE49-F238E27FC236}">
                    <a16:creationId xmlns:a16="http://schemas.microsoft.com/office/drawing/2014/main" id="{E665543F-FD98-4345-8573-5B5A287F3C19}"/>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ṡḷíḓè">
                <a:extLst>
                  <a:ext uri="{FF2B5EF4-FFF2-40B4-BE49-F238E27FC236}">
                    <a16:creationId xmlns:a16="http://schemas.microsoft.com/office/drawing/2014/main" id="{5BF72B2D-85B8-4BAC-A88B-E0D75F72956A}"/>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śľiḓè">
                <a:extLst>
                  <a:ext uri="{FF2B5EF4-FFF2-40B4-BE49-F238E27FC236}">
                    <a16:creationId xmlns:a16="http://schemas.microsoft.com/office/drawing/2014/main" id="{DD96F91B-4822-496A-9EE7-D6A84E2A387E}"/>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82" name="ïṣlîḋe">
              <a:extLst>
                <a:ext uri="{FF2B5EF4-FFF2-40B4-BE49-F238E27FC236}">
                  <a16:creationId xmlns:a16="http://schemas.microsoft.com/office/drawing/2014/main" id="{3EDE0A7F-535D-4ECD-8887-657F47A5192D}"/>
                </a:ext>
              </a:extLst>
            </p:cNvPr>
            <p:cNvGrpSpPr/>
            <p:nvPr userDrawn="1"/>
          </p:nvGrpSpPr>
          <p:grpSpPr>
            <a:xfrm>
              <a:off x="1681928" y="1301968"/>
              <a:ext cx="1596160" cy="99656"/>
              <a:chOff x="4195410" y="3864490"/>
              <a:chExt cx="5963974" cy="372361"/>
            </a:xfrm>
            <a:solidFill>
              <a:srgbClr val="001736"/>
            </a:solidFill>
          </p:grpSpPr>
          <p:sp>
            <p:nvSpPr>
              <p:cNvPr id="83" name="íṣlíḍé">
                <a:extLst>
                  <a:ext uri="{FF2B5EF4-FFF2-40B4-BE49-F238E27FC236}">
                    <a16:creationId xmlns:a16="http://schemas.microsoft.com/office/drawing/2014/main" id="{AF4DB646-8F57-4FB8-B403-0AA88224364D}"/>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ṡ1iḓé">
                <a:extLst>
                  <a:ext uri="{FF2B5EF4-FFF2-40B4-BE49-F238E27FC236}">
                    <a16:creationId xmlns:a16="http://schemas.microsoft.com/office/drawing/2014/main" id="{FB843CFF-96B3-4A73-8BE4-44A88EB89084}"/>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553613" y="2369748"/>
            <a:ext cx="5419185" cy="895350"/>
          </a:xfrm>
        </p:spPr>
        <p:txBody>
          <a:bodyPr>
            <a:normAutofit/>
          </a:bodyPr>
          <a:lstStyle/>
          <a:p>
            <a:r>
              <a:rPr lang="zh-CN" altLang="en-US" sz="3400" dirty="0"/>
              <a:t>研究目标</a:t>
            </a:r>
          </a:p>
        </p:txBody>
      </p:sp>
      <p:sp>
        <p:nvSpPr>
          <p:cNvPr id="6" name="íŝļîḑê"/>
          <p:cNvSpPr>
            <a:spLocks noGrp="1"/>
          </p:cNvSpPr>
          <p:nvPr>
            <p:ph type="body" idx="1"/>
          </p:nvPr>
        </p:nvSpPr>
        <p:spPr>
          <a:xfrm>
            <a:off x="5553612" y="3265098"/>
            <a:ext cx="5419185" cy="1015623"/>
          </a:xfrm>
        </p:spPr>
        <p:txBody>
          <a:bodyPr>
            <a:noAutofit/>
          </a:bodyPr>
          <a:lstStyle/>
          <a:p>
            <a:pPr lvl="0"/>
            <a:r>
              <a:rPr lang="zh-CN" altLang="en-US" sz="2400" dirty="0"/>
              <a:t>基于人工智能的信息安全</a:t>
            </a:r>
            <a:endParaRPr lang="en-US" altLang="zh-CN" sz="2400" dirty="0"/>
          </a:p>
          <a:p>
            <a:pPr lvl="0"/>
            <a:r>
              <a:rPr lang="zh-CN" altLang="en-US" sz="2400" dirty="0"/>
              <a:t>面向国家安全的信息安全</a:t>
            </a:r>
          </a:p>
        </p:txBody>
      </p:sp>
      <p:sp>
        <p:nvSpPr>
          <p:cNvPr id="9" name="íṧľíḑê">
            <a:extLst>
              <a:ext uri="{FF2B5EF4-FFF2-40B4-BE49-F238E27FC236}">
                <a16:creationId xmlns:a16="http://schemas.microsoft.com/office/drawing/2014/main" id="{04F69230-F3A6-4586-9371-A858F4763E9F}"/>
              </a:ext>
            </a:extLst>
          </p:cNvPr>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a:solidFill>
                  <a:schemeClr val="accent3"/>
                </a:solidFill>
                <a:latin typeface="Impact" panose="020B0806030902050204" pitchFamily="34" charset="0"/>
                <a:cs typeface="Arial" panose="020B0604020202020204" pitchFamily="34" charset="0"/>
              </a:rPr>
              <a:t>0</a:t>
            </a:r>
            <a:r>
              <a:rPr lang="en-US" altLang="zh-CN" sz="100" spc="100">
                <a:solidFill>
                  <a:schemeClr val="accent3"/>
                </a:solidFill>
                <a:latin typeface="Impact" panose="020B0806030902050204" pitchFamily="34" charset="0"/>
                <a:cs typeface="Arial" panose="020B0604020202020204" pitchFamily="34" charset="0"/>
              </a:rPr>
              <a:t> </a:t>
            </a:r>
            <a:r>
              <a:rPr lang="en-US" altLang="zh-CN" spc="100">
                <a:solidFill>
                  <a:schemeClr val="accent3"/>
                </a:solidFill>
                <a:latin typeface="Impact" panose="020B0806030902050204" pitchFamily="34" charset="0"/>
                <a:cs typeface="Arial" panose="020B0604020202020204" pitchFamily="34" charset="0"/>
              </a:rPr>
              <a:t>1</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isľiḑe"/>
        <p:cNvGrpSpPr/>
        <p:nvPr/>
      </p:nvGrpSpPr>
      <p:grpSpPr>
        <a:xfrm>
          <a:off x="0" y="0"/>
          <a:ext cx="0" cy="0"/>
          <a:chOff x="0" y="0"/>
          <a:chExt cx="0" cy="0"/>
        </a:xfrm>
      </p:grpSpPr>
      <p:sp>
        <p:nvSpPr>
          <p:cNvPr id="2" name="işļiḋè">
            <a:extLst>
              <a:ext uri="{FF2B5EF4-FFF2-40B4-BE49-F238E27FC236}">
                <a16:creationId xmlns:a16="http://schemas.microsoft.com/office/drawing/2014/main" id="{0F91C988-414B-4E5F-85DC-B23A92E08D2F}"/>
              </a:ext>
            </a:extLst>
          </p:cNvPr>
          <p:cNvSpPr>
            <a:spLocks noGrp="1"/>
          </p:cNvSpPr>
          <p:nvPr>
            <p:ph type="title"/>
          </p:nvPr>
        </p:nvSpPr>
        <p:spPr/>
        <p:txBody>
          <a:bodyPr/>
          <a:lstStyle/>
          <a:p>
            <a:r>
              <a:rPr lang="zh-CN" altLang="en-US" dirty="0"/>
              <a:t>基于人工智能的信息安全</a:t>
            </a:r>
          </a:p>
        </p:txBody>
      </p:sp>
      <p:sp>
        <p:nvSpPr>
          <p:cNvPr id="4" name="ïṧľiḓè">
            <a:extLst>
              <a:ext uri="{FF2B5EF4-FFF2-40B4-BE49-F238E27FC236}">
                <a16:creationId xmlns:a16="http://schemas.microsoft.com/office/drawing/2014/main" id="{FA455FD5-D3AD-49B0-B449-EC60B7542A12}"/>
              </a:ext>
            </a:extLst>
          </p:cNvPr>
          <p:cNvSpPr>
            <a:spLocks noGrp="1"/>
          </p:cNvSpPr>
          <p:nvPr>
            <p:ph type="sldNum" sz="quarter" idx="12"/>
          </p:nvPr>
        </p:nvSpPr>
        <p:spPr/>
        <p:txBody>
          <a:bodyPr/>
          <a:lstStyle/>
          <a:p>
            <a:fld id="{5DD3DB80-B894-403A-B48E-6FDC1A72010E}" type="slidenum">
              <a:rPr lang="zh-CN" altLang="en-US" smtClean="0"/>
              <a:pPr/>
              <a:t>4</a:t>
            </a:fld>
            <a:r>
              <a:rPr lang="zh-CN" altLang="en-US" sz="100"/>
              <a:t> </a:t>
            </a:r>
          </a:p>
        </p:txBody>
      </p:sp>
      <p:grpSp>
        <p:nvGrpSpPr>
          <p:cNvPr id="65" name="í$ḻïḍ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1BA9EA9-1969-4530-B0D3-87384C0B3EDD}"/>
              </a:ext>
            </a:extLst>
          </p:cNvPr>
          <p:cNvGrpSpPr>
            <a:grpSpLocks noChangeAspect="1"/>
          </p:cNvGrpSpPr>
          <p:nvPr/>
        </p:nvGrpSpPr>
        <p:grpSpPr>
          <a:xfrm>
            <a:off x="669925" y="1435178"/>
            <a:ext cx="10848975" cy="4708447"/>
            <a:chOff x="669925" y="1435178"/>
            <a:chExt cx="10848975" cy="4708447"/>
          </a:xfrm>
        </p:grpSpPr>
        <p:grpSp>
          <p:nvGrpSpPr>
            <p:cNvPr id="66" name="îSḻîḍe">
              <a:extLst>
                <a:ext uri="{FF2B5EF4-FFF2-40B4-BE49-F238E27FC236}">
                  <a16:creationId xmlns:a16="http://schemas.microsoft.com/office/drawing/2014/main" id="{74B3DC25-BB87-45E4-8F86-88A5F5BCCB24}"/>
                </a:ext>
              </a:extLst>
            </p:cNvPr>
            <p:cNvGrpSpPr/>
            <p:nvPr/>
          </p:nvGrpSpPr>
          <p:grpSpPr>
            <a:xfrm>
              <a:off x="669925" y="2434788"/>
              <a:ext cx="4056742" cy="3407135"/>
              <a:chOff x="669925" y="1488214"/>
              <a:chExt cx="4056742" cy="3407135"/>
            </a:xfrm>
          </p:grpSpPr>
          <p:grpSp>
            <p:nvGrpSpPr>
              <p:cNvPr id="83" name="ïS1iḑé">
                <a:extLst>
                  <a:ext uri="{FF2B5EF4-FFF2-40B4-BE49-F238E27FC236}">
                    <a16:creationId xmlns:a16="http://schemas.microsoft.com/office/drawing/2014/main" id="{0A7DE1F9-87F7-4627-947C-3B34124C8D84}"/>
                  </a:ext>
                </a:extLst>
              </p:cNvPr>
              <p:cNvGrpSpPr/>
              <p:nvPr/>
            </p:nvGrpSpPr>
            <p:grpSpPr>
              <a:xfrm>
                <a:off x="669925" y="1488214"/>
                <a:ext cx="4056742" cy="3407135"/>
                <a:chOff x="1127448" y="1664803"/>
                <a:chExt cx="4844146" cy="4068453"/>
              </a:xfrm>
            </p:grpSpPr>
            <p:sp>
              <p:nvSpPr>
                <p:cNvPr id="89" name="îṧḷíďè">
                  <a:extLst>
                    <a:ext uri="{FF2B5EF4-FFF2-40B4-BE49-F238E27FC236}">
                      <a16:creationId xmlns:a16="http://schemas.microsoft.com/office/drawing/2014/main" id="{BFFF8AFB-E25F-40FE-BC94-22AB77EADFE9}"/>
                    </a:ext>
                  </a:extLst>
                </p:cNvPr>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0" name="îṡḷiḑe">
                  <a:extLst>
                    <a:ext uri="{FF2B5EF4-FFF2-40B4-BE49-F238E27FC236}">
                      <a16:creationId xmlns:a16="http://schemas.microsoft.com/office/drawing/2014/main" id="{068A78D5-1E30-43E6-A1EC-D5945E0E8B5D}"/>
                    </a:ext>
                  </a:extLst>
                </p:cNvPr>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1" name="íşľiḓè">
                  <a:extLst>
                    <a:ext uri="{FF2B5EF4-FFF2-40B4-BE49-F238E27FC236}">
                      <a16:creationId xmlns:a16="http://schemas.microsoft.com/office/drawing/2014/main" id="{7F330C8D-CD31-4425-BEDF-B10D4CBF0F2F}"/>
                    </a:ext>
                  </a:extLst>
                </p:cNvPr>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2" name="iśľíḍe">
                  <a:extLst>
                    <a:ext uri="{FF2B5EF4-FFF2-40B4-BE49-F238E27FC236}">
                      <a16:creationId xmlns:a16="http://schemas.microsoft.com/office/drawing/2014/main" id="{BA6310AF-64B0-40EC-A6D6-EE0528AB12FD}"/>
                    </a:ext>
                  </a:extLst>
                </p:cNvPr>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3" name="íŝľíḓé">
                  <a:extLst>
                    <a:ext uri="{FF2B5EF4-FFF2-40B4-BE49-F238E27FC236}">
                      <a16:creationId xmlns:a16="http://schemas.microsoft.com/office/drawing/2014/main" id="{D16074E2-99BF-47A1-87BC-4FD78B74E8E0}"/>
                    </a:ext>
                  </a:extLst>
                </p:cNvPr>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4" name="îṧlîḍê">
                  <a:extLst>
                    <a:ext uri="{FF2B5EF4-FFF2-40B4-BE49-F238E27FC236}">
                      <a16:creationId xmlns:a16="http://schemas.microsoft.com/office/drawing/2014/main" id="{16584459-78EF-4FA0-A07B-49ADFB2D6C9D}"/>
                    </a:ext>
                  </a:extLst>
                </p:cNvPr>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chemeClr val="bg1"/>
                </a:solidFill>
                <a:ln w="6350" cap="flat" cmpd="sng" algn="ctr">
                  <a:solidFill>
                    <a:schemeClr val="tx1"/>
                  </a:solidFill>
                  <a:prstDash val="solid"/>
                  <a:miter lim="800000"/>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lt1"/>
                    </a:solidFill>
                  </a:endParaRPr>
                </a:p>
              </p:txBody>
            </p:sp>
          </p:grpSp>
          <p:grpSp>
            <p:nvGrpSpPr>
              <p:cNvPr id="84" name="îšlîde">
                <a:extLst>
                  <a:ext uri="{FF2B5EF4-FFF2-40B4-BE49-F238E27FC236}">
                    <a16:creationId xmlns:a16="http://schemas.microsoft.com/office/drawing/2014/main" id="{9D9342B5-CDB8-4860-B336-817052F6C173}"/>
                  </a:ext>
                </a:extLst>
              </p:cNvPr>
              <p:cNvGrpSpPr/>
              <p:nvPr/>
            </p:nvGrpSpPr>
            <p:grpSpPr>
              <a:xfrm>
                <a:off x="1710607" y="2344538"/>
                <a:ext cx="1975378" cy="724786"/>
                <a:chOff x="675908" y="693106"/>
                <a:chExt cx="9053516" cy="3321826"/>
              </a:xfrm>
            </p:grpSpPr>
            <p:sp>
              <p:nvSpPr>
                <p:cNvPr id="85" name="îṥľïdè">
                  <a:extLst>
                    <a:ext uri="{FF2B5EF4-FFF2-40B4-BE49-F238E27FC236}">
                      <a16:creationId xmlns:a16="http://schemas.microsoft.com/office/drawing/2014/main" id="{EAD340D9-4D80-404B-A22C-371611963578}"/>
                    </a:ext>
                  </a:extLst>
                </p:cNvPr>
                <p:cNvSpPr txBox="1"/>
                <p:nvPr/>
              </p:nvSpPr>
              <p:spPr>
                <a:xfrm>
                  <a:off x="675908"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2</a:t>
                  </a:r>
                  <a:endParaRPr lang="zh-CN" altLang="en-US" sz="9600" dirty="0">
                    <a:solidFill>
                      <a:schemeClr val="accent1">
                        <a:alpha val="33000"/>
                      </a:schemeClr>
                    </a:solidFill>
                    <a:latin typeface="Impact" panose="020B0806030902050204" pitchFamily="34" charset="0"/>
                  </a:endParaRPr>
                </a:p>
              </p:txBody>
            </p:sp>
            <p:sp>
              <p:nvSpPr>
                <p:cNvPr id="86" name="îşlîďe">
                  <a:extLst>
                    <a:ext uri="{FF2B5EF4-FFF2-40B4-BE49-F238E27FC236}">
                      <a16:creationId xmlns:a16="http://schemas.microsoft.com/office/drawing/2014/main" id="{C5EAAD96-E6A4-40B4-9522-7A0E0AC1C1FC}"/>
                    </a:ext>
                  </a:extLst>
                </p:cNvPr>
                <p:cNvSpPr txBox="1"/>
                <p:nvPr/>
              </p:nvSpPr>
              <p:spPr>
                <a:xfrm>
                  <a:off x="2770637"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0</a:t>
                  </a:r>
                  <a:endParaRPr lang="zh-CN" altLang="en-US" sz="9600" dirty="0">
                    <a:solidFill>
                      <a:schemeClr val="accent1">
                        <a:alpha val="33000"/>
                      </a:schemeClr>
                    </a:solidFill>
                    <a:latin typeface="Impact" panose="020B0806030902050204" pitchFamily="34" charset="0"/>
                  </a:endParaRPr>
                </a:p>
              </p:txBody>
            </p:sp>
            <p:sp>
              <p:nvSpPr>
                <p:cNvPr id="87" name="iśľîďe">
                  <a:extLst>
                    <a:ext uri="{FF2B5EF4-FFF2-40B4-BE49-F238E27FC236}">
                      <a16:creationId xmlns:a16="http://schemas.microsoft.com/office/drawing/2014/main" id="{304B0029-EDD4-48D6-A2DB-997C474C8A00}"/>
                    </a:ext>
                  </a:extLst>
                </p:cNvPr>
                <p:cNvSpPr txBox="1"/>
                <p:nvPr/>
              </p:nvSpPr>
              <p:spPr>
                <a:xfrm>
                  <a:off x="4865366"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X</a:t>
                  </a:r>
                  <a:endParaRPr lang="zh-CN" altLang="en-US" sz="9600" dirty="0">
                    <a:solidFill>
                      <a:schemeClr val="accent1">
                        <a:alpha val="33000"/>
                      </a:schemeClr>
                    </a:solidFill>
                    <a:latin typeface="Impact" panose="020B0806030902050204" pitchFamily="34" charset="0"/>
                  </a:endParaRPr>
                </a:p>
              </p:txBody>
            </p:sp>
            <p:sp>
              <p:nvSpPr>
                <p:cNvPr id="88" name="ï$ḷiḓê">
                  <a:extLst>
                    <a:ext uri="{FF2B5EF4-FFF2-40B4-BE49-F238E27FC236}">
                      <a16:creationId xmlns:a16="http://schemas.microsoft.com/office/drawing/2014/main" id="{D570F823-078D-411D-A5D5-FE67A11A21C4}"/>
                    </a:ext>
                  </a:extLst>
                </p:cNvPr>
                <p:cNvSpPr txBox="1"/>
                <p:nvPr/>
              </p:nvSpPr>
              <p:spPr>
                <a:xfrm>
                  <a:off x="6960096"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X</a:t>
                  </a:r>
                  <a:endParaRPr lang="zh-CN" altLang="en-US" sz="9600" dirty="0">
                    <a:solidFill>
                      <a:schemeClr val="accent1">
                        <a:alpha val="33000"/>
                      </a:schemeClr>
                    </a:solidFill>
                    <a:latin typeface="Impact" panose="020B0806030902050204" pitchFamily="34" charset="0"/>
                  </a:endParaRPr>
                </a:p>
              </p:txBody>
            </p:sp>
          </p:grpSp>
        </p:grpSp>
        <p:sp>
          <p:nvSpPr>
            <p:cNvPr id="67" name="ïṧľîḍê">
              <a:extLst>
                <a:ext uri="{FF2B5EF4-FFF2-40B4-BE49-F238E27FC236}">
                  <a16:creationId xmlns:a16="http://schemas.microsoft.com/office/drawing/2014/main" id="{DA4CF3C1-CF98-4A5C-98A7-A6B03DE64E1C}"/>
                </a:ext>
              </a:extLst>
            </p:cNvPr>
            <p:cNvSpPr/>
            <p:nvPr/>
          </p:nvSpPr>
          <p:spPr>
            <a:xfrm rot="16200000" flipH="1">
              <a:off x="3831161" y="2879272"/>
              <a:ext cx="2904459" cy="1117216"/>
            </a:xfrm>
            <a:custGeom>
              <a:avLst/>
              <a:gdLst>
                <a:gd name="connsiteX0" fmla="*/ 0 w 3622166"/>
                <a:gd name="connsiteY0" fmla="*/ 1548784 h 1548784"/>
                <a:gd name="connsiteX1" fmla="*/ 910437 w 3622166"/>
                <a:gd name="connsiteY1" fmla="*/ 0 h 1548784"/>
                <a:gd name="connsiteX2" fmla="*/ 3622166 w 3622166"/>
                <a:gd name="connsiteY2" fmla="*/ 0 h 1548784"/>
                <a:gd name="connsiteX3" fmla="*/ 2711729 w 3622166"/>
                <a:gd name="connsiteY3" fmla="*/ 1548784 h 1548784"/>
                <a:gd name="connsiteX4" fmla="*/ 0 w 3622166"/>
                <a:gd name="connsiteY4" fmla="*/ 1548784 h 1548784"/>
                <a:gd name="connsiteX0" fmla="*/ 0 w 3622166"/>
                <a:gd name="connsiteY0" fmla="*/ 1548784 h 1548784"/>
                <a:gd name="connsiteX1" fmla="*/ 811377 w 3622166"/>
                <a:gd name="connsiteY1" fmla="*/ 7620 h 1548784"/>
                <a:gd name="connsiteX2" fmla="*/ 3622166 w 3622166"/>
                <a:gd name="connsiteY2" fmla="*/ 0 h 1548784"/>
                <a:gd name="connsiteX3" fmla="*/ 2711729 w 3622166"/>
                <a:gd name="connsiteY3" fmla="*/ 1548784 h 1548784"/>
                <a:gd name="connsiteX4" fmla="*/ 0 w 3622166"/>
                <a:gd name="connsiteY4" fmla="*/ 1548784 h 1548784"/>
                <a:gd name="connsiteX0" fmla="*/ 0 w 3622166"/>
                <a:gd name="connsiteY0" fmla="*/ 1553874 h 1553874"/>
                <a:gd name="connsiteX1" fmla="*/ 762611 w 3622166"/>
                <a:gd name="connsiteY1" fmla="*/ 0 h 1553874"/>
                <a:gd name="connsiteX2" fmla="*/ 3622166 w 3622166"/>
                <a:gd name="connsiteY2" fmla="*/ 5090 h 1553874"/>
                <a:gd name="connsiteX3" fmla="*/ 2711729 w 3622166"/>
                <a:gd name="connsiteY3" fmla="*/ 1553874 h 1553874"/>
                <a:gd name="connsiteX4" fmla="*/ 0 w 3622166"/>
                <a:gd name="connsiteY4" fmla="*/ 1553874 h 1553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166" h="1553874">
                  <a:moveTo>
                    <a:pt x="0" y="1553874"/>
                  </a:moveTo>
                  <a:lnTo>
                    <a:pt x="762611" y="0"/>
                  </a:lnTo>
                  <a:lnTo>
                    <a:pt x="3622166" y="5090"/>
                  </a:lnTo>
                  <a:lnTo>
                    <a:pt x="2711729" y="1553874"/>
                  </a:lnTo>
                  <a:lnTo>
                    <a:pt x="0" y="1553874"/>
                  </a:lnTo>
                  <a:close/>
                </a:path>
              </a:pathLst>
            </a:custGeom>
            <a:gradFill flip="none" rotWithShape="1">
              <a:gsLst>
                <a:gs pos="90000">
                  <a:schemeClr val="bg1"/>
                </a:gs>
                <a:gs pos="1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tx1"/>
                </a:solidFill>
              </a:endParaRPr>
            </a:p>
          </p:txBody>
        </p:sp>
        <p:grpSp>
          <p:nvGrpSpPr>
            <p:cNvPr id="68" name="iṥlíḑê">
              <a:extLst>
                <a:ext uri="{FF2B5EF4-FFF2-40B4-BE49-F238E27FC236}">
                  <a16:creationId xmlns:a16="http://schemas.microsoft.com/office/drawing/2014/main" id="{5A9D01E1-4DD8-4CB3-B00A-82A001D60BF9}"/>
                </a:ext>
              </a:extLst>
            </p:cNvPr>
            <p:cNvGrpSpPr/>
            <p:nvPr/>
          </p:nvGrpSpPr>
          <p:grpSpPr>
            <a:xfrm>
              <a:off x="6880916" y="1435178"/>
              <a:ext cx="805758" cy="805758"/>
              <a:chOff x="6880916" y="1435178"/>
              <a:chExt cx="805758" cy="805758"/>
            </a:xfrm>
          </p:grpSpPr>
          <p:sp>
            <p:nvSpPr>
              <p:cNvPr id="81" name="îṥļïḓé">
                <a:extLst>
                  <a:ext uri="{FF2B5EF4-FFF2-40B4-BE49-F238E27FC236}">
                    <a16:creationId xmlns:a16="http://schemas.microsoft.com/office/drawing/2014/main" id="{1282DF96-CD27-4430-BECC-C7F90FE78481}"/>
                  </a:ext>
                </a:extLst>
              </p:cNvPr>
              <p:cNvSpPr/>
              <p:nvPr/>
            </p:nvSpPr>
            <p:spPr>
              <a:xfrm>
                <a:off x="6880916" y="1435178"/>
                <a:ext cx="805758" cy="805758"/>
              </a:xfrm>
              <a:prstGeom prst="ellipse">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82" name="íṧḷïḑe">
                <a:extLst>
                  <a:ext uri="{FF2B5EF4-FFF2-40B4-BE49-F238E27FC236}">
                    <a16:creationId xmlns:a16="http://schemas.microsoft.com/office/drawing/2014/main" id="{ACD8D591-F08A-41DA-8466-7CDA4C137EDE}"/>
                  </a:ext>
                </a:extLst>
              </p:cNvPr>
              <p:cNvSpPr/>
              <p:nvPr/>
            </p:nvSpPr>
            <p:spPr>
              <a:xfrm>
                <a:off x="7071039" y="1668639"/>
                <a:ext cx="425514" cy="338835"/>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grpSp>
          <p:nvGrpSpPr>
            <p:cNvPr id="69" name="ís1iḓê">
              <a:extLst>
                <a:ext uri="{FF2B5EF4-FFF2-40B4-BE49-F238E27FC236}">
                  <a16:creationId xmlns:a16="http://schemas.microsoft.com/office/drawing/2014/main" id="{8CD98F44-39F0-411B-8811-204FEEC02920}"/>
                </a:ext>
              </a:extLst>
            </p:cNvPr>
            <p:cNvGrpSpPr/>
            <p:nvPr/>
          </p:nvGrpSpPr>
          <p:grpSpPr>
            <a:xfrm>
              <a:off x="5868184" y="2431059"/>
              <a:ext cx="2831222" cy="3409592"/>
              <a:chOff x="5868184" y="2431059"/>
              <a:chExt cx="2831222" cy="3409592"/>
            </a:xfrm>
          </p:grpSpPr>
          <p:sp>
            <p:nvSpPr>
              <p:cNvPr id="78" name="íṩḷîḋè">
                <a:extLst>
                  <a:ext uri="{FF2B5EF4-FFF2-40B4-BE49-F238E27FC236}">
                    <a16:creationId xmlns:a16="http://schemas.microsoft.com/office/drawing/2014/main" id="{921D2456-A6A6-43F5-AD86-0A010D24A2F0}"/>
                  </a:ext>
                </a:extLst>
              </p:cNvPr>
              <p:cNvSpPr txBox="1"/>
              <p:nvPr/>
            </p:nvSpPr>
            <p:spPr>
              <a:xfrm>
                <a:off x="5868184" y="2431059"/>
                <a:ext cx="2831222" cy="391099"/>
              </a:xfrm>
              <a:prstGeom prst="rect">
                <a:avLst/>
              </a:prstGeom>
              <a:noFill/>
            </p:spPr>
            <p:txBody>
              <a:bodyPr wrap="square" lIns="91440" tIns="45720" rIns="91440" bIns="45720"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400" b="1" dirty="0"/>
                  <a:t>01</a:t>
                </a:r>
                <a:endParaRPr lang="id-ID" sz="1400" b="1" dirty="0"/>
              </a:p>
            </p:txBody>
          </p:sp>
          <p:sp>
            <p:nvSpPr>
              <p:cNvPr id="79" name="ïSļíḑè">
                <a:extLst>
                  <a:ext uri="{FF2B5EF4-FFF2-40B4-BE49-F238E27FC236}">
                    <a16:creationId xmlns:a16="http://schemas.microsoft.com/office/drawing/2014/main" id="{F8E07573-A8E5-42F7-B445-E2E8E3B47ABD}"/>
                  </a:ext>
                </a:extLst>
              </p:cNvPr>
              <p:cNvSpPr/>
              <p:nvPr/>
            </p:nvSpPr>
            <p:spPr bwMode="auto">
              <a:xfrm>
                <a:off x="5868184" y="2936191"/>
                <a:ext cx="2831222" cy="290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zh-CN" sz="1400" dirty="0">
                    <a:effectLst/>
                    <a:ea typeface="宋体" panose="02010600030101010101" pitchFamily="2" charset="-122"/>
                    <a:cs typeface="宋体" panose="02010600030101010101" pitchFamily="2" charset="-122"/>
                  </a:rPr>
                  <a:t>基于人工智能的系统中，数据收集和预处理阶段分别容易受到传感器欺骗攻击和缩放攻击，而模型的训练和推理阶段分别容易受到投毒攻击和对抗性攻击</a:t>
                </a:r>
                <a:r>
                  <a:rPr lang="zh-CN" altLang="en-US" sz="1400" dirty="0">
                    <a:effectLst/>
                    <a:ea typeface="宋体" panose="02010600030101010101" pitchFamily="2" charset="-122"/>
                    <a:cs typeface="宋体" panose="02010600030101010101" pitchFamily="2" charset="-122"/>
                  </a:rPr>
                  <a:t>。</a:t>
                </a:r>
                <a:endParaRPr lang="en-US" altLang="zh-CN" sz="1400" dirty="0"/>
              </a:p>
            </p:txBody>
          </p:sp>
        </p:grpSp>
        <p:grpSp>
          <p:nvGrpSpPr>
            <p:cNvPr id="70" name="îSľïďê">
              <a:extLst>
                <a:ext uri="{FF2B5EF4-FFF2-40B4-BE49-F238E27FC236}">
                  <a16:creationId xmlns:a16="http://schemas.microsoft.com/office/drawing/2014/main" id="{FE642C39-6DB5-449B-849D-4940FF15472E}"/>
                </a:ext>
              </a:extLst>
            </p:cNvPr>
            <p:cNvGrpSpPr/>
            <p:nvPr/>
          </p:nvGrpSpPr>
          <p:grpSpPr>
            <a:xfrm>
              <a:off x="9700410" y="1435178"/>
              <a:ext cx="805758" cy="805758"/>
              <a:chOff x="9700410" y="1435178"/>
              <a:chExt cx="805758" cy="805758"/>
            </a:xfrm>
          </p:grpSpPr>
          <p:sp>
            <p:nvSpPr>
              <p:cNvPr id="76" name="iṧlídè">
                <a:extLst>
                  <a:ext uri="{FF2B5EF4-FFF2-40B4-BE49-F238E27FC236}">
                    <a16:creationId xmlns:a16="http://schemas.microsoft.com/office/drawing/2014/main" id="{AD7640F1-E577-4E6C-8582-88A9D713E6B6}"/>
                  </a:ext>
                </a:extLst>
              </p:cNvPr>
              <p:cNvSpPr/>
              <p:nvPr/>
            </p:nvSpPr>
            <p:spPr>
              <a:xfrm>
                <a:off x="9700410" y="1435178"/>
                <a:ext cx="805758" cy="805758"/>
              </a:xfrm>
              <a:prstGeom prst="ellipse">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77" name="ïSḷide">
                <a:extLst>
                  <a:ext uri="{FF2B5EF4-FFF2-40B4-BE49-F238E27FC236}">
                    <a16:creationId xmlns:a16="http://schemas.microsoft.com/office/drawing/2014/main" id="{8115A0CD-EB83-4683-96D5-338165490FFA}"/>
                  </a:ext>
                </a:extLst>
              </p:cNvPr>
              <p:cNvSpPr/>
              <p:nvPr/>
            </p:nvSpPr>
            <p:spPr>
              <a:xfrm>
                <a:off x="9890532" y="1629099"/>
                <a:ext cx="425514" cy="417915"/>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grpSp>
          <p:nvGrpSpPr>
            <p:cNvPr id="71" name="isľídé">
              <a:extLst>
                <a:ext uri="{FF2B5EF4-FFF2-40B4-BE49-F238E27FC236}">
                  <a16:creationId xmlns:a16="http://schemas.microsoft.com/office/drawing/2014/main" id="{5FECF596-DE83-4135-A3E3-A9F0CDC0CA11}"/>
                </a:ext>
              </a:extLst>
            </p:cNvPr>
            <p:cNvGrpSpPr/>
            <p:nvPr/>
          </p:nvGrpSpPr>
          <p:grpSpPr>
            <a:xfrm>
              <a:off x="8687678" y="2431059"/>
              <a:ext cx="2831222" cy="3365674"/>
              <a:chOff x="8687678" y="2431059"/>
              <a:chExt cx="2831222" cy="3365674"/>
            </a:xfrm>
          </p:grpSpPr>
          <p:sp>
            <p:nvSpPr>
              <p:cNvPr id="73" name="išlíďé">
                <a:extLst>
                  <a:ext uri="{FF2B5EF4-FFF2-40B4-BE49-F238E27FC236}">
                    <a16:creationId xmlns:a16="http://schemas.microsoft.com/office/drawing/2014/main" id="{921D2456-A6A6-43F5-AD86-0A010D24A2F0}"/>
                  </a:ext>
                </a:extLst>
              </p:cNvPr>
              <p:cNvSpPr txBox="1"/>
              <p:nvPr/>
            </p:nvSpPr>
            <p:spPr>
              <a:xfrm>
                <a:off x="8687678" y="2431059"/>
                <a:ext cx="2831222" cy="391099"/>
              </a:xfrm>
              <a:prstGeom prst="rect">
                <a:avLst/>
              </a:prstGeom>
              <a:noFill/>
            </p:spPr>
            <p:txBody>
              <a:bodyPr wrap="square" lIns="91440" tIns="45720" rIns="91440" bIns="45720"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400" b="1" dirty="0"/>
                  <a:t>02</a:t>
                </a:r>
                <a:endParaRPr lang="id-ID" sz="1400" b="1" dirty="0"/>
              </a:p>
            </p:txBody>
          </p:sp>
          <p:sp>
            <p:nvSpPr>
              <p:cNvPr id="74" name="îšlîḑé">
                <a:extLst>
                  <a:ext uri="{FF2B5EF4-FFF2-40B4-BE49-F238E27FC236}">
                    <a16:creationId xmlns:a16="http://schemas.microsoft.com/office/drawing/2014/main" id="{F8E07573-A8E5-42F7-B445-E2E8E3B47ABD}"/>
                  </a:ext>
                </a:extLst>
              </p:cNvPr>
              <p:cNvSpPr/>
              <p:nvPr/>
            </p:nvSpPr>
            <p:spPr bwMode="auto">
              <a:xfrm>
                <a:off x="8687678" y="2936191"/>
                <a:ext cx="2831222" cy="286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zh-CN" sz="1400" dirty="0">
                    <a:effectLst/>
                    <a:latin typeface="宋体" panose="02010600030101010101" pitchFamily="2" charset="-122"/>
                    <a:ea typeface="宋体" panose="02010600030101010101" pitchFamily="2" charset="-122"/>
                    <a:cs typeface="Times New Roman" panose="02020603050405020304" pitchFamily="18" charset="0"/>
                  </a:rPr>
                  <a:t>人工智能、机器学习</a:t>
                </a:r>
                <a:r>
                  <a:rPr lang="en-US" altLang="zh-CN" sz="1400" dirty="0">
                    <a:effectLst/>
                    <a:latin typeface="宋体" panose="02010600030101010101" pitchFamily="2" charset="-122"/>
                    <a:ea typeface="宋体" panose="02010600030101010101" pitchFamily="2" charset="-122"/>
                  </a:rPr>
                  <a:t>(ML)</a:t>
                </a:r>
                <a:r>
                  <a:rPr lang="zh-CN" altLang="zh-CN" sz="1400" dirty="0">
                    <a:effectLst/>
                    <a:latin typeface="宋体" panose="02010600030101010101" pitchFamily="2" charset="-122"/>
                    <a:ea typeface="宋体" panose="02010600030101010101" pitchFamily="2" charset="-122"/>
                    <a:cs typeface="Times New Roman" panose="02020603050405020304" pitchFamily="18" charset="0"/>
                  </a:rPr>
                  <a:t>和数据挖掘在安全和隐私问题上的潜在应用正在不断扩大。</a:t>
                </a:r>
                <a:endParaRPr lang="en-US" altLang="zh-CN" sz="1400" dirty="0">
                  <a:effectLst/>
                  <a:latin typeface="宋体" panose="02010600030101010101" pitchFamily="2" charset="-122"/>
                  <a:ea typeface="宋体" panose="02010600030101010101" pitchFamily="2" charset="-122"/>
                  <a:cs typeface="Times New Roman" panose="02020603050405020304" pitchFamily="18" charset="0"/>
                </a:endParaRPr>
              </a:p>
              <a:p>
                <a:pPr algn="ctr">
                  <a:lnSpc>
                    <a:spcPct val="150000"/>
                  </a:lnSpc>
                </a:pPr>
                <a:r>
                  <a:rPr lang="zh-CN" altLang="zh-CN" sz="1400" dirty="0">
                    <a:effectLst/>
                    <a:latin typeface="宋体" panose="02010600030101010101" pitchFamily="2" charset="-122"/>
                    <a:ea typeface="宋体" panose="02010600030101010101" pitchFamily="2" charset="-122"/>
                    <a:cs typeface="Times New Roman" panose="02020603050405020304" pitchFamily="18" charset="0"/>
                  </a:rPr>
                  <a:t>这些技术提供的分析工具和智能行为使得人工智能和学习在具有丰富数据或需要对不断变化的情况做出快速反应的领域的自主实时决策中变得越来越重要。</a:t>
                </a:r>
                <a:endParaRPr lang="en-US" altLang="zh-CN" sz="1400" dirty="0">
                  <a:latin typeface="宋体" panose="02010600030101010101" pitchFamily="2" charset="-122"/>
                  <a:ea typeface="宋体" panose="02010600030101010101" pitchFamily="2" charset="-122"/>
                </a:endParaRPr>
              </a:p>
            </p:txBody>
          </p:sp>
        </p:grpSp>
        <p:cxnSp>
          <p:nvCxnSpPr>
            <p:cNvPr id="72" name="ïṣḻiḍé">
              <a:extLst>
                <a:ext uri="{FF2B5EF4-FFF2-40B4-BE49-F238E27FC236}">
                  <a16:creationId xmlns:a16="http://schemas.microsoft.com/office/drawing/2014/main" id="{3C146EC5-74E2-4AA7-8DE4-8873C35E1882}"/>
                </a:ext>
              </a:extLst>
            </p:cNvPr>
            <p:cNvCxnSpPr/>
            <p:nvPr/>
          </p:nvCxnSpPr>
          <p:spPr>
            <a:xfrm>
              <a:off x="8693542" y="2431059"/>
              <a:ext cx="0" cy="371256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106906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íṡlïďe"/>
        <p:cNvGrpSpPr/>
        <p:nvPr/>
      </p:nvGrpSpPr>
      <p:grpSpPr>
        <a:xfrm>
          <a:off x="0" y="0"/>
          <a:ext cx="0" cy="0"/>
          <a:chOff x="0" y="0"/>
          <a:chExt cx="0" cy="0"/>
        </a:xfrm>
      </p:grpSpPr>
      <p:sp>
        <p:nvSpPr>
          <p:cNvPr id="2" name="íşlîďé">
            <a:extLst>
              <a:ext uri="{FF2B5EF4-FFF2-40B4-BE49-F238E27FC236}">
                <a16:creationId xmlns:a16="http://schemas.microsoft.com/office/drawing/2014/main" id="{113A3D32-96D7-413D-9B91-A1947312F2CC}"/>
              </a:ext>
            </a:extLst>
          </p:cNvPr>
          <p:cNvSpPr>
            <a:spLocks noGrp="1"/>
          </p:cNvSpPr>
          <p:nvPr>
            <p:ph type="title"/>
          </p:nvPr>
        </p:nvSpPr>
        <p:spPr/>
        <p:txBody>
          <a:bodyPr/>
          <a:lstStyle/>
          <a:p>
            <a:r>
              <a:rPr lang="zh-CN" altLang="en-US" dirty="0"/>
              <a:t>面向国家安全的信息安全</a:t>
            </a:r>
          </a:p>
        </p:txBody>
      </p:sp>
      <p:sp>
        <p:nvSpPr>
          <p:cNvPr id="4" name="iṡ1ïďê">
            <a:extLst>
              <a:ext uri="{FF2B5EF4-FFF2-40B4-BE49-F238E27FC236}">
                <a16:creationId xmlns:a16="http://schemas.microsoft.com/office/drawing/2014/main" id="{54F048B2-0F47-4223-8A9F-9D1E1D035C5C}"/>
              </a:ext>
            </a:extLst>
          </p:cNvPr>
          <p:cNvSpPr>
            <a:spLocks noGrp="1"/>
          </p:cNvSpPr>
          <p:nvPr>
            <p:ph type="sldNum" sz="quarter" idx="12"/>
          </p:nvPr>
        </p:nvSpPr>
        <p:spPr/>
        <p:txBody>
          <a:bodyPr/>
          <a:lstStyle/>
          <a:p>
            <a:fld id="{5DD3DB80-B894-403A-B48E-6FDC1A72010E}" type="slidenum">
              <a:rPr lang="zh-CN" altLang="en-US" smtClean="0"/>
              <a:pPr/>
              <a:t>5</a:t>
            </a:fld>
            <a:r>
              <a:rPr lang="zh-CN" altLang="en-US" sz="100"/>
              <a:t> </a:t>
            </a:r>
          </a:p>
        </p:txBody>
      </p:sp>
      <p:grpSp>
        <p:nvGrpSpPr>
          <p:cNvPr id="5" name="ísliḓ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46CD17A-6899-4A26-84FA-C855D4E9E14D}"/>
              </a:ext>
            </a:extLst>
          </p:cNvPr>
          <p:cNvGrpSpPr>
            <a:grpSpLocks noChangeAspect="1"/>
          </p:cNvGrpSpPr>
          <p:nvPr>
            <p:custDataLst>
              <p:tags r:id="rId2"/>
            </p:custDataLst>
          </p:nvPr>
        </p:nvGrpSpPr>
        <p:grpSpPr>
          <a:xfrm>
            <a:off x="791954" y="2176801"/>
            <a:ext cx="10544174" cy="3036454"/>
            <a:chOff x="791954" y="2176801"/>
            <a:chExt cx="10544174" cy="3036454"/>
          </a:xfrm>
        </p:grpSpPr>
        <p:sp>
          <p:nvSpPr>
            <p:cNvPr id="6" name="ïŝľíďê">
              <a:extLst>
                <a:ext uri="{FF2B5EF4-FFF2-40B4-BE49-F238E27FC236}">
                  <a16:creationId xmlns:a16="http://schemas.microsoft.com/office/drawing/2014/main" id="{9A5754BD-B79C-4A9D-90C9-611B6919BA2F}"/>
                </a:ext>
              </a:extLst>
            </p:cNvPr>
            <p:cNvSpPr/>
            <p:nvPr/>
          </p:nvSpPr>
          <p:spPr>
            <a:xfrm rot="60000">
              <a:off x="4397406" y="3059160"/>
              <a:ext cx="955599" cy="945264"/>
            </a:xfrm>
            <a:custGeom>
              <a:avLst/>
              <a:gdLst/>
              <a:ahLst/>
              <a:cxnLst>
                <a:cxn ang="0">
                  <a:pos x="wd2" y="hd2"/>
                </a:cxn>
                <a:cxn ang="5400000">
                  <a:pos x="wd2" y="hd2"/>
                </a:cxn>
                <a:cxn ang="10800000">
                  <a:pos x="wd2" y="hd2"/>
                </a:cxn>
                <a:cxn ang="16200000">
                  <a:pos x="wd2" y="hd2"/>
                </a:cxn>
              </a:cxnLst>
              <a:rect l="0" t="0" r="r" b="b"/>
              <a:pathLst>
                <a:path w="20378" h="21255" extrusionOk="0">
                  <a:moveTo>
                    <a:pt x="4821" y="21029"/>
                  </a:moveTo>
                  <a:cubicBezTo>
                    <a:pt x="7341" y="20448"/>
                    <a:pt x="9857" y="19848"/>
                    <a:pt x="12364" y="19214"/>
                  </a:cubicBezTo>
                  <a:cubicBezTo>
                    <a:pt x="14094" y="18776"/>
                    <a:pt x="15896" y="18405"/>
                    <a:pt x="17429" y="17491"/>
                  </a:cubicBezTo>
                  <a:cubicBezTo>
                    <a:pt x="18820" y="16662"/>
                    <a:pt x="19908" y="15325"/>
                    <a:pt x="20249" y="13793"/>
                  </a:cubicBezTo>
                  <a:cubicBezTo>
                    <a:pt x="20723" y="11668"/>
                    <a:pt x="19843" y="9700"/>
                    <a:pt x="18304" y="8178"/>
                  </a:cubicBezTo>
                  <a:cubicBezTo>
                    <a:pt x="17865" y="7744"/>
                    <a:pt x="17395" y="7331"/>
                    <a:pt x="16911" y="6940"/>
                  </a:cubicBezTo>
                  <a:cubicBezTo>
                    <a:pt x="15857" y="6088"/>
                    <a:pt x="14774" y="5266"/>
                    <a:pt x="13694" y="4443"/>
                  </a:cubicBezTo>
                  <a:cubicBezTo>
                    <a:pt x="13052" y="3954"/>
                    <a:pt x="12408" y="3467"/>
                    <a:pt x="11762" y="2982"/>
                  </a:cubicBezTo>
                  <a:cubicBezTo>
                    <a:pt x="10967" y="2385"/>
                    <a:pt x="10168" y="1791"/>
                    <a:pt x="9368" y="1200"/>
                  </a:cubicBezTo>
                  <a:cubicBezTo>
                    <a:pt x="8466" y="532"/>
                    <a:pt x="7650" y="146"/>
                    <a:pt x="6927" y="21"/>
                  </a:cubicBezTo>
                  <a:cubicBezTo>
                    <a:pt x="5183" y="-280"/>
                    <a:pt x="2445" y="2586"/>
                    <a:pt x="784" y="9830"/>
                  </a:cubicBezTo>
                  <a:cubicBezTo>
                    <a:pt x="-877" y="17073"/>
                    <a:pt x="360" y="20748"/>
                    <a:pt x="2081" y="21152"/>
                  </a:cubicBezTo>
                  <a:cubicBezTo>
                    <a:pt x="2795" y="21320"/>
                    <a:pt x="3706" y="21286"/>
                    <a:pt x="4821" y="21029"/>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7" name="ïs1ïḋè">
              <a:extLst>
                <a:ext uri="{FF2B5EF4-FFF2-40B4-BE49-F238E27FC236}">
                  <a16:creationId xmlns:a16="http://schemas.microsoft.com/office/drawing/2014/main" id="{A07B437A-9041-4824-9EE3-A98AC6B7EC91}"/>
                </a:ext>
              </a:extLst>
            </p:cNvPr>
            <p:cNvSpPr/>
            <p:nvPr/>
          </p:nvSpPr>
          <p:spPr bwMode="auto">
            <a:xfrm>
              <a:off x="4534685" y="3193236"/>
              <a:ext cx="681040" cy="677112"/>
            </a:xfrm>
            <a:custGeom>
              <a:avLst/>
              <a:gdLst>
                <a:gd name="T0" fmla="*/ 2159 w 8291"/>
                <a:gd name="T1" fmla="*/ 8650 h 8758"/>
                <a:gd name="T2" fmla="*/ 5054 w 8291"/>
                <a:gd name="T3" fmla="*/ 7950 h 8758"/>
                <a:gd name="T4" fmla="*/ 7001 w 8291"/>
                <a:gd name="T5" fmla="*/ 7275 h 8758"/>
                <a:gd name="T6" fmla="*/ 8099 w 8291"/>
                <a:gd name="T7" fmla="*/ 5787 h 8758"/>
                <a:gd name="T8" fmla="*/ 7383 w 8291"/>
                <a:gd name="T9" fmla="*/ 3498 h 8758"/>
                <a:gd name="T10" fmla="*/ 6857 w 8291"/>
                <a:gd name="T11" fmla="*/ 2989 h 8758"/>
                <a:gd name="T12" fmla="*/ 5639 w 8291"/>
                <a:gd name="T13" fmla="*/ 1959 h 8758"/>
                <a:gd name="T14" fmla="*/ 4908 w 8291"/>
                <a:gd name="T15" fmla="*/ 1357 h 8758"/>
                <a:gd name="T16" fmla="*/ 4001 w 8291"/>
                <a:gd name="T17" fmla="*/ 621 h 8758"/>
                <a:gd name="T18" fmla="*/ 3073 w 8291"/>
                <a:gd name="T19" fmla="*/ 131 h 8758"/>
                <a:gd name="T20" fmla="*/ 673 w 8291"/>
                <a:gd name="T21" fmla="*/ 4084 h 8758"/>
                <a:gd name="T22" fmla="*/ 1110 w 8291"/>
                <a:gd name="T23" fmla="*/ 8687 h 8758"/>
                <a:gd name="T24" fmla="*/ 2159 w 8291"/>
                <a:gd name="T25" fmla="*/ 8650 h 8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1" h="8758">
                  <a:moveTo>
                    <a:pt x="2159" y="8650"/>
                  </a:moveTo>
                  <a:cubicBezTo>
                    <a:pt x="3126" y="8426"/>
                    <a:pt x="4092" y="8195"/>
                    <a:pt x="5054" y="7950"/>
                  </a:cubicBezTo>
                  <a:cubicBezTo>
                    <a:pt x="5718" y="7780"/>
                    <a:pt x="6409" y="7639"/>
                    <a:pt x="7001" y="7275"/>
                  </a:cubicBezTo>
                  <a:cubicBezTo>
                    <a:pt x="7537" y="6945"/>
                    <a:pt x="7960" y="6407"/>
                    <a:pt x="8099" y="5787"/>
                  </a:cubicBezTo>
                  <a:cubicBezTo>
                    <a:pt x="8291" y="4926"/>
                    <a:pt x="7964" y="4123"/>
                    <a:pt x="7383" y="3498"/>
                  </a:cubicBezTo>
                  <a:cubicBezTo>
                    <a:pt x="7217" y="3320"/>
                    <a:pt x="7040" y="3149"/>
                    <a:pt x="6857" y="2989"/>
                  </a:cubicBezTo>
                  <a:cubicBezTo>
                    <a:pt x="6458" y="2638"/>
                    <a:pt x="6048" y="2299"/>
                    <a:pt x="5639" y="1959"/>
                  </a:cubicBezTo>
                  <a:cubicBezTo>
                    <a:pt x="5396" y="1758"/>
                    <a:pt x="5152" y="1557"/>
                    <a:pt x="4908" y="1357"/>
                  </a:cubicBezTo>
                  <a:cubicBezTo>
                    <a:pt x="4606" y="1110"/>
                    <a:pt x="4304" y="865"/>
                    <a:pt x="4001" y="621"/>
                  </a:cubicBezTo>
                  <a:cubicBezTo>
                    <a:pt x="3659" y="346"/>
                    <a:pt x="3349" y="185"/>
                    <a:pt x="3073" y="131"/>
                  </a:cubicBezTo>
                  <a:cubicBezTo>
                    <a:pt x="2407" y="0"/>
                    <a:pt x="1346" y="1150"/>
                    <a:pt x="673" y="4084"/>
                  </a:cubicBezTo>
                  <a:cubicBezTo>
                    <a:pt x="0" y="7016"/>
                    <a:pt x="454" y="8514"/>
                    <a:pt x="1110" y="8687"/>
                  </a:cubicBezTo>
                  <a:cubicBezTo>
                    <a:pt x="1383" y="8758"/>
                    <a:pt x="1731" y="8748"/>
                    <a:pt x="2159" y="8650"/>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2</a:t>
              </a:r>
              <a:endParaRPr lang="zh-CN" altLang="en-US" sz="1600" b="1" dirty="0">
                <a:solidFill>
                  <a:schemeClr val="bg1"/>
                </a:solidFill>
              </a:endParaRPr>
            </a:p>
          </p:txBody>
        </p:sp>
        <p:sp>
          <p:nvSpPr>
            <p:cNvPr id="8" name="îṣľíḑè">
              <a:extLst>
                <a:ext uri="{FF2B5EF4-FFF2-40B4-BE49-F238E27FC236}">
                  <a16:creationId xmlns:a16="http://schemas.microsoft.com/office/drawing/2014/main" id="{5A65C812-8D3C-4B12-9815-5B80F6E2410C}"/>
                </a:ext>
              </a:extLst>
            </p:cNvPr>
            <p:cNvSpPr/>
            <p:nvPr/>
          </p:nvSpPr>
          <p:spPr>
            <a:xfrm rot="60000">
              <a:off x="4684682" y="4155035"/>
              <a:ext cx="955599" cy="945264"/>
            </a:xfrm>
            <a:custGeom>
              <a:avLst/>
              <a:gdLst/>
              <a:ahLst/>
              <a:cxnLst>
                <a:cxn ang="0">
                  <a:pos x="wd2" y="hd2"/>
                </a:cxn>
                <a:cxn ang="5400000">
                  <a:pos x="wd2" y="hd2"/>
                </a:cxn>
                <a:cxn ang="10800000">
                  <a:pos x="wd2" y="hd2"/>
                </a:cxn>
                <a:cxn ang="16200000">
                  <a:pos x="wd2" y="hd2"/>
                </a:cxn>
              </a:cxnLst>
              <a:rect l="0" t="0" r="r" b="b"/>
              <a:pathLst>
                <a:path w="20761" h="20724" extrusionOk="0">
                  <a:moveTo>
                    <a:pt x="16007" y="18283"/>
                  </a:moveTo>
                  <a:cubicBezTo>
                    <a:pt x="17050" y="16026"/>
                    <a:pt x="18075" y="13761"/>
                    <a:pt x="19068" y="11481"/>
                  </a:cubicBezTo>
                  <a:cubicBezTo>
                    <a:pt x="19753" y="9907"/>
                    <a:pt x="20534" y="8322"/>
                    <a:pt x="20723" y="6594"/>
                  </a:cubicBezTo>
                  <a:cubicBezTo>
                    <a:pt x="20895" y="5026"/>
                    <a:pt x="20481" y="3364"/>
                    <a:pt x="19468" y="2136"/>
                  </a:cubicBezTo>
                  <a:cubicBezTo>
                    <a:pt x="18063" y="434"/>
                    <a:pt x="15974" y="-154"/>
                    <a:pt x="13847" y="34"/>
                  </a:cubicBezTo>
                  <a:cubicBezTo>
                    <a:pt x="13240" y="88"/>
                    <a:pt x="12631" y="177"/>
                    <a:pt x="12032" y="292"/>
                  </a:cubicBezTo>
                  <a:cubicBezTo>
                    <a:pt x="10726" y="542"/>
                    <a:pt x="9426" y="832"/>
                    <a:pt x="8128" y="1119"/>
                  </a:cubicBezTo>
                  <a:cubicBezTo>
                    <a:pt x="7356" y="1290"/>
                    <a:pt x="6585" y="1464"/>
                    <a:pt x="5814" y="1640"/>
                  </a:cubicBezTo>
                  <a:cubicBezTo>
                    <a:pt x="4865" y="1857"/>
                    <a:pt x="3917" y="2079"/>
                    <a:pt x="2969" y="2303"/>
                  </a:cubicBezTo>
                  <a:cubicBezTo>
                    <a:pt x="1900" y="2556"/>
                    <a:pt x="1107" y="2922"/>
                    <a:pt x="576" y="3385"/>
                  </a:cubicBezTo>
                  <a:cubicBezTo>
                    <a:pt x="-705" y="4501"/>
                    <a:pt x="-63" y="8368"/>
                    <a:pt x="4701" y="14206"/>
                  </a:cubicBezTo>
                  <a:cubicBezTo>
                    <a:pt x="9463" y="20043"/>
                    <a:pt x="13121" y="21446"/>
                    <a:pt x="14470" y="20413"/>
                  </a:cubicBezTo>
                  <a:cubicBezTo>
                    <a:pt x="15029" y="19985"/>
                    <a:pt x="15545" y="19280"/>
                    <a:pt x="16007" y="18283"/>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90000"/>
                </a:lnSpc>
                <a:defRPr sz="4000">
                  <a:solidFill>
                    <a:srgbClr val="FFFFFF"/>
                  </a:solidFill>
                </a:defRPr>
              </a:pPr>
              <a:endParaRPr/>
            </a:p>
          </p:txBody>
        </p:sp>
        <p:sp>
          <p:nvSpPr>
            <p:cNvPr id="9" name="ïṡḷíďê">
              <a:extLst>
                <a:ext uri="{FF2B5EF4-FFF2-40B4-BE49-F238E27FC236}">
                  <a16:creationId xmlns:a16="http://schemas.microsoft.com/office/drawing/2014/main" id="{AB9B5C37-7A97-4897-A559-1757DA316B42}"/>
                </a:ext>
              </a:extLst>
            </p:cNvPr>
            <p:cNvSpPr/>
            <p:nvPr/>
          </p:nvSpPr>
          <p:spPr bwMode="auto">
            <a:xfrm>
              <a:off x="4821961" y="4289111"/>
              <a:ext cx="681040" cy="677112"/>
            </a:xfrm>
            <a:custGeom>
              <a:avLst/>
              <a:gdLst>
                <a:gd name="T0" fmla="*/ 1508 w 8640"/>
                <a:gd name="T1" fmla="*/ 776 h 8602"/>
                <a:gd name="T2" fmla="*/ 4441 w 8640"/>
                <a:gd name="T3" fmla="*/ 258 h 8602"/>
                <a:gd name="T4" fmla="*/ 6495 w 8640"/>
                <a:gd name="T5" fmla="*/ 96 h 8602"/>
                <a:gd name="T6" fmla="*/ 8097 w 8640"/>
                <a:gd name="T7" fmla="*/ 1020 h 8602"/>
                <a:gd name="T8" fmla="*/ 8358 w 8640"/>
                <a:gd name="T9" fmla="*/ 3404 h 8602"/>
                <a:gd name="T10" fmla="*/ 8080 w 8640"/>
                <a:gd name="T11" fmla="*/ 4081 h 8602"/>
                <a:gd name="T12" fmla="*/ 7376 w 8640"/>
                <a:gd name="T13" fmla="*/ 5512 h 8602"/>
                <a:gd name="T14" fmla="*/ 6948 w 8640"/>
                <a:gd name="T15" fmla="*/ 6357 h 8602"/>
                <a:gd name="T16" fmla="*/ 6411 w 8640"/>
                <a:gd name="T17" fmla="*/ 7394 h 8602"/>
                <a:gd name="T18" fmla="*/ 5758 w 8640"/>
                <a:gd name="T19" fmla="*/ 8215 h 8602"/>
                <a:gd name="T20" fmla="*/ 1975 w 8640"/>
                <a:gd name="T21" fmla="*/ 5555 h 8602"/>
                <a:gd name="T22" fmla="*/ 532 w 8640"/>
                <a:gd name="T23" fmla="*/ 1162 h 8602"/>
                <a:gd name="T24" fmla="*/ 1508 w 8640"/>
                <a:gd name="T25" fmla="*/ 776 h 8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0" h="8602">
                  <a:moveTo>
                    <a:pt x="1508" y="776"/>
                  </a:moveTo>
                  <a:cubicBezTo>
                    <a:pt x="2484" y="593"/>
                    <a:pt x="3461" y="419"/>
                    <a:pt x="4441" y="258"/>
                  </a:cubicBezTo>
                  <a:cubicBezTo>
                    <a:pt x="5117" y="147"/>
                    <a:pt x="5807" y="0"/>
                    <a:pt x="6495" y="96"/>
                  </a:cubicBezTo>
                  <a:cubicBezTo>
                    <a:pt x="7118" y="184"/>
                    <a:pt x="7721" y="507"/>
                    <a:pt x="8097" y="1020"/>
                  </a:cubicBezTo>
                  <a:cubicBezTo>
                    <a:pt x="8617" y="1731"/>
                    <a:pt x="8640" y="2598"/>
                    <a:pt x="8358" y="3404"/>
                  </a:cubicBezTo>
                  <a:cubicBezTo>
                    <a:pt x="8277" y="3633"/>
                    <a:pt x="8183" y="3861"/>
                    <a:pt x="8080" y="4081"/>
                  </a:cubicBezTo>
                  <a:cubicBezTo>
                    <a:pt x="7855" y="4563"/>
                    <a:pt x="7615" y="5037"/>
                    <a:pt x="7376" y="5512"/>
                  </a:cubicBezTo>
                  <a:cubicBezTo>
                    <a:pt x="7234" y="5794"/>
                    <a:pt x="7091" y="6076"/>
                    <a:pt x="6948" y="6357"/>
                  </a:cubicBezTo>
                  <a:cubicBezTo>
                    <a:pt x="6770" y="6704"/>
                    <a:pt x="6591" y="7049"/>
                    <a:pt x="6411" y="7394"/>
                  </a:cubicBezTo>
                  <a:cubicBezTo>
                    <a:pt x="6209" y="7783"/>
                    <a:pt x="5989" y="8055"/>
                    <a:pt x="5758" y="8215"/>
                  </a:cubicBezTo>
                  <a:cubicBezTo>
                    <a:pt x="5200" y="8602"/>
                    <a:pt x="3766" y="7973"/>
                    <a:pt x="1975" y="5555"/>
                  </a:cubicBezTo>
                  <a:cubicBezTo>
                    <a:pt x="184" y="3138"/>
                    <a:pt x="0" y="1583"/>
                    <a:pt x="532" y="1162"/>
                  </a:cubicBezTo>
                  <a:cubicBezTo>
                    <a:pt x="753" y="988"/>
                    <a:pt x="1076" y="857"/>
                    <a:pt x="1508" y="776"/>
                  </a:cubicBezTo>
                </a:path>
              </a:pathLst>
            </a:custGeom>
            <a:solidFill>
              <a:schemeClr val="accent1"/>
            </a:solidFill>
            <a:ln w="19050" cap="flat">
              <a:noFill/>
              <a:miter lim="400000"/>
            </a:ln>
            <a:effectLst/>
          </p:spPr>
          <p:txBody>
            <a:bodyPr vert="horz" wrap="square" lIns="91440" tIns="45720" rIns="91440" bIns="45720" numCol="1" anchor="ctr" anchorCtr="0">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1</a:t>
              </a:r>
              <a:endParaRPr lang="zh-CN" altLang="en-US" sz="1600" b="1" dirty="0">
                <a:solidFill>
                  <a:schemeClr val="bg1"/>
                </a:solidFill>
              </a:endParaRPr>
            </a:p>
          </p:txBody>
        </p:sp>
        <p:sp>
          <p:nvSpPr>
            <p:cNvPr id="10" name="íṩļíḑé">
              <a:extLst>
                <a:ext uri="{FF2B5EF4-FFF2-40B4-BE49-F238E27FC236}">
                  <a16:creationId xmlns:a16="http://schemas.microsoft.com/office/drawing/2014/main" id="{564759CE-5866-4343-84FA-8256DF891A90}"/>
                </a:ext>
              </a:extLst>
            </p:cNvPr>
            <p:cNvSpPr/>
            <p:nvPr/>
          </p:nvSpPr>
          <p:spPr>
            <a:xfrm rot="60000">
              <a:off x="5109237" y="2310877"/>
              <a:ext cx="681040" cy="677112"/>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solidFill>
              <a:schemeClr val="accent1"/>
            </a:solidFill>
            <a:ln w="19050" cap="flat">
              <a:noFill/>
              <a:miter lim="400000"/>
            </a:ln>
            <a:effectLst/>
          </p:spPr>
          <p:txBody>
            <a:bodyPr vert="horz" wrap="square" lIns="91440" tIns="45720" rIns="91440" bIns="45720" numCol="1" anchor="ctr" anchorCtr="0">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3</a:t>
              </a:r>
              <a:endParaRPr sz="1600" b="1" dirty="0">
                <a:solidFill>
                  <a:schemeClr val="bg1"/>
                </a:solidFill>
              </a:endParaRPr>
            </a:p>
          </p:txBody>
        </p:sp>
        <p:sp>
          <p:nvSpPr>
            <p:cNvPr id="11" name="ï$lîḓè">
              <a:extLst>
                <a:ext uri="{FF2B5EF4-FFF2-40B4-BE49-F238E27FC236}">
                  <a16:creationId xmlns:a16="http://schemas.microsoft.com/office/drawing/2014/main" id="{531411BF-3B56-4170-8C58-F4D256946AB2}"/>
                </a:ext>
              </a:extLst>
            </p:cNvPr>
            <p:cNvSpPr/>
            <p:nvPr/>
          </p:nvSpPr>
          <p:spPr>
            <a:xfrm rot="60000">
              <a:off x="4971958" y="2176801"/>
              <a:ext cx="955599" cy="945264"/>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2" name="íṩḷîḋè">
              <a:extLst>
                <a:ext uri="{FF2B5EF4-FFF2-40B4-BE49-F238E27FC236}">
                  <a16:creationId xmlns:a16="http://schemas.microsoft.com/office/drawing/2014/main" id="{75D947F3-DE78-4237-8551-9494D4599141}"/>
                </a:ext>
              </a:extLst>
            </p:cNvPr>
            <p:cNvSpPr/>
            <p:nvPr/>
          </p:nvSpPr>
          <p:spPr>
            <a:xfrm rot="21540000" flipH="1">
              <a:off x="6360290" y="2310877"/>
              <a:ext cx="681040" cy="677112"/>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solidFill>
              <a:schemeClr val="accent1"/>
            </a:solidFill>
            <a:ln w="19050" cap="flat">
              <a:noFill/>
              <a:miter lim="400000"/>
            </a:ln>
            <a:effectLst/>
          </p:spPr>
          <p:txBody>
            <a:bodyPr vert="horz" wrap="square" lIns="91440" tIns="45720" rIns="91440" bIns="45720" numCol="1" anchor="ctr" anchorCtr="0">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4</a:t>
              </a:r>
              <a:endParaRPr sz="1600" b="1" dirty="0">
                <a:solidFill>
                  <a:schemeClr val="bg1"/>
                </a:solidFill>
              </a:endParaRPr>
            </a:p>
          </p:txBody>
        </p:sp>
        <p:sp>
          <p:nvSpPr>
            <p:cNvPr id="13" name="í$1îḋe">
              <a:extLst>
                <a:ext uri="{FF2B5EF4-FFF2-40B4-BE49-F238E27FC236}">
                  <a16:creationId xmlns:a16="http://schemas.microsoft.com/office/drawing/2014/main" id="{DBAC1F68-7974-4867-BFA9-718E483BDC9A}"/>
                </a:ext>
              </a:extLst>
            </p:cNvPr>
            <p:cNvSpPr/>
            <p:nvPr/>
          </p:nvSpPr>
          <p:spPr>
            <a:xfrm rot="60000">
              <a:off x="6223010" y="2176801"/>
              <a:ext cx="955599" cy="945264"/>
            </a:xfrm>
            <a:custGeom>
              <a:avLst/>
              <a:gdLst/>
              <a:ahLst/>
              <a:cxnLst>
                <a:cxn ang="0">
                  <a:pos x="wd2" y="hd2"/>
                </a:cxn>
                <a:cxn ang="5400000">
                  <a:pos x="wd2" y="hd2"/>
                </a:cxn>
                <a:cxn ang="10800000">
                  <a:pos x="wd2" y="hd2"/>
                </a:cxn>
                <a:cxn ang="16200000">
                  <a:pos x="wd2" y="hd2"/>
                </a:cxn>
              </a:cxnLst>
              <a:rect l="0" t="0" r="r" b="b"/>
              <a:pathLst>
                <a:path w="21012" h="20459" extrusionOk="0">
                  <a:moveTo>
                    <a:pt x="1" y="3733"/>
                  </a:moveTo>
                  <a:cubicBezTo>
                    <a:pt x="40" y="6242"/>
                    <a:pt x="101" y="8751"/>
                    <a:pt x="198" y="11259"/>
                  </a:cubicBezTo>
                  <a:cubicBezTo>
                    <a:pt x="264" y="12990"/>
                    <a:pt x="246" y="14775"/>
                    <a:pt x="841" y="16429"/>
                  </a:cubicBezTo>
                  <a:cubicBezTo>
                    <a:pt x="1380" y="17930"/>
                    <a:pt x="2502" y="19260"/>
                    <a:pt x="3984" y="19932"/>
                  </a:cubicBezTo>
                  <a:cubicBezTo>
                    <a:pt x="6041" y="20864"/>
                    <a:pt x="8234" y="20483"/>
                    <a:pt x="10117" y="19380"/>
                  </a:cubicBezTo>
                  <a:cubicBezTo>
                    <a:pt x="10654" y="19065"/>
                    <a:pt x="11178" y="18717"/>
                    <a:pt x="11680" y="18350"/>
                  </a:cubicBezTo>
                  <a:cubicBezTo>
                    <a:pt x="12777" y="17550"/>
                    <a:pt x="13849" y="16717"/>
                    <a:pt x="14922" y="15887"/>
                  </a:cubicBezTo>
                  <a:cubicBezTo>
                    <a:pt x="15559" y="15393"/>
                    <a:pt x="16195" y="14897"/>
                    <a:pt x="16829" y="14399"/>
                  </a:cubicBezTo>
                  <a:cubicBezTo>
                    <a:pt x="17611" y="13786"/>
                    <a:pt x="18389" y="13168"/>
                    <a:pt x="19165" y="12549"/>
                  </a:cubicBezTo>
                  <a:cubicBezTo>
                    <a:pt x="20041" y="11851"/>
                    <a:pt x="20611" y="11170"/>
                    <a:pt x="20897" y="10517"/>
                  </a:cubicBezTo>
                  <a:cubicBezTo>
                    <a:pt x="21584" y="8941"/>
                    <a:pt x="19270" y="5706"/>
                    <a:pt x="12268" y="2485"/>
                  </a:cubicBezTo>
                  <a:cubicBezTo>
                    <a:pt x="5268" y="-736"/>
                    <a:pt x="1262" y="-409"/>
                    <a:pt x="475" y="1121"/>
                  </a:cubicBezTo>
                  <a:cubicBezTo>
                    <a:pt x="148" y="1756"/>
                    <a:pt x="-16" y="2624"/>
                    <a:pt x="1" y="3733"/>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ísļîḋè">
              <a:extLst>
                <a:ext uri="{FF2B5EF4-FFF2-40B4-BE49-F238E27FC236}">
                  <a16:creationId xmlns:a16="http://schemas.microsoft.com/office/drawing/2014/main" id="{57DD8B5B-AFAB-4E2E-9D47-DCD7465E66A0}"/>
                </a:ext>
              </a:extLst>
            </p:cNvPr>
            <p:cNvSpPr/>
            <p:nvPr/>
          </p:nvSpPr>
          <p:spPr>
            <a:xfrm rot="60000">
              <a:off x="6838995" y="3059160"/>
              <a:ext cx="955599" cy="945264"/>
            </a:xfrm>
            <a:custGeom>
              <a:avLst/>
              <a:gdLst/>
              <a:ahLst/>
              <a:cxnLst>
                <a:cxn ang="0">
                  <a:pos x="wd2" y="hd2"/>
                </a:cxn>
                <a:cxn ang="5400000">
                  <a:pos x="wd2" y="hd2"/>
                </a:cxn>
                <a:cxn ang="10800000">
                  <a:pos x="wd2" y="hd2"/>
                </a:cxn>
                <a:cxn ang="16200000">
                  <a:pos x="wd2" y="hd2"/>
                </a:cxn>
              </a:cxnLst>
              <a:rect l="0" t="0" r="r" b="b"/>
              <a:pathLst>
                <a:path w="20462" h="21229" extrusionOk="0">
                  <a:moveTo>
                    <a:pt x="10730" y="1262"/>
                  </a:moveTo>
                  <a:cubicBezTo>
                    <a:pt x="8726" y="2820"/>
                    <a:pt x="6735" y="4393"/>
                    <a:pt x="4769" y="5994"/>
                  </a:cubicBezTo>
                  <a:cubicBezTo>
                    <a:pt x="3412" y="7098"/>
                    <a:pt x="1958" y="8172"/>
                    <a:pt x="998" y="9627"/>
                  </a:cubicBezTo>
                  <a:cubicBezTo>
                    <a:pt x="126" y="10946"/>
                    <a:pt x="-237" y="12599"/>
                    <a:pt x="160" y="14124"/>
                  </a:cubicBezTo>
                  <a:cubicBezTo>
                    <a:pt x="712" y="16237"/>
                    <a:pt x="2411" y="17654"/>
                    <a:pt x="4499" y="18398"/>
                  </a:cubicBezTo>
                  <a:cubicBezTo>
                    <a:pt x="5094" y="18610"/>
                    <a:pt x="5708" y="18792"/>
                    <a:pt x="6323" y="18946"/>
                  </a:cubicBezTo>
                  <a:cubicBezTo>
                    <a:pt x="7666" y="19283"/>
                    <a:pt x="9020" y="19582"/>
                    <a:pt x="10373" y="19883"/>
                  </a:cubicBezTo>
                  <a:cubicBezTo>
                    <a:pt x="11176" y="20061"/>
                    <a:pt x="11980" y="20237"/>
                    <a:pt x="12785" y="20411"/>
                  </a:cubicBezTo>
                  <a:cubicBezTo>
                    <a:pt x="13778" y="20624"/>
                    <a:pt x="14770" y="20833"/>
                    <a:pt x="15764" y="21040"/>
                  </a:cubicBezTo>
                  <a:cubicBezTo>
                    <a:pt x="16884" y="21272"/>
                    <a:pt x="17797" y="21287"/>
                    <a:pt x="18506" y="21103"/>
                  </a:cubicBezTo>
                  <a:cubicBezTo>
                    <a:pt x="20216" y="20661"/>
                    <a:pt x="21363" y="16950"/>
                    <a:pt x="19524" y="9724"/>
                  </a:cubicBezTo>
                  <a:cubicBezTo>
                    <a:pt x="17685" y="2499"/>
                    <a:pt x="14878" y="-313"/>
                    <a:pt x="13141" y="27"/>
                  </a:cubicBezTo>
                  <a:cubicBezTo>
                    <a:pt x="12421" y="168"/>
                    <a:pt x="11616" y="573"/>
                    <a:pt x="10730" y="1262"/>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5" name="ïṩḷîdè">
              <a:extLst>
                <a:ext uri="{FF2B5EF4-FFF2-40B4-BE49-F238E27FC236}">
                  <a16:creationId xmlns:a16="http://schemas.microsoft.com/office/drawing/2014/main" id="{7E00716F-ED13-4935-B34E-10DD936E01CF}"/>
                </a:ext>
              </a:extLst>
            </p:cNvPr>
            <p:cNvSpPr/>
            <p:nvPr/>
          </p:nvSpPr>
          <p:spPr bwMode="auto">
            <a:xfrm>
              <a:off x="6976275" y="3193236"/>
              <a:ext cx="681040" cy="677112"/>
            </a:xfrm>
            <a:custGeom>
              <a:avLst/>
              <a:gdLst>
                <a:gd name="T0" fmla="*/ 6132 w 8291"/>
                <a:gd name="T1" fmla="*/ 8649 h 8758"/>
                <a:gd name="T2" fmla="*/ 3237 w 8291"/>
                <a:gd name="T3" fmla="*/ 7949 h 8758"/>
                <a:gd name="T4" fmla="*/ 1290 w 8291"/>
                <a:gd name="T5" fmla="*/ 7274 h 8758"/>
                <a:gd name="T6" fmla="*/ 193 w 8291"/>
                <a:gd name="T7" fmla="*/ 5786 h 8758"/>
                <a:gd name="T8" fmla="*/ 908 w 8291"/>
                <a:gd name="T9" fmla="*/ 3497 h 8758"/>
                <a:gd name="T10" fmla="*/ 1434 w 8291"/>
                <a:gd name="T11" fmla="*/ 2988 h 8758"/>
                <a:gd name="T12" fmla="*/ 2652 w 8291"/>
                <a:gd name="T13" fmla="*/ 1959 h 8758"/>
                <a:gd name="T14" fmla="*/ 3383 w 8291"/>
                <a:gd name="T15" fmla="*/ 1356 h 8758"/>
                <a:gd name="T16" fmla="*/ 4290 w 8291"/>
                <a:gd name="T17" fmla="*/ 621 h 8758"/>
                <a:gd name="T18" fmla="*/ 5218 w 8291"/>
                <a:gd name="T19" fmla="*/ 130 h 8758"/>
                <a:gd name="T20" fmla="*/ 7619 w 8291"/>
                <a:gd name="T21" fmla="*/ 4083 h 8758"/>
                <a:gd name="T22" fmla="*/ 7181 w 8291"/>
                <a:gd name="T23" fmla="*/ 8686 h 8758"/>
                <a:gd name="T24" fmla="*/ 6132 w 8291"/>
                <a:gd name="T25" fmla="*/ 8649 h 8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1" h="8758">
                  <a:moveTo>
                    <a:pt x="6132" y="8649"/>
                  </a:moveTo>
                  <a:cubicBezTo>
                    <a:pt x="5165" y="8426"/>
                    <a:pt x="4199" y="8194"/>
                    <a:pt x="3237" y="7949"/>
                  </a:cubicBezTo>
                  <a:cubicBezTo>
                    <a:pt x="2573" y="7780"/>
                    <a:pt x="1882" y="7638"/>
                    <a:pt x="1290" y="7274"/>
                  </a:cubicBezTo>
                  <a:cubicBezTo>
                    <a:pt x="754" y="6944"/>
                    <a:pt x="331" y="6407"/>
                    <a:pt x="193" y="5786"/>
                  </a:cubicBezTo>
                  <a:cubicBezTo>
                    <a:pt x="0" y="4926"/>
                    <a:pt x="327" y="4123"/>
                    <a:pt x="908" y="3497"/>
                  </a:cubicBezTo>
                  <a:cubicBezTo>
                    <a:pt x="1074" y="3319"/>
                    <a:pt x="1251" y="3149"/>
                    <a:pt x="1434" y="2988"/>
                  </a:cubicBezTo>
                  <a:cubicBezTo>
                    <a:pt x="1833" y="2637"/>
                    <a:pt x="2243" y="2298"/>
                    <a:pt x="2652" y="1959"/>
                  </a:cubicBezTo>
                  <a:cubicBezTo>
                    <a:pt x="2895" y="1757"/>
                    <a:pt x="3139" y="1556"/>
                    <a:pt x="3383" y="1356"/>
                  </a:cubicBezTo>
                  <a:cubicBezTo>
                    <a:pt x="3685" y="1110"/>
                    <a:pt x="3987" y="865"/>
                    <a:pt x="4290" y="621"/>
                  </a:cubicBezTo>
                  <a:cubicBezTo>
                    <a:pt x="4632" y="345"/>
                    <a:pt x="4942" y="185"/>
                    <a:pt x="5218" y="130"/>
                  </a:cubicBezTo>
                  <a:cubicBezTo>
                    <a:pt x="5884" y="0"/>
                    <a:pt x="6946" y="1150"/>
                    <a:pt x="7619" y="4083"/>
                  </a:cubicBezTo>
                  <a:cubicBezTo>
                    <a:pt x="8291" y="7016"/>
                    <a:pt x="7837" y="8513"/>
                    <a:pt x="7181" y="8686"/>
                  </a:cubicBezTo>
                  <a:cubicBezTo>
                    <a:pt x="6909" y="8758"/>
                    <a:pt x="6560" y="8748"/>
                    <a:pt x="6132" y="8649"/>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5</a:t>
              </a:r>
              <a:endParaRPr lang="zh-CN" altLang="en-US" sz="1600" b="1" dirty="0">
                <a:solidFill>
                  <a:schemeClr val="bg1"/>
                </a:solidFill>
              </a:endParaRPr>
            </a:p>
          </p:txBody>
        </p:sp>
        <p:sp>
          <p:nvSpPr>
            <p:cNvPr id="16" name="íṩļídê">
              <a:extLst>
                <a:ext uri="{FF2B5EF4-FFF2-40B4-BE49-F238E27FC236}">
                  <a16:creationId xmlns:a16="http://schemas.microsoft.com/office/drawing/2014/main" id="{93486940-E474-4BE8-8CCA-7569FEC1DD84}"/>
                </a:ext>
              </a:extLst>
            </p:cNvPr>
            <p:cNvSpPr/>
            <p:nvPr/>
          </p:nvSpPr>
          <p:spPr>
            <a:xfrm rot="60000">
              <a:off x="6531002" y="4155035"/>
              <a:ext cx="955599" cy="945264"/>
            </a:xfrm>
            <a:custGeom>
              <a:avLst/>
              <a:gdLst/>
              <a:ahLst/>
              <a:cxnLst>
                <a:cxn ang="0">
                  <a:pos x="wd2" y="hd2"/>
                </a:cxn>
                <a:cxn ang="5400000">
                  <a:pos x="wd2" y="hd2"/>
                </a:cxn>
                <a:cxn ang="10800000">
                  <a:pos x="wd2" y="hd2"/>
                </a:cxn>
                <a:cxn ang="16200000">
                  <a:pos x="wd2" y="hd2"/>
                </a:cxn>
              </a:cxnLst>
              <a:rect l="0" t="0" r="r" b="b"/>
              <a:pathLst>
                <a:path w="20646" h="20738" extrusionOk="0">
                  <a:moveTo>
                    <a:pt x="17625" y="2056"/>
                  </a:moveTo>
                  <a:cubicBezTo>
                    <a:pt x="15204" y="1539"/>
                    <a:pt x="12777" y="1043"/>
                    <a:pt x="10344" y="581"/>
                  </a:cubicBezTo>
                  <a:cubicBezTo>
                    <a:pt x="8665" y="262"/>
                    <a:pt x="6953" y="-148"/>
                    <a:pt x="5233" y="53"/>
                  </a:cubicBezTo>
                  <a:cubicBezTo>
                    <a:pt x="3673" y="234"/>
                    <a:pt x="2151" y="1009"/>
                    <a:pt x="1184" y="2272"/>
                  </a:cubicBezTo>
                  <a:cubicBezTo>
                    <a:pt x="-156" y="4023"/>
                    <a:pt x="-264" y="6195"/>
                    <a:pt x="390" y="8232"/>
                  </a:cubicBezTo>
                  <a:cubicBezTo>
                    <a:pt x="577" y="8812"/>
                    <a:pt x="799" y="9388"/>
                    <a:pt x="1043" y="9947"/>
                  </a:cubicBezTo>
                  <a:cubicBezTo>
                    <a:pt x="1575" y="11167"/>
                    <a:pt x="2145" y="12372"/>
                    <a:pt x="2712" y="13577"/>
                  </a:cubicBezTo>
                  <a:cubicBezTo>
                    <a:pt x="3049" y="14292"/>
                    <a:pt x="3389" y="15007"/>
                    <a:pt x="3730" y="15721"/>
                  </a:cubicBezTo>
                  <a:cubicBezTo>
                    <a:pt x="4152" y="16600"/>
                    <a:pt x="4577" y="17477"/>
                    <a:pt x="5005" y="18353"/>
                  </a:cubicBezTo>
                  <a:cubicBezTo>
                    <a:pt x="5488" y="19340"/>
                    <a:pt x="6019" y="20034"/>
                    <a:pt x="6586" y="20450"/>
                  </a:cubicBezTo>
                  <a:cubicBezTo>
                    <a:pt x="7953" y="21452"/>
                    <a:pt x="11565" y="19963"/>
                    <a:pt x="16175" y="14009"/>
                  </a:cubicBezTo>
                  <a:cubicBezTo>
                    <a:pt x="20785" y="8056"/>
                    <a:pt x="21336" y="4170"/>
                    <a:pt x="20035" y="3083"/>
                  </a:cubicBezTo>
                  <a:cubicBezTo>
                    <a:pt x="19495" y="2632"/>
                    <a:pt x="18696" y="2284"/>
                    <a:pt x="17625" y="2056"/>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7" name="iSḻiďe">
              <a:extLst>
                <a:ext uri="{FF2B5EF4-FFF2-40B4-BE49-F238E27FC236}">
                  <a16:creationId xmlns:a16="http://schemas.microsoft.com/office/drawing/2014/main" id="{6320D8F4-1778-45BB-8298-A770D54B4C8C}"/>
                </a:ext>
              </a:extLst>
            </p:cNvPr>
            <p:cNvSpPr/>
            <p:nvPr/>
          </p:nvSpPr>
          <p:spPr bwMode="auto">
            <a:xfrm>
              <a:off x="6668282" y="4289111"/>
              <a:ext cx="681040" cy="677112"/>
            </a:xfrm>
            <a:custGeom>
              <a:avLst/>
              <a:gdLst>
                <a:gd name="T0" fmla="*/ 7132 w 8640"/>
                <a:gd name="T1" fmla="*/ 777 h 8602"/>
                <a:gd name="T2" fmla="*/ 4199 w 8640"/>
                <a:gd name="T3" fmla="*/ 258 h 8602"/>
                <a:gd name="T4" fmla="*/ 2145 w 8640"/>
                <a:gd name="T5" fmla="*/ 97 h 8602"/>
                <a:gd name="T6" fmla="*/ 543 w 8640"/>
                <a:gd name="T7" fmla="*/ 1020 h 8602"/>
                <a:gd name="T8" fmla="*/ 282 w 8640"/>
                <a:gd name="T9" fmla="*/ 3404 h 8602"/>
                <a:gd name="T10" fmla="*/ 560 w 8640"/>
                <a:gd name="T11" fmla="*/ 4082 h 8602"/>
                <a:gd name="T12" fmla="*/ 1264 w 8640"/>
                <a:gd name="T13" fmla="*/ 5513 h 8602"/>
                <a:gd name="T14" fmla="*/ 1692 w 8640"/>
                <a:gd name="T15" fmla="*/ 6358 h 8602"/>
                <a:gd name="T16" fmla="*/ 2229 w 8640"/>
                <a:gd name="T17" fmla="*/ 7395 h 8602"/>
                <a:gd name="T18" fmla="*/ 2882 w 8640"/>
                <a:gd name="T19" fmla="*/ 8216 h 8602"/>
                <a:gd name="T20" fmla="*/ 6665 w 8640"/>
                <a:gd name="T21" fmla="*/ 5556 h 8602"/>
                <a:gd name="T22" fmla="*/ 8108 w 8640"/>
                <a:gd name="T23" fmla="*/ 1163 h 8602"/>
                <a:gd name="T24" fmla="*/ 7132 w 8640"/>
                <a:gd name="T25" fmla="*/ 777 h 8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0" h="8602">
                  <a:moveTo>
                    <a:pt x="7132" y="777"/>
                  </a:moveTo>
                  <a:cubicBezTo>
                    <a:pt x="6156" y="594"/>
                    <a:pt x="5179" y="419"/>
                    <a:pt x="4199" y="258"/>
                  </a:cubicBezTo>
                  <a:cubicBezTo>
                    <a:pt x="3523" y="148"/>
                    <a:pt x="2833" y="0"/>
                    <a:pt x="2145" y="97"/>
                  </a:cubicBezTo>
                  <a:cubicBezTo>
                    <a:pt x="1522" y="184"/>
                    <a:pt x="919" y="508"/>
                    <a:pt x="543" y="1020"/>
                  </a:cubicBezTo>
                  <a:cubicBezTo>
                    <a:pt x="23" y="1732"/>
                    <a:pt x="0" y="2599"/>
                    <a:pt x="282" y="3404"/>
                  </a:cubicBezTo>
                  <a:cubicBezTo>
                    <a:pt x="363" y="3634"/>
                    <a:pt x="457" y="3861"/>
                    <a:pt x="560" y="4082"/>
                  </a:cubicBezTo>
                  <a:cubicBezTo>
                    <a:pt x="785" y="4563"/>
                    <a:pt x="1025" y="5038"/>
                    <a:pt x="1264" y="5513"/>
                  </a:cubicBezTo>
                  <a:cubicBezTo>
                    <a:pt x="1406" y="5795"/>
                    <a:pt x="1549" y="6076"/>
                    <a:pt x="1692" y="6358"/>
                  </a:cubicBezTo>
                  <a:cubicBezTo>
                    <a:pt x="1870" y="6704"/>
                    <a:pt x="2049" y="7050"/>
                    <a:pt x="2229" y="7395"/>
                  </a:cubicBezTo>
                  <a:cubicBezTo>
                    <a:pt x="2431" y="7784"/>
                    <a:pt x="2651" y="8055"/>
                    <a:pt x="2882" y="8216"/>
                  </a:cubicBezTo>
                  <a:cubicBezTo>
                    <a:pt x="3440" y="8602"/>
                    <a:pt x="4874" y="7974"/>
                    <a:pt x="6665" y="5556"/>
                  </a:cubicBezTo>
                  <a:cubicBezTo>
                    <a:pt x="8456" y="3138"/>
                    <a:pt x="8640" y="1584"/>
                    <a:pt x="8108" y="1163"/>
                  </a:cubicBezTo>
                  <a:cubicBezTo>
                    <a:pt x="7887" y="988"/>
                    <a:pt x="7564" y="857"/>
                    <a:pt x="7132" y="777"/>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6</a:t>
              </a:r>
              <a:endParaRPr lang="zh-CN" altLang="en-US" sz="1600" b="1" dirty="0">
                <a:solidFill>
                  <a:schemeClr val="bg1"/>
                </a:solidFill>
              </a:endParaRPr>
            </a:p>
          </p:txBody>
        </p:sp>
        <p:sp>
          <p:nvSpPr>
            <p:cNvPr id="19" name="ïṧ1íḓè">
              <a:extLst>
                <a:ext uri="{FF2B5EF4-FFF2-40B4-BE49-F238E27FC236}">
                  <a16:creationId xmlns:a16="http://schemas.microsoft.com/office/drawing/2014/main" id="{4569851C-0FE3-4E5F-A410-47B0E56415B6}"/>
                </a:ext>
              </a:extLst>
            </p:cNvPr>
            <p:cNvSpPr/>
            <p:nvPr/>
          </p:nvSpPr>
          <p:spPr bwMode="auto">
            <a:xfrm>
              <a:off x="986026" y="4396460"/>
              <a:ext cx="3545024" cy="81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u="none" strike="noStrike" baseline="0" dirty="0">
                  <a:latin typeface="宋体" panose="02010600030101010101" pitchFamily="2" charset="-122"/>
                  <a:ea typeface="宋体" panose="02010600030101010101" pitchFamily="2" charset="-122"/>
                </a:rPr>
                <a:t>人工智能在国家安全救济和协助打击造谣者和各种网络部门中的立场和方面，讨论人工智能在应对国家利益的数字信息战中的作用是本文研究的另一个主要目标。</a:t>
              </a:r>
              <a:endParaRPr lang="en-US" altLang="zh-CN" sz="1200" dirty="0"/>
            </a:p>
          </p:txBody>
        </p:sp>
        <p:cxnSp>
          <p:nvCxnSpPr>
            <p:cNvPr id="20" name="iSḻïḓe">
              <a:extLst>
                <a:ext uri="{FF2B5EF4-FFF2-40B4-BE49-F238E27FC236}">
                  <a16:creationId xmlns:a16="http://schemas.microsoft.com/office/drawing/2014/main" id="{86246AD5-56D4-4585-A33E-9AFAEA93DAEC}"/>
                </a:ext>
              </a:extLst>
            </p:cNvPr>
            <p:cNvCxnSpPr>
              <a:cxnSpLocks/>
            </p:cNvCxnSpPr>
            <p:nvPr/>
          </p:nvCxnSpPr>
          <p:spPr>
            <a:xfrm flipV="1">
              <a:off x="914009" y="4337499"/>
              <a:ext cx="3518422" cy="3823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2" name="ïsliḍè">
              <a:extLst>
                <a:ext uri="{FF2B5EF4-FFF2-40B4-BE49-F238E27FC236}">
                  <a16:creationId xmlns:a16="http://schemas.microsoft.com/office/drawing/2014/main" id="{4569851C-0FE3-4E5F-A410-47B0E56415B6}"/>
                </a:ext>
              </a:extLst>
            </p:cNvPr>
            <p:cNvSpPr/>
            <p:nvPr/>
          </p:nvSpPr>
          <p:spPr bwMode="auto">
            <a:xfrm>
              <a:off x="791954" y="3250010"/>
              <a:ext cx="3545024" cy="83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u="none" strike="noStrike" baseline="0" dirty="0">
                  <a:latin typeface="宋体" panose="02010600030101010101" pitchFamily="2" charset="-122"/>
                  <a:ea typeface="宋体" panose="02010600030101010101" pitchFamily="2" charset="-122"/>
                </a:rPr>
                <a:t>网络空间的竞争、网络攻击、网络盗窃、虚假信息活动以及网络相关因素的潜在风险被广泛讨论和探索，以提供一个更广泛和可理解的有远见的推断出实质性的推理，以衡量和防止国家的威胁和攻击。</a:t>
              </a:r>
              <a:endParaRPr lang="en-US" altLang="zh-CN" sz="1200" dirty="0"/>
            </a:p>
          </p:txBody>
        </p:sp>
        <p:cxnSp>
          <p:nvCxnSpPr>
            <p:cNvPr id="23" name="íś1îdê">
              <a:extLst>
                <a:ext uri="{FF2B5EF4-FFF2-40B4-BE49-F238E27FC236}">
                  <a16:creationId xmlns:a16="http://schemas.microsoft.com/office/drawing/2014/main" id="{D6E15450-6E79-43F5-B216-A7B6CA589C0F}"/>
                </a:ext>
              </a:extLst>
            </p:cNvPr>
            <p:cNvCxnSpPr/>
            <p:nvPr/>
          </p:nvCxnSpPr>
          <p:spPr>
            <a:xfrm>
              <a:off x="863374" y="3187803"/>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24" name="íṡľiḓe">
              <a:extLst>
                <a:ext uri="{FF2B5EF4-FFF2-40B4-BE49-F238E27FC236}">
                  <a16:creationId xmlns:a16="http://schemas.microsoft.com/office/drawing/2014/main" id="{43CAED1C-FF9B-4C2F-9D78-F5488AD3EA97}"/>
                </a:ext>
              </a:extLst>
            </p:cNvPr>
            <p:cNvGrpSpPr/>
            <p:nvPr/>
          </p:nvGrpSpPr>
          <p:grpSpPr>
            <a:xfrm>
              <a:off x="1323966" y="2304985"/>
              <a:ext cx="3545024" cy="765871"/>
              <a:chOff x="746240" y="4271249"/>
              <a:chExt cx="3545024" cy="765871"/>
            </a:xfrm>
          </p:grpSpPr>
          <p:sp>
            <p:nvSpPr>
              <p:cNvPr id="35" name="iṡlîḓe">
                <a:extLst>
                  <a:ext uri="{FF2B5EF4-FFF2-40B4-BE49-F238E27FC236}">
                    <a16:creationId xmlns:a16="http://schemas.microsoft.com/office/drawing/2014/main" id="{4569851C-0FE3-4E5F-A410-47B0E56415B6}"/>
                  </a:ext>
                </a:extLst>
              </p:cNvPr>
              <p:cNvSpPr/>
              <p:nvPr/>
            </p:nvSpPr>
            <p:spPr bwMode="auto">
              <a:xfrm>
                <a:off x="746240" y="4299839"/>
                <a:ext cx="3545024" cy="737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u="none" strike="noStrike" baseline="0" dirty="0">
                    <a:latin typeface="宋体" panose="02010600030101010101" pitchFamily="2" charset="-122"/>
                    <a:ea typeface="宋体" panose="02010600030101010101" pitchFamily="2" charset="-122"/>
                  </a:rPr>
                  <a:t>讨论和分析在社交媒体平台上传播的信息对国家安全措施的有效性和效力的作用，以确定信息在国家安全中的作用</a:t>
                </a:r>
                <a:endParaRPr lang="en-US" altLang="zh-CN" sz="1200" dirty="0"/>
              </a:p>
            </p:txBody>
          </p:sp>
          <p:cxnSp>
            <p:nvCxnSpPr>
              <p:cNvPr id="36" name="î$1iḑe">
                <a:extLst>
                  <a:ext uri="{FF2B5EF4-FFF2-40B4-BE49-F238E27FC236}">
                    <a16:creationId xmlns:a16="http://schemas.microsoft.com/office/drawing/2014/main" id="{31E84CD9-A9F6-400E-AE1F-BFDE352CD6E4}"/>
                  </a:ext>
                </a:extLst>
              </p:cNvPr>
              <p:cNvCxnSpPr/>
              <p:nvPr/>
            </p:nvCxnSpPr>
            <p:spPr>
              <a:xfrm>
                <a:off x="803715" y="4271249"/>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
          <p:nvSpPr>
            <p:cNvPr id="26" name="íṥḻïḍè">
              <a:extLst>
                <a:ext uri="{FF2B5EF4-FFF2-40B4-BE49-F238E27FC236}">
                  <a16:creationId xmlns:a16="http://schemas.microsoft.com/office/drawing/2014/main" id="{4569851C-0FE3-4E5F-A410-47B0E56415B6}"/>
                </a:ext>
              </a:extLst>
            </p:cNvPr>
            <p:cNvSpPr/>
            <p:nvPr/>
          </p:nvSpPr>
          <p:spPr bwMode="auto">
            <a:xfrm flipH="1">
              <a:off x="7660950" y="4426826"/>
              <a:ext cx="3545024" cy="492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u="none" strike="noStrike" baseline="0" dirty="0">
                  <a:latin typeface="宋体" panose="02010600030101010101" pitchFamily="2" charset="-122"/>
                  <a:ea typeface="宋体" panose="02010600030101010101" pitchFamily="2" charset="-122"/>
                </a:rPr>
                <a:t>讨论国家安全方面的挑战和信息缺口，以描绘网络空间违反国家安全的行为</a:t>
              </a:r>
              <a:endParaRPr lang="en-US" altLang="zh-CN" sz="1200" dirty="0"/>
            </a:p>
          </p:txBody>
        </p:sp>
        <p:cxnSp>
          <p:nvCxnSpPr>
            <p:cNvPr id="27" name="ïṡ1ide">
              <a:extLst>
                <a:ext uri="{FF2B5EF4-FFF2-40B4-BE49-F238E27FC236}">
                  <a16:creationId xmlns:a16="http://schemas.microsoft.com/office/drawing/2014/main" id="{26980296-2275-4DC6-BD36-4561269B4AFE}"/>
                </a:ext>
              </a:extLst>
            </p:cNvPr>
            <p:cNvCxnSpPr/>
            <p:nvPr/>
          </p:nvCxnSpPr>
          <p:spPr>
            <a:xfrm flipH="1">
              <a:off x="7738852" y="4337499"/>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iṣļïďê">
              <a:extLst>
                <a:ext uri="{FF2B5EF4-FFF2-40B4-BE49-F238E27FC236}">
                  <a16:creationId xmlns:a16="http://schemas.microsoft.com/office/drawing/2014/main" id="{4569851C-0FE3-4E5F-A410-47B0E56415B6}"/>
                </a:ext>
              </a:extLst>
            </p:cNvPr>
            <p:cNvSpPr/>
            <p:nvPr/>
          </p:nvSpPr>
          <p:spPr bwMode="auto">
            <a:xfrm flipH="1">
              <a:off x="7791104" y="3278946"/>
              <a:ext cx="3545024" cy="81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200" dirty="0">
                  <a:latin typeface="宋体" panose="02010600030101010101" pitchFamily="2" charset="-122"/>
                  <a:ea typeface="宋体" panose="02010600030101010101" pitchFamily="2" charset="-122"/>
                </a:rPr>
                <a:t>设计并提出了一个限制</a:t>
              </a:r>
              <a:r>
                <a:rPr lang="en-US" altLang="zh-CN" sz="1200" dirty="0">
                  <a:latin typeface="宋体" panose="02010600030101010101" pitchFamily="2" charset="-122"/>
                  <a:ea typeface="宋体" panose="02010600030101010101" pitchFamily="2" charset="-122"/>
                </a:rPr>
                <a:t>/</a:t>
              </a:r>
              <a:r>
                <a:rPr lang="zh-CN" altLang="en-US" sz="1200" dirty="0">
                  <a:latin typeface="宋体" panose="02010600030101010101" pitchFamily="2" charset="-122"/>
                  <a:ea typeface="宋体" panose="02010600030101010101" pitchFamily="2" charset="-122"/>
                </a:rPr>
                <a:t>控制信息的模型，以及可能跟踪和停止针对和破坏国家安全的社交媒体信息的功能算法。</a:t>
              </a:r>
              <a:endParaRPr lang="en-US" altLang="zh-CN" sz="1200" dirty="0">
                <a:latin typeface="宋体" panose="02010600030101010101" pitchFamily="2" charset="-122"/>
                <a:ea typeface="宋体" panose="02010600030101010101" pitchFamily="2" charset="-122"/>
              </a:endParaRPr>
            </a:p>
          </p:txBody>
        </p:sp>
        <p:cxnSp>
          <p:nvCxnSpPr>
            <p:cNvPr id="30" name="ï$ḷíḑe">
              <a:extLst>
                <a:ext uri="{FF2B5EF4-FFF2-40B4-BE49-F238E27FC236}">
                  <a16:creationId xmlns:a16="http://schemas.microsoft.com/office/drawing/2014/main" id="{25CED007-B397-4E14-B628-5DCE82C755E9}"/>
                </a:ext>
              </a:extLst>
            </p:cNvPr>
            <p:cNvCxnSpPr/>
            <p:nvPr/>
          </p:nvCxnSpPr>
          <p:spPr>
            <a:xfrm flipH="1">
              <a:off x="7791104" y="3203284"/>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2" name="ïsḻïḓè">
              <a:extLst>
                <a:ext uri="{FF2B5EF4-FFF2-40B4-BE49-F238E27FC236}">
                  <a16:creationId xmlns:a16="http://schemas.microsoft.com/office/drawing/2014/main" id="{4569851C-0FE3-4E5F-A410-47B0E56415B6}"/>
                </a:ext>
              </a:extLst>
            </p:cNvPr>
            <p:cNvSpPr/>
            <p:nvPr/>
          </p:nvSpPr>
          <p:spPr bwMode="auto">
            <a:xfrm flipH="1">
              <a:off x="7297070" y="2378730"/>
              <a:ext cx="3545024" cy="60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200" dirty="0">
                  <a:latin typeface="宋体" panose="02010600030101010101" pitchFamily="2" charset="-122"/>
                  <a:ea typeface="宋体" panose="02010600030101010101" pitchFamily="2" charset="-122"/>
                </a:rPr>
                <a:t>另一个目标是公开网络空间违法行为的信息圈，简要讨论并突出相互关联的可追溯性和跟踪性。</a:t>
              </a:r>
              <a:endParaRPr lang="en-US" altLang="zh-CN" sz="1200" dirty="0">
                <a:latin typeface="宋体" panose="02010600030101010101" pitchFamily="2" charset="-122"/>
                <a:ea typeface="宋体" panose="02010600030101010101" pitchFamily="2" charset="-122"/>
              </a:endParaRPr>
            </a:p>
          </p:txBody>
        </p:sp>
        <p:cxnSp>
          <p:nvCxnSpPr>
            <p:cNvPr id="33" name="iṣ1idê">
              <a:extLst>
                <a:ext uri="{FF2B5EF4-FFF2-40B4-BE49-F238E27FC236}">
                  <a16:creationId xmlns:a16="http://schemas.microsoft.com/office/drawing/2014/main" id="{0AFF9DE8-B081-4346-AE9D-CFDE1ED332B6}"/>
                </a:ext>
              </a:extLst>
            </p:cNvPr>
            <p:cNvCxnSpPr/>
            <p:nvPr/>
          </p:nvCxnSpPr>
          <p:spPr>
            <a:xfrm flipH="1">
              <a:off x="7349322" y="2304985"/>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81462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553613" y="2369748"/>
            <a:ext cx="5419185" cy="895350"/>
          </a:xfrm>
        </p:spPr>
        <p:txBody>
          <a:bodyPr>
            <a:normAutofit/>
          </a:bodyPr>
          <a:lstStyle/>
          <a:p>
            <a:r>
              <a:rPr lang="zh-CN" altLang="en-US" sz="3400" dirty="0"/>
              <a:t>研究内容</a:t>
            </a:r>
          </a:p>
        </p:txBody>
      </p:sp>
      <p:sp>
        <p:nvSpPr>
          <p:cNvPr id="6" name="íŝļîḑê"/>
          <p:cNvSpPr>
            <a:spLocks noGrp="1"/>
          </p:cNvSpPr>
          <p:nvPr>
            <p:ph type="body" idx="1"/>
          </p:nvPr>
        </p:nvSpPr>
        <p:spPr>
          <a:xfrm>
            <a:off x="5553612" y="3265098"/>
            <a:ext cx="5419185" cy="1160253"/>
          </a:xfrm>
        </p:spPr>
        <p:txBody>
          <a:bodyPr>
            <a:noAutofit/>
          </a:bodyPr>
          <a:lstStyle/>
          <a:p>
            <a:pPr lvl="0"/>
            <a:r>
              <a:rPr lang="zh-CN" altLang="en-US" sz="2400" dirty="0"/>
              <a:t>人工智能安全与对策</a:t>
            </a:r>
            <a:endParaRPr lang="en-US" altLang="zh-CN" sz="2400" dirty="0"/>
          </a:p>
          <a:p>
            <a:pPr lvl="0"/>
            <a:r>
              <a:rPr lang="zh-CN" altLang="en-US" sz="2400" dirty="0"/>
              <a:t>面向国家安全的信息安全</a:t>
            </a:r>
          </a:p>
        </p:txBody>
      </p:sp>
      <p:sp>
        <p:nvSpPr>
          <p:cNvPr id="9" name="íṧľíḑê">
            <a:extLst>
              <a:ext uri="{FF2B5EF4-FFF2-40B4-BE49-F238E27FC236}">
                <a16:creationId xmlns:a16="http://schemas.microsoft.com/office/drawing/2014/main" id="{04F69230-F3A6-4586-9371-A858F4763E9F}"/>
              </a:ext>
            </a:extLst>
          </p:cNvPr>
          <p:cNvSpPr txBox="1"/>
          <p:nvPr/>
        </p:nvSpPr>
        <p:spPr>
          <a:xfrm>
            <a:off x="4347258"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2</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494326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a:extLst>
              <a:ext uri="{FF2B5EF4-FFF2-40B4-BE49-F238E27FC236}">
                <a16:creationId xmlns:a16="http://schemas.microsoft.com/office/drawing/2014/main" id="{9B0164AF-4246-4CD6-8CA3-F03179278D03}"/>
              </a:ext>
            </a:extLst>
          </p:cNvPr>
          <p:cNvSpPr>
            <a:spLocks noGrp="1"/>
          </p:cNvSpPr>
          <p:nvPr>
            <p:ph type="title"/>
          </p:nvPr>
        </p:nvSpPr>
        <p:spPr/>
        <p:txBody>
          <a:bodyPr/>
          <a:lstStyle/>
          <a:p>
            <a:r>
              <a:rPr lang="zh-CN" altLang="en-US" dirty="0"/>
              <a:t>人工智能安全与对策</a:t>
            </a:r>
          </a:p>
        </p:txBody>
      </p:sp>
      <p:sp>
        <p:nvSpPr>
          <p:cNvPr id="4" name="iŝḷïďé">
            <a:extLst>
              <a:ext uri="{FF2B5EF4-FFF2-40B4-BE49-F238E27FC236}">
                <a16:creationId xmlns:a16="http://schemas.microsoft.com/office/drawing/2014/main" id="{7376D6FB-C707-4161-B4F8-DB384698F1BB}"/>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293" name="iṣḷíďê">
            <a:extLst>
              <a:ext uri="{FF2B5EF4-FFF2-40B4-BE49-F238E27FC236}">
                <a16:creationId xmlns:a16="http://schemas.microsoft.com/office/drawing/2014/main" id="{7A582995-5926-4864-B758-673A8022CF6D}"/>
              </a:ext>
            </a:extLst>
          </p:cNvPr>
          <p:cNvSpPr/>
          <p:nvPr/>
        </p:nvSpPr>
        <p:spPr bwMode="auto">
          <a:xfrm flipH="1">
            <a:off x="3166128" y="3110103"/>
            <a:ext cx="587825" cy="656885"/>
          </a:xfrm>
          <a:custGeom>
            <a:avLst/>
            <a:gdLst>
              <a:gd name="T0" fmla="*/ 137 w 351"/>
              <a:gd name="T1" fmla="*/ 81 h 402"/>
              <a:gd name="T2" fmla="*/ 58 w 351"/>
              <a:gd name="T3" fmla="*/ 0 h 402"/>
              <a:gd name="T4" fmla="*/ 0 w 351"/>
              <a:gd name="T5" fmla="*/ 97 h 402"/>
              <a:gd name="T6" fmla="*/ 43 w 351"/>
              <a:gd name="T7" fmla="*/ 92 h 402"/>
              <a:gd name="T8" fmla="*/ 45 w 351"/>
              <a:gd name="T9" fmla="*/ 109 h 402"/>
              <a:gd name="T10" fmla="*/ 281 w 351"/>
              <a:gd name="T11" fmla="*/ 385 h 402"/>
              <a:gd name="T12" fmla="*/ 351 w 351"/>
              <a:gd name="T13" fmla="*/ 402 h 402"/>
              <a:gd name="T14" fmla="*/ 304 w 351"/>
              <a:gd name="T15" fmla="*/ 388 h 402"/>
              <a:gd name="T16" fmla="*/ 86 w 351"/>
              <a:gd name="T17" fmla="*/ 103 h 402"/>
              <a:gd name="T18" fmla="*/ 86 w 351"/>
              <a:gd name="T19" fmla="*/ 87 h 402"/>
              <a:gd name="T20" fmla="*/ 137 w 351"/>
              <a:gd name="T21" fmla="*/ 8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402">
                <a:moveTo>
                  <a:pt x="137" y="81"/>
                </a:moveTo>
                <a:cubicBezTo>
                  <a:pt x="58" y="0"/>
                  <a:pt x="58" y="0"/>
                  <a:pt x="58" y="0"/>
                </a:cubicBezTo>
                <a:cubicBezTo>
                  <a:pt x="0" y="97"/>
                  <a:pt x="0" y="97"/>
                  <a:pt x="0" y="97"/>
                </a:cubicBezTo>
                <a:cubicBezTo>
                  <a:pt x="43" y="92"/>
                  <a:pt x="43" y="92"/>
                  <a:pt x="43" y="92"/>
                </a:cubicBezTo>
                <a:cubicBezTo>
                  <a:pt x="45" y="109"/>
                  <a:pt x="45" y="109"/>
                  <a:pt x="45" y="109"/>
                </a:cubicBezTo>
                <a:cubicBezTo>
                  <a:pt x="64" y="242"/>
                  <a:pt x="157" y="341"/>
                  <a:pt x="281" y="385"/>
                </a:cubicBezTo>
                <a:cubicBezTo>
                  <a:pt x="304" y="392"/>
                  <a:pt x="327" y="399"/>
                  <a:pt x="351" y="402"/>
                </a:cubicBezTo>
                <a:cubicBezTo>
                  <a:pt x="335" y="398"/>
                  <a:pt x="320" y="394"/>
                  <a:pt x="304" y="388"/>
                </a:cubicBezTo>
                <a:cubicBezTo>
                  <a:pt x="181" y="341"/>
                  <a:pt x="91" y="239"/>
                  <a:pt x="86" y="103"/>
                </a:cubicBezTo>
                <a:cubicBezTo>
                  <a:pt x="86" y="87"/>
                  <a:pt x="86" y="87"/>
                  <a:pt x="86" y="87"/>
                </a:cubicBezTo>
                <a:lnTo>
                  <a:pt x="137" y="81"/>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5" name="iṣļíḑé">
            <a:extLst>
              <a:ext uri="{FF2B5EF4-FFF2-40B4-BE49-F238E27FC236}">
                <a16:creationId xmlns:a16="http://schemas.microsoft.com/office/drawing/2014/main" id="{6A1E0B16-2C76-4221-9CE4-50F78E3C78DF}"/>
              </a:ext>
            </a:extLst>
          </p:cNvPr>
          <p:cNvSpPr/>
          <p:nvPr/>
        </p:nvSpPr>
        <p:spPr bwMode="auto">
          <a:xfrm flipH="1">
            <a:off x="3039198" y="3238028"/>
            <a:ext cx="1136116" cy="737092"/>
          </a:xfrm>
          <a:custGeom>
            <a:avLst/>
            <a:gdLst>
              <a:gd name="T0" fmla="*/ 679 w 679"/>
              <a:gd name="T1" fmla="*/ 412 h 451"/>
              <a:gd name="T2" fmla="*/ 376 w 679"/>
              <a:gd name="T3" fmla="*/ 397 h 451"/>
              <a:gd name="T4" fmla="*/ 107 w 679"/>
              <a:gd name="T5" fmla="*/ 102 h 451"/>
              <a:gd name="T6" fmla="*/ 102 w 679"/>
              <a:gd name="T7" fmla="*/ 87 h 451"/>
              <a:gd name="T8" fmla="*/ 151 w 679"/>
              <a:gd name="T9" fmla="*/ 66 h 451"/>
              <a:gd name="T10" fmla="*/ 32 w 679"/>
              <a:gd name="T11" fmla="*/ 0 h 451"/>
              <a:gd name="T12" fmla="*/ 0 w 679"/>
              <a:gd name="T13" fmla="*/ 132 h 451"/>
              <a:gd name="T14" fmla="*/ 50 w 679"/>
              <a:gd name="T15" fmla="*/ 110 h 451"/>
              <a:gd name="T16" fmla="*/ 57 w 679"/>
              <a:gd name="T17" fmla="*/ 125 h 451"/>
              <a:gd name="T18" fmla="*/ 244 w 679"/>
              <a:gd name="T19" fmla="*/ 355 h 451"/>
              <a:gd name="T20" fmla="*/ 464 w 679"/>
              <a:gd name="T21" fmla="*/ 443 h 451"/>
              <a:gd name="T22" fmla="*/ 671 w 679"/>
              <a:gd name="T23" fmla="*/ 416 h 451"/>
              <a:gd name="T24" fmla="*/ 679 w 679"/>
              <a:gd name="T25" fmla="*/ 41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9" h="451">
                <a:moveTo>
                  <a:pt x="679" y="412"/>
                </a:moveTo>
                <a:cubicBezTo>
                  <a:pt x="581" y="446"/>
                  <a:pt x="471" y="437"/>
                  <a:pt x="376" y="397"/>
                </a:cubicBezTo>
                <a:cubicBezTo>
                  <a:pt x="246" y="343"/>
                  <a:pt x="151" y="236"/>
                  <a:pt x="107" y="102"/>
                </a:cubicBezTo>
                <a:cubicBezTo>
                  <a:pt x="102" y="87"/>
                  <a:pt x="102" y="87"/>
                  <a:pt x="102" y="87"/>
                </a:cubicBezTo>
                <a:cubicBezTo>
                  <a:pt x="151" y="66"/>
                  <a:pt x="151" y="66"/>
                  <a:pt x="151" y="66"/>
                </a:cubicBezTo>
                <a:cubicBezTo>
                  <a:pt x="32" y="0"/>
                  <a:pt x="32" y="0"/>
                  <a:pt x="32" y="0"/>
                </a:cubicBezTo>
                <a:cubicBezTo>
                  <a:pt x="0" y="132"/>
                  <a:pt x="0" y="132"/>
                  <a:pt x="0" y="132"/>
                </a:cubicBezTo>
                <a:cubicBezTo>
                  <a:pt x="50" y="110"/>
                  <a:pt x="50" y="110"/>
                  <a:pt x="50" y="110"/>
                </a:cubicBezTo>
                <a:cubicBezTo>
                  <a:pt x="57" y="125"/>
                  <a:pt x="57" y="125"/>
                  <a:pt x="57" y="125"/>
                </a:cubicBezTo>
                <a:cubicBezTo>
                  <a:pt x="102" y="215"/>
                  <a:pt x="163" y="296"/>
                  <a:pt x="244" y="355"/>
                </a:cubicBezTo>
                <a:cubicBezTo>
                  <a:pt x="309" y="402"/>
                  <a:pt x="384" y="434"/>
                  <a:pt x="464" y="443"/>
                </a:cubicBezTo>
                <a:cubicBezTo>
                  <a:pt x="534" y="451"/>
                  <a:pt x="606" y="443"/>
                  <a:pt x="671" y="416"/>
                </a:cubicBezTo>
                <a:cubicBezTo>
                  <a:pt x="673" y="414"/>
                  <a:pt x="676" y="413"/>
                  <a:pt x="679" y="412"/>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ïṣ1îḍé">
            <a:extLst>
              <a:ext uri="{FF2B5EF4-FFF2-40B4-BE49-F238E27FC236}">
                <a16:creationId xmlns:a16="http://schemas.microsoft.com/office/drawing/2014/main" id="{30A3F4FC-067D-413C-A189-CB1461121B3B}"/>
              </a:ext>
            </a:extLst>
          </p:cNvPr>
          <p:cNvSpPr/>
          <p:nvPr/>
        </p:nvSpPr>
        <p:spPr bwMode="auto">
          <a:xfrm flipH="1">
            <a:off x="2952846" y="3552764"/>
            <a:ext cx="2627006" cy="766535"/>
          </a:xfrm>
          <a:custGeom>
            <a:avLst/>
            <a:gdLst>
              <a:gd name="T0" fmla="*/ 227 w 1569"/>
              <a:gd name="T1" fmla="*/ 0 h 469"/>
              <a:gd name="T2" fmla="*/ 0 w 1569"/>
              <a:gd name="T3" fmla="*/ 13 h 469"/>
              <a:gd name="T4" fmla="*/ 71 w 1569"/>
              <a:gd name="T5" fmla="*/ 229 h 469"/>
              <a:gd name="T6" fmla="*/ 114 w 1569"/>
              <a:gd name="T7" fmla="*/ 165 h 469"/>
              <a:gd name="T8" fmla="*/ 128 w 1569"/>
              <a:gd name="T9" fmla="*/ 173 h 469"/>
              <a:gd name="T10" fmla="*/ 669 w 1569"/>
              <a:gd name="T11" fmla="*/ 403 h 469"/>
              <a:gd name="T12" fmla="*/ 1096 w 1569"/>
              <a:gd name="T13" fmla="*/ 465 h 469"/>
              <a:gd name="T14" fmla="*/ 1569 w 1569"/>
              <a:gd name="T15" fmla="*/ 266 h 469"/>
              <a:gd name="T16" fmla="*/ 1425 w 1569"/>
              <a:gd name="T17" fmla="*/ 363 h 469"/>
              <a:gd name="T18" fmla="*/ 1096 w 1569"/>
              <a:gd name="T19" fmla="*/ 432 h 469"/>
              <a:gd name="T20" fmla="*/ 193 w 1569"/>
              <a:gd name="T21" fmla="*/ 80 h 469"/>
              <a:gd name="T22" fmla="*/ 179 w 1569"/>
              <a:gd name="T23" fmla="*/ 70 h 469"/>
              <a:gd name="T24" fmla="*/ 227 w 1569"/>
              <a:gd name="T25"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9" h="469">
                <a:moveTo>
                  <a:pt x="227" y="0"/>
                </a:moveTo>
                <a:cubicBezTo>
                  <a:pt x="0" y="13"/>
                  <a:pt x="0" y="13"/>
                  <a:pt x="0" y="13"/>
                </a:cubicBezTo>
                <a:cubicBezTo>
                  <a:pt x="71" y="229"/>
                  <a:pt x="71" y="229"/>
                  <a:pt x="71" y="229"/>
                </a:cubicBezTo>
                <a:cubicBezTo>
                  <a:pt x="114" y="165"/>
                  <a:pt x="114" y="165"/>
                  <a:pt x="114" y="165"/>
                </a:cubicBezTo>
                <a:cubicBezTo>
                  <a:pt x="128" y="173"/>
                  <a:pt x="128" y="173"/>
                  <a:pt x="128" y="173"/>
                </a:cubicBezTo>
                <a:cubicBezTo>
                  <a:pt x="299" y="266"/>
                  <a:pt x="481" y="349"/>
                  <a:pt x="669" y="403"/>
                </a:cubicBezTo>
                <a:cubicBezTo>
                  <a:pt x="806" y="443"/>
                  <a:pt x="953" y="469"/>
                  <a:pt x="1096" y="465"/>
                </a:cubicBezTo>
                <a:cubicBezTo>
                  <a:pt x="1276" y="459"/>
                  <a:pt x="1452" y="403"/>
                  <a:pt x="1569" y="266"/>
                </a:cubicBezTo>
                <a:cubicBezTo>
                  <a:pt x="1526" y="306"/>
                  <a:pt x="1478" y="338"/>
                  <a:pt x="1425" y="363"/>
                </a:cubicBezTo>
                <a:cubicBezTo>
                  <a:pt x="1323" y="413"/>
                  <a:pt x="1209" y="433"/>
                  <a:pt x="1096" y="432"/>
                </a:cubicBezTo>
                <a:cubicBezTo>
                  <a:pt x="774" y="429"/>
                  <a:pt x="449" y="263"/>
                  <a:pt x="193" y="80"/>
                </a:cubicBezTo>
                <a:cubicBezTo>
                  <a:pt x="179" y="70"/>
                  <a:pt x="179" y="70"/>
                  <a:pt x="179" y="70"/>
                </a:cubicBezTo>
                <a:lnTo>
                  <a:pt x="227" y="0"/>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9" name="ïṥļïḑe">
            <a:extLst>
              <a:ext uri="{FF2B5EF4-FFF2-40B4-BE49-F238E27FC236}">
                <a16:creationId xmlns:a16="http://schemas.microsoft.com/office/drawing/2014/main" id="{5C0C9634-F545-4CD6-9D5B-844AD09B049D}"/>
              </a:ext>
            </a:extLst>
          </p:cNvPr>
          <p:cNvSpPr/>
          <p:nvPr/>
        </p:nvSpPr>
        <p:spPr bwMode="auto">
          <a:xfrm flipH="1">
            <a:off x="2894584" y="4048220"/>
            <a:ext cx="2838207" cy="633533"/>
          </a:xfrm>
          <a:custGeom>
            <a:avLst/>
            <a:gdLst>
              <a:gd name="T0" fmla="*/ 243 w 1695"/>
              <a:gd name="T1" fmla="*/ 3 h 388"/>
              <a:gd name="T2" fmla="*/ 0 w 1695"/>
              <a:gd name="T3" fmla="*/ 59 h 388"/>
              <a:gd name="T4" fmla="*/ 117 w 1695"/>
              <a:gd name="T5" fmla="*/ 279 h 388"/>
              <a:gd name="T6" fmla="*/ 157 w 1695"/>
              <a:gd name="T7" fmla="*/ 191 h 388"/>
              <a:gd name="T8" fmla="*/ 173 w 1695"/>
              <a:gd name="T9" fmla="*/ 199 h 388"/>
              <a:gd name="T10" fmla="*/ 573 w 1695"/>
              <a:gd name="T11" fmla="*/ 342 h 388"/>
              <a:gd name="T12" fmla="*/ 957 w 1695"/>
              <a:gd name="T13" fmla="*/ 385 h 388"/>
              <a:gd name="T14" fmla="*/ 1567 w 1695"/>
              <a:gd name="T15" fmla="*/ 167 h 388"/>
              <a:gd name="T16" fmla="*/ 1695 w 1695"/>
              <a:gd name="T17" fmla="*/ 0 h 388"/>
              <a:gd name="T18" fmla="*/ 1390 w 1695"/>
              <a:gd name="T19" fmla="*/ 254 h 388"/>
              <a:gd name="T20" fmla="*/ 1176 w 1695"/>
              <a:gd name="T21" fmla="*/ 311 h 388"/>
              <a:gd name="T22" fmla="*/ 912 w 1695"/>
              <a:gd name="T23" fmla="*/ 311 h 388"/>
              <a:gd name="T24" fmla="*/ 595 w 1695"/>
              <a:gd name="T25" fmla="*/ 243 h 388"/>
              <a:gd name="T26" fmla="*/ 220 w 1695"/>
              <a:gd name="T27" fmla="*/ 94 h 388"/>
              <a:gd name="T28" fmla="*/ 205 w 1695"/>
              <a:gd name="T29" fmla="*/ 87 h 388"/>
              <a:gd name="T30" fmla="*/ 243 w 1695"/>
              <a:gd name="T31" fmla="*/ 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5" h="388">
                <a:moveTo>
                  <a:pt x="243" y="3"/>
                </a:moveTo>
                <a:cubicBezTo>
                  <a:pt x="0" y="59"/>
                  <a:pt x="0" y="59"/>
                  <a:pt x="0" y="59"/>
                </a:cubicBezTo>
                <a:cubicBezTo>
                  <a:pt x="117" y="279"/>
                  <a:pt x="117" y="279"/>
                  <a:pt x="117" y="279"/>
                </a:cubicBezTo>
                <a:cubicBezTo>
                  <a:pt x="157" y="191"/>
                  <a:pt x="157" y="191"/>
                  <a:pt x="157" y="191"/>
                </a:cubicBezTo>
                <a:cubicBezTo>
                  <a:pt x="173" y="199"/>
                  <a:pt x="173" y="199"/>
                  <a:pt x="173" y="199"/>
                </a:cubicBezTo>
                <a:cubicBezTo>
                  <a:pt x="301" y="261"/>
                  <a:pt x="435" y="310"/>
                  <a:pt x="573" y="342"/>
                </a:cubicBezTo>
                <a:cubicBezTo>
                  <a:pt x="698" y="372"/>
                  <a:pt x="828" y="388"/>
                  <a:pt x="957" y="385"/>
                </a:cubicBezTo>
                <a:cubicBezTo>
                  <a:pt x="1177" y="381"/>
                  <a:pt x="1404" y="321"/>
                  <a:pt x="1567" y="167"/>
                </a:cubicBezTo>
                <a:cubicBezTo>
                  <a:pt x="1620" y="117"/>
                  <a:pt x="1662" y="61"/>
                  <a:pt x="1695" y="0"/>
                </a:cubicBezTo>
                <a:cubicBezTo>
                  <a:pt x="1621" y="110"/>
                  <a:pt x="1519" y="199"/>
                  <a:pt x="1390" y="254"/>
                </a:cubicBezTo>
                <a:cubicBezTo>
                  <a:pt x="1322" y="283"/>
                  <a:pt x="1250" y="302"/>
                  <a:pt x="1176" y="311"/>
                </a:cubicBezTo>
                <a:cubicBezTo>
                  <a:pt x="1089" y="322"/>
                  <a:pt x="1000" y="321"/>
                  <a:pt x="912" y="311"/>
                </a:cubicBezTo>
                <a:cubicBezTo>
                  <a:pt x="805" y="299"/>
                  <a:pt x="698" y="274"/>
                  <a:pt x="595" y="243"/>
                </a:cubicBezTo>
                <a:cubicBezTo>
                  <a:pt x="467" y="203"/>
                  <a:pt x="342" y="152"/>
                  <a:pt x="220" y="94"/>
                </a:cubicBezTo>
                <a:cubicBezTo>
                  <a:pt x="205" y="87"/>
                  <a:pt x="205" y="87"/>
                  <a:pt x="205" y="87"/>
                </a:cubicBezTo>
                <a:lnTo>
                  <a:pt x="243" y="3"/>
                </a:ln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5" name="ïSḻíḋê">
            <a:extLst>
              <a:ext uri="{FF2B5EF4-FFF2-40B4-BE49-F238E27FC236}">
                <a16:creationId xmlns:a16="http://schemas.microsoft.com/office/drawing/2014/main" id="{6F287A3A-44FD-4049-855D-957234BB72DE}"/>
              </a:ext>
            </a:extLst>
          </p:cNvPr>
          <p:cNvGrpSpPr/>
          <p:nvPr/>
        </p:nvGrpSpPr>
        <p:grpSpPr>
          <a:xfrm>
            <a:off x="1676277" y="1760798"/>
            <a:ext cx="3469729" cy="1805165"/>
            <a:chOff x="1676277" y="1760798"/>
            <a:chExt cx="3469729" cy="1805165"/>
          </a:xfrm>
          <a:solidFill>
            <a:schemeClr val="bg2"/>
          </a:solidFill>
        </p:grpSpPr>
        <p:sp>
          <p:nvSpPr>
            <p:cNvPr id="272" name="is1ídé">
              <a:extLst>
                <a:ext uri="{FF2B5EF4-FFF2-40B4-BE49-F238E27FC236}">
                  <a16:creationId xmlns:a16="http://schemas.microsoft.com/office/drawing/2014/main" id="{D3EF7A45-BBA9-4D18-ADFF-913B61454C76}"/>
                </a:ext>
              </a:extLst>
            </p:cNvPr>
            <p:cNvSpPr/>
            <p:nvPr/>
          </p:nvSpPr>
          <p:spPr bwMode="auto">
            <a:xfrm flipH="1">
              <a:off x="3548995" y="2246101"/>
              <a:ext cx="296513" cy="405096"/>
            </a:xfrm>
            <a:custGeom>
              <a:avLst/>
              <a:gdLst>
                <a:gd name="T0" fmla="*/ 134 w 177"/>
                <a:gd name="T1" fmla="*/ 28 h 248"/>
                <a:gd name="T2" fmla="*/ 134 w 177"/>
                <a:gd name="T3" fmla="*/ 45 h 248"/>
                <a:gd name="T4" fmla="*/ 145 w 177"/>
                <a:gd name="T5" fmla="*/ 78 h 248"/>
                <a:gd name="T6" fmla="*/ 146 w 177"/>
                <a:gd name="T7" fmla="*/ 95 h 248"/>
                <a:gd name="T8" fmla="*/ 134 w 177"/>
                <a:gd name="T9" fmla="*/ 130 h 248"/>
                <a:gd name="T10" fmla="*/ 134 w 177"/>
                <a:gd name="T11" fmla="*/ 147 h 248"/>
                <a:gd name="T12" fmla="*/ 155 w 177"/>
                <a:gd name="T13" fmla="*/ 179 h 248"/>
                <a:gd name="T14" fmla="*/ 157 w 177"/>
                <a:gd name="T15" fmla="*/ 196 h 248"/>
                <a:gd name="T16" fmla="*/ 134 w 177"/>
                <a:gd name="T17" fmla="*/ 237 h 248"/>
                <a:gd name="T18" fmla="*/ 154 w 177"/>
                <a:gd name="T19" fmla="*/ 0 h 248"/>
                <a:gd name="T20" fmla="*/ 105 w 177"/>
                <a:gd name="T21" fmla="*/ 31 h 248"/>
                <a:gd name="T22" fmla="*/ 105 w 177"/>
                <a:gd name="T23" fmla="*/ 240 h 248"/>
                <a:gd name="T24" fmla="*/ 105 w 177"/>
                <a:gd name="T25" fmla="*/ 218 h 248"/>
                <a:gd name="T26" fmla="*/ 134 w 177"/>
                <a:gd name="T27" fmla="*/ 62 h 248"/>
                <a:gd name="T28" fmla="*/ 134 w 177"/>
                <a:gd name="T29" fmla="*/ 45 h 248"/>
                <a:gd name="T30" fmla="*/ 105 w 177"/>
                <a:gd name="T31" fmla="*/ 99 h 248"/>
                <a:gd name="T32" fmla="*/ 134 w 177"/>
                <a:gd name="T33" fmla="*/ 79 h 248"/>
                <a:gd name="T34" fmla="*/ 105 w 177"/>
                <a:gd name="T35" fmla="*/ 133 h 248"/>
                <a:gd name="T36" fmla="*/ 134 w 177"/>
                <a:gd name="T37" fmla="*/ 147 h 248"/>
                <a:gd name="T38" fmla="*/ 116 w 177"/>
                <a:gd name="T39" fmla="*/ 183 h 248"/>
                <a:gd name="T40" fmla="*/ 105 w 177"/>
                <a:gd name="T41" fmla="*/ 201 h 248"/>
                <a:gd name="T42" fmla="*/ 106 w 177"/>
                <a:gd name="T43" fmla="*/ 167 h 248"/>
                <a:gd name="T44" fmla="*/ 134 w 177"/>
                <a:gd name="T45" fmla="*/ 147 h 248"/>
                <a:gd name="T46" fmla="*/ 38 w 177"/>
                <a:gd name="T47" fmla="*/ 37 h 248"/>
                <a:gd name="T48" fmla="*/ 38 w 177"/>
                <a:gd name="T49" fmla="*/ 54 h 248"/>
                <a:gd name="T50" fmla="*/ 97 w 177"/>
                <a:gd name="T51" fmla="*/ 82 h 248"/>
                <a:gd name="T52" fmla="*/ 105 w 177"/>
                <a:gd name="T53" fmla="*/ 99 h 248"/>
                <a:gd name="T54" fmla="*/ 105 w 177"/>
                <a:gd name="T55" fmla="*/ 65 h 248"/>
                <a:gd name="T56" fmla="*/ 68 w 177"/>
                <a:gd name="T57" fmla="*/ 35 h 248"/>
                <a:gd name="T58" fmla="*/ 38 w 177"/>
                <a:gd name="T59" fmla="*/ 247 h 248"/>
                <a:gd name="T60" fmla="*/ 38 w 177"/>
                <a:gd name="T61" fmla="*/ 225 h 248"/>
                <a:gd name="T62" fmla="*/ 105 w 177"/>
                <a:gd name="T63" fmla="*/ 116 h 248"/>
                <a:gd name="T64" fmla="*/ 69 w 177"/>
                <a:gd name="T65" fmla="*/ 153 h 248"/>
                <a:gd name="T66" fmla="*/ 38 w 177"/>
                <a:gd name="T67" fmla="*/ 174 h 248"/>
                <a:gd name="T68" fmla="*/ 56 w 177"/>
                <a:gd name="T69" fmla="*/ 138 h 248"/>
                <a:gd name="T70" fmla="*/ 105 w 177"/>
                <a:gd name="T71" fmla="*/ 116 h 248"/>
                <a:gd name="T72" fmla="*/ 38 w 177"/>
                <a:gd name="T73" fmla="*/ 208 h 248"/>
                <a:gd name="T74" fmla="*/ 38 w 177"/>
                <a:gd name="T75" fmla="*/ 11 h 248"/>
                <a:gd name="T76" fmla="*/ 24 w 177"/>
                <a:gd name="T77" fmla="*/ 248 h 248"/>
                <a:gd name="T78" fmla="*/ 37 w 177"/>
                <a:gd name="T79" fmla="*/ 208 h 248"/>
                <a:gd name="T80" fmla="*/ 35 w 177"/>
                <a:gd name="T81" fmla="*/ 191 h 248"/>
                <a:gd name="T82" fmla="*/ 38 w 177"/>
                <a:gd name="T83" fmla="*/ 156 h 248"/>
                <a:gd name="T84" fmla="*/ 38 w 177"/>
                <a:gd name="T85" fmla="*/ 140 h 248"/>
                <a:gd name="T86" fmla="*/ 27 w 177"/>
                <a:gd name="T87" fmla="*/ 107 h 248"/>
                <a:gd name="T88" fmla="*/ 25 w 177"/>
                <a:gd name="T89" fmla="*/ 90 h 248"/>
                <a:gd name="T90" fmla="*/ 38 w 177"/>
                <a:gd name="T91" fmla="*/ 54 h 248"/>
                <a:gd name="T92" fmla="*/ 38 w 177"/>
                <a:gd name="T93" fmla="*/ 3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248">
                  <a:moveTo>
                    <a:pt x="154" y="0"/>
                  </a:moveTo>
                  <a:cubicBezTo>
                    <a:pt x="134" y="2"/>
                    <a:pt x="134" y="2"/>
                    <a:pt x="134" y="2"/>
                  </a:cubicBezTo>
                  <a:cubicBezTo>
                    <a:pt x="134" y="28"/>
                    <a:pt x="134" y="28"/>
                    <a:pt x="134" y="28"/>
                  </a:cubicBezTo>
                  <a:cubicBezTo>
                    <a:pt x="140" y="27"/>
                    <a:pt x="140" y="27"/>
                    <a:pt x="140" y="27"/>
                  </a:cubicBezTo>
                  <a:cubicBezTo>
                    <a:pt x="140" y="33"/>
                    <a:pt x="141" y="38"/>
                    <a:pt x="141" y="44"/>
                  </a:cubicBezTo>
                  <a:cubicBezTo>
                    <a:pt x="134" y="45"/>
                    <a:pt x="134" y="45"/>
                    <a:pt x="134" y="45"/>
                  </a:cubicBezTo>
                  <a:cubicBezTo>
                    <a:pt x="134" y="62"/>
                    <a:pt x="134" y="62"/>
                    <a:pt x="134" y="62"/>
                  </a:cubicBezTo>
                  <a:cubicBezTo>
                    <a:pt x="143" y="61"/>
                    <a:pt x="143" y="61"/>
                    <a:pt x="143" y="61"/>
                  </a:cubicBezTo>
                  <a:cubicBezTo>
                    <a:pt x="144" y="67"/>
                    <a:pt x="144" y="72"/>
                    <a:pt x="145" y="78"/>
                  </a:cubicBezTo>
                  <a:cubicBezTo>
                    <a:pt x="134" y="79"/>
                    <a:pt x="134" y="79"/>
                    <a:pt x="134" y="79"/>
                  </a:cubicBezTo>
                  <a:cubicBezTo>
                    <a:pt x="134" y="96"/>
                    <a:pt x="134" y="96"/>
                    <a:pt x="134" y="96"/>
                  </a:cubicBezTo>
                  <a:cubicBezTo>
                    <a:pt x="146" y="95"/>
                    <a:pt x="146" y="95"/>
                    <a:pt x="146" y="95"/>
                  </a:cubicBezTo>
                  <a:cubicBezTo>
                    <a:pt x="147" y="100"/>
                    <a:pt x="147" y="106"/>
                    <a:pt x="148" y="111"/>
                  </a:cubicBezTo>
                  <a:cubicBezTo>
                    <a:pt x="134" y="113"/>
                    <a:pt x="134" y="113"/>
                    <a:pt x="134" y="113"/>
                  </a:cubicBezTo>
                  <a:cubicBezTo>
                    <a:pt x="134" y="130"/>
                    <a:pt x="134" y="130"/>
                    <a:pt x="134" y="130"/>
                  </a:cubicBezTo>
                  <a:cubicBezTo>
                    <a:pt x="150" y="128"/>
                    <a:pt x="150" y="128"/>
                    <a:pt x="150" y="128"/>
                  </a:cubicBezTo>
                  <a:cubicBezTo>
                    <a:pt x="150" y="134"/>
                    <a:pt x="151" y="139"/>
                    <a:pt x="151" y="145"/>
                  </a:cubicBezTo>
                  <a:cubicBezTo>
                    <a:pt x="134" y="147"/>
                    <a:pt x="134" y="147"/>
                    <a:pt x="134" y="147"/>
                  </a:cubicBezTo>
                  <a:cubicBezTo>
                    <a:pt x="134" y="164"/>
                    <a:pt x="134" y="164"/>
                    <a:pt x="134" y="164"/>
                  </a:cubicBezTo>
                  <a:cubicBezTo>
                    <a:pt x="153" y="162"/>
                    <a:pt x="153" y="162"/>
                    <a:pt x="153" y="162"/>
                  </a:cubicBezTo>
                  <a:cubicBezTo>
                    <a:pt x="154" y="168"/>
                    <a:pt x="154" y="173"/>
                    <a:pt x="155" y="179"/>
                  </a:cubicBezTo>
                  <a:cubicBezTo>
                    <a:pt x="134" y="181"/>
                    <a:pt x="134" y="181"/>
                    <a:pt x="134" y="181"/>
                  </a:cubicBezTo>
                  <a:cubicBezTo>
                    <a:pt x="134" y="198"/>
                    <a:pt x="134" y="198"/>
                    <a:pt x="134" y="198"/>
                  </a:cubicBezTo>
                  <a:cubicBezTo>
                    <a:pt x="157" y="196"/>
                    <a:pt x="157" y="196"/>
                    <a:pt x="157" y="196"/>
                  </a:cubicBezTo>
                  <a:cubicBezTo>
                    <a:pt x="157" y="201"/>
                    <a:pt x="158" y="207"/>
                    <a:pt x="158" y="212"/>
                  </a:cubicBezTo>
                  <a:cubicBezTo>
                    <a:pt x="134" y="215"/>
                    <a:pt x="134" y="215"/>
                    <a:pt x="134" y="215"/>
                  </a:cubicBezTo>
                  <a:cubicBezTo>
                    <a:pt x="134" y="237"/>
                    <a:pt x="134" y="237"/>
                    <a:pt x="134" y="237"/>
                  </a:cubicBezTo>
                  <a:cubicBezTo>
                    <a:pt x="177" y="233"/>
                    <a:pt x="177" y="233"/>
                    <a:pt x="177" y="233"/>
                  </a:cubicBezTo>
                  <a:cubicBezTo>
                    <a:pt x="173" y="194"/>
                    <a:pt x="169" y="155"/>
                    <a:pt x="165" y="116"/>
                  </a:cubicBezTo>
                  <a:cubicBezTo>
                    <a:pt x="162" y="77"/>
                    <a:pt x="158" y="39"/>
                    <a:pt x="154" y="0"/>
                  </a:cubicBezTo>
                  <a:close/>
                  <a:moveTo>
                    <a:pt x="134" y="2"/>
                  </a:moveTo>
                  <a:cubicBezTo>
                    <a:pt x="105" y="5"/>
                    <a:pt x="105" y="5"/>
                    <a:pt x="105" y="5"/>
                  </a:cubicBezTo>
                  <a:cubicBezTo>
                    <a:pt x="105" y="31"/>
                    <a:pt x="105" y="31"/>
                    <a:pt x="105" y="31"/>
                  </a:cubicBezTo>
                  <a:cubicBezTo>
                    <a:pt x="134" y="28"/>
                    <a:pt x="134" y="28"/>
                    <a:pt x="134" y="28"/>
                  </a:cubicBezTo>
                  <a:cubicBezTo>
                    <a:pt x="134" y="2"/>
                    <a:pt x="134" y="2"/>
                    <a:pt x="134" y="2"/>
                  </a:cubicBezTo>
                  <a:close/>
                  <a:moveTo>
                    <a:pt x="105" y="240"/>
                  </a:moveTo>
                  <a:cubicBezTo>
                    <a:pt x="134" y="237"/>
                    <a:pt x="134" y="237"/>
                    <a:pt x="134" y="237"/>
                  </a:cubicBezTo>
                  <a:cubicBezTo>
                    <a:pt x="134" y="215"/>
                    <a:pt x="134" y="215"/>
                    <a:pt x="134" y="215"/>
                  </a:cubicBezTo>
                  <a:cubicBezTo>
                    <a:pt x="105" y="218"/>
                    <a:pt x="105" y="218"/>
                    <a:pt x="105" y="218"/>
                  </a:cubicBezTo>
                  <a:cubicBezTo>
                    <a:pt x="105" y="240"/>
                    <a:pt x="105" y="240"/>
                    <a:pt x="105" y="240"/>
                  </a:cubicBezTo>
                  <a:close/>
                  <a:moveTo>
                    <a:pt x="134" y="45"/>
                  </a:moveTo>
                  <a:cubicBezTo>
                    <a:pt x="134" y="62"/>
                    <a:pt x="134" y="62"/>
                    <a:pt x="134" y="62"/>
                  </a:cubicBezTo>
                  <a:cubicBezTo>
                    <a:pt x="105" y="65"/>
                    <a:pt x="105" y="65"/>
                    <a:pt x="105" y="65"/>
                  </a:cubicBezTo>
                  <a:cubicBezTo>
                    <a:pt x="105" y="48"/>
                    <a:pt x="105" y="48"/>
                    <a:pt x="105" y="48"/>
                  </a:cubicBezTo>
                  <a:cubicBezTo>
                    <a:pt x="134" y="45"/>
                    <a:pt x="134" y="45"/>
                    <a:pt x="134" y="45"/>
                  </a:cubicBezTo>
                  <a:close/>
                  <a:moveTo>
                    <a:pt x="134" y="79"/>
                  </a:moveTo>
                  <a:cubicBezTo>
                    <a:pt x="134" y="96"/>
                    <a:pt x="134" y="96"/>
                    <a:pt x="134" y="96"/>
                  </a:cubicBezTo>
                  <a:cubicBezTo>
                    <a:pt x="105" y="99"/>
                    <a:pt x="105" y="99"/>
                    <a:pt x="105" y="99"/>
                  </a:cubicBezTo>
                  <a:cubicBezTo>
                    <a:pt x="105" y="73"/>
                    <a:pt x="105" y="73"/>
                    <a:pt x="105" y="73"/>
                  </a:cubicBezTo>
                  <a:cubicBezTo>
                    <a:pt x="105" y="82"/>
                    <a:pt x="105" y="82"/>
                    <a:pt x="105" y="82"/>
                  </a:cubicBezTo>
                  <a:cubicBezTo>
                    <a:pt x="134" y="79"/>
                    <a:pt x="134" y="79"/>
                    <a:pt x="134" y="79"/>
                  </a:cubicBezTo>
                  <a:close/>
                  <a:moveTo>
                    <a:pt x="134" y="113"/>
                  </a:moveTo>
                  <a:cubicBezTo>
                    <a:pt x="134" y="130"/>
                    <a:pt x="134" y="130"/>
                    <a:pt x="134" y="130"/>
                  </a:cubicBezTo>
                  <a:cubicBezTo>
                    <a:pt x="105" y="133"/>
                    <a:pt x="105" y="133"/>
                    <a:pt x="105" y="133"/>
                  </a:cubicBezTo>
                  <a:cubicBezTo>
                    <a:pt x="105" y="116"/>
                    <a:pt x="105" y="116"/>
                    <a:pt x="105" y="116"/>
                  </a:cubicBezTo>
                  <a:cubicBezTo>
                    <a:pt x="134" y="113"/>
                    <a:pt x="134" y="113"/>
                    <a:pt x="134" y="113"/>
                  </a:cubicBezTo>
                  <a:close/>
                  <a:moveTo>
                    <a:pt x="134" y="147"/>
                  </a:moveTo>
                  <a:cubicBezTo>
                    <a:pt x="134" y="164"/>
                    <a:pt x="134" y="164"/>
                    <a:pt x="134" y="164"/>
                  </a:cubicBezTo>
                  <a:cubicBezTo>
                    <a:pt x="114" y="166"/>
                    <a:pt x="114" y="166"/>
                    <a:pt x="114" y="166"/>
                  </a:cubicBezTo>
                  <a:cubicBezTo>
                    <a:pt x="115" y="172"/>
                    <a:pt x="115" y="177"/>
                    <a:pt x="116" y="183"/>
                  </a:cubicBezTo>
                  <a:cubicBezTo>
                    <a:pt x="134" y="181"/>
                    <a:pt x="134" y="181"/>
                    <a:pt x="134" y="181"/>
                  </a:cubicBezTo>
                  <a:cubicBezTo>
                    <a:pt x="134" y="198"/>
                    <a:pt x="134" y="198"/>
                    <a:pt x="134" y="198"/>
                  </a:cubicBezTo>
                  <a:cubicBezTo>
                    <a:pt x="105" y="201"/>
                    <a:pt x="105" y="201"/>
                    <a:pt x="105" y="201"/>
                  </a:cubicBezTo>
                  <a:cubicBezTo>
                    <a:pt x="105" y="184"/>
                    <a:pt x="105" y="184"/>
                    <a:pt x="105" y="184"/>
                  </a:cubicBezTo>
                  <a:cubicBezTo>
                    <a:pt x="108" y="183"/>
                    <a:pt x="108" y="183"/>
                    <a:pt x="108" y="183"/>
                  </a:cubicBezTo>
                  <a:cubicBezTo>
                    <a:pt x="107" y="178"/>
                    <a:pt x="106" y="172"/>
                    <a:pt x="106" y="167"/>
                  </a:cubicBezTo>
                  <a:cubicBezTo>
                    <a:pt x="105" y="167"/>
                    <a:pt x="105" y="167"/>
                    <a:pt x="105" y="167"/>
                  </a:cubicBezTo>
                  <a:cubicBezTo>
                    <a:pt x="105" y="150"/>
                    <a:pt x="105" y="150"/>
                    <a:pt x="105" y="150"/>
                  </a:cubicBezTo>
                  <a:lnTo>
                    <a:pt x="134" y="147"/>
                  </a:lnTo>
                  <a:close/>
                  <a:moveTo>
                    <a:pt x="105" y="5"/>
                  </a:moveTo>
                  <a:cubicBezTo>
                    <a:pt x="38" y="11"/>
                    <a:pt x="38" y="11"/>
                    <a:pt x="38" y="11"/>
                  </a:cubicBezTo>
                  <a:cubicBezTo>
                    <a:pt x="38" y="37"/>
                    <a:pt x="38" y="37"/>
                    <a:pt x="38" y="37"/>
                  </a:cubicBezTo>
                  <a:cubicBezTo>
                    <a:pt x="55" y="36"/>
                    <a:pt x="55" y="36"/>
                    <a:pt x="55" y="36"/>
                  </a:cubicBezTo>
                  <a:cubicBezTo>
                    <a:pt x="56" y="41"/>
                    <a:pt x="56" y="47"/>
                    <a:pt x="57" y="53"/>
                  </a:cubicBezTo>
                  <a:cubicBezTo>
                    <a:pt x="38" y="54"/>
                    <a:pt x="38" y="54"/>
                    <a:pt x="38" y="54"/>
                  </a:cubicBezTo>
                  <a:cubicBezTo>
                    <a:pt x="38" y="72"/>
                    <a:pt x="38" y="72"/>
                    <a:pt x="38" y="72"/>
                  </a:cubicBezTo>
                  <a:cubicBezTo>
                    <a:pt x="96" y="66"/>
                    <a:pt x="96" y="66"/>
                    <a:pt x="96" y="66"/>
                  </a:cubicBezTo>
                  <a:cubicBezTo>
                    <a:pt x="96" y="71"/>
                    <a:pt x="97" y="77"/>
                    <a:pt x="97" y="82"/>
                  </a:cubicBezTo>
                  <a:cubicBezTo>
                    <a:pt x="38" y="88"/>
                    <a:pt x="38" y="88"/>
                    <a:pt x="38" y="88"/>
                  </a:cubicBezTo>
                  <a:cubicBezTo>
                    <a:pt x="38" y="106"/>
                    <a:pt x="38" y="106"/>
                    <a:pt x="38" y="106"/>
                  </a:cubicBezTo>
                  <a:cubicBezTo>
                    <a:pt x="105" y="99"/>
                    <a:pt x="105" y="99"/>
                    <a:pt x="105" y="99"/>
                  </a:cubicBezTo>
                  <a:cubicBezTo>
                    <a:pt x="105" y="73"/>
                    <a:pt x="105" y="73"/>
                    <a:pt x="105" y="73"/>
                  </a:cubicBezTo>
                  <a:cubicBezTo>
                    <a:pt x="104" y="65"/>
                    <a:pt x="104" y="65"/>
                    <a:pt x="104" y="65"/>
                  </a:cubicBezTo>
                  <a:cubicBezTo>
                    <a:pt x="105" y="65"/>
                    <a:pt x="105" y="65"/>
                    <a:pt x="105" y="65"/>
                  </a:cubicBezTo>
                  <a:cubicBezTo>
                    <a:pt x="105" y="48"/>
                    <a:pt x="105" y="48"/>
                    <a:pt x="105" y="48"/>
                  </a:cubicBezTo>
                  <a:cubicBezTo>
                    <a:pt x="70" y="51"/>
                    <a:pt x="70" y="51"/>
                    <a:pt x="70" y="51"/>
                  </a:cubicBezTo>
                  <a:cubicBezTo>
                    <a:pt x="69" y="46"/>
                    <a:pt x="68" y="40"/>
                    <a:pt x="68" y="35"/>
                  </a:cubicBezTo>
                  <a:cubicBezTo>
                    <a:pt x="105" y="31"/>
                    <a:pt x="105" y="31"/>
                    <a:pt x="105" y="31"/>
                  </a:cubicBezTo>
                  <a:cubicBezTo>
                    <a:pt x="105" y="5"/>
                    <a:pt x="105" y="5"/>
                    <a:pt x="105" y="5"/>
                  </a:cubicBezTo>
                  <a:close/>
                  <a:moveTo>
                    <a:pt x="38" y="247"/>
                  </a:moveTo>
                  <a:cubicBezTo>
                    <a:pt x="105" y="240"/>
                    <a:pt x="105" y="240"/>
                    <a:pt x="105" y="240"/>
                  </a:cubicBezTo>
                  <a:cubicBezTo>
                    <a:pt x="105" y="218"/>
                    <a:pt x="105" y="218"/>
                    <a:pt x="105" y="218"/>
                  </a:cubicBezTo>
                  <a:cubicBezTo>
                    <a:pt x="38" y="225"/>
                    <a:pt x="38" y="225"/>
                    <a:pt x="38" y="225"/>
                  </a:cubicBezTo>
                  <a:cubicBezTo>
                    <a:pt x="38" y="223"/>
                    <a:pt x="38" y="223"/>
                    <a:pt x="38" y="223"/>
                  </a:cubicBezTo>
                  <a:cubicBezTo>
                    <a:pt x="38" y="247"/>
                    <a:pt x="38" y="247"/>
                    <a:pt x="38" y="247"/>
                  </a:cubicBezTo>
                  <a:close/>
                  <a:moveTo>
                    <a:pt x="105" y="116"/>
                  </a:moveTo>
                  <a:cubicBezTo>
                    <a:pt x="105" y="133"/>
                    <a:pt x="105" y="133"/>
                    <a:pt x="105" y="133"/>
                  </a:cubicBezTo>
                  <a:cubicBezTo>
                    <a:pt x="67" y="137"/>
                    <a:pt x="67" y="137"/>
                    <a:pt x="67" y="137"/>
                  </a:cubicBezTo>
                  <a:cubicBezTo>
                    <a:pt x="68" y="142"/>
                    <a:pt x="69" y="148"/>
                    <a:pt x="69" y="153"/>
                  </a:cubicBezTo>
                  <a:cubicBezTo>
                    <a:pt x="105" y="150"/>
                    <a:pt x="105" y="150"/>
                    <a:pt x="105" y="150"/>
                  </a:cubicBezTo>
                  <a:cubicBezTo>
                    <a:pt x="105" y="167"/>
                    <a:pt x="105" y="167"/>
                    <a:pt x="105" y="167"/>
                  </a:cubicBezTo>
                  <a:cubicBezTo>
                    <a:pt x="38" y="174"/>
                    <a:pt x="38" y="174"/>
                    <a:pt x="38" y="174"/>
                  </a:cubicBezTo>
                  <a:cubicBezTo>
                    <a:pt x="38" y="156"/>
                    <a:pt x="38" y="156"/>
                    <a:pt x="38" y="156"/>
                  </a:cubicBezTo>
                  <a:cubicBezTo>
                    <a:pt x="58" y="154"/>
                    <a:pt x="58" y="154"/>
                    <a:pt x="58" y="154"/>
                  </a:cubicBezTo>
                  <a:cubicBezTo>
                    <a:pt x="58" y="149"/>
                    <a:pt x="57" y="143"/>
                    <a:pt x="56" y="138"/>
                  </a:cubicBezTo>
                  <a:cubicBezTo>
                    <a:pt x="38" y="140"/>
                    <a:pt x="38" y="140"/>
                    <a:pt x="38" y="140"/>
                  </a:cubicBezTo>
                  <a:cubicBezTo>
                    <a:pt x="38" y="122"/>
                    <a:pt x="38" y="122"/>
                    <a:pt x="38" y="122"/>
                  </a:cubicBezTo>
                  <a:cubicBezTo>
                    <a:pt x="105" y="116"/>
                    <a:pt x="105" y="116"/>
                    <a:pt x="105" y="116"/>
                  </a:cubicBezTo>
                  <a:close/>
                  <a:moveTo>
                    <a:pt x="105" y="184"/>
                  </a:moveTo>
                  <a:cubicBezTo>
                    <a:pt x="105" y="201"/>
                    <a:pt x="105" y="201"/>
                    <a:pt x="105" y="201"/>
                  </a:cubicBezTo>
                  <a:cubicBezTo>
                    <a:pt x="38" y="208"/>
                    <a:pt x="38" y="208"/>
                    <a:pt x="38" y="208"/>
                  </a:cubicBezTo>
                  <a:cubicBezTo>
                    <a:pt x="38" y="190"/>
                    <a:pt x="38" y="190"/>
                    <a:pt x="38" y="190"/>
                  </a:cubicBezTo>
                  <a:lnTo>
                    <a:pt x="105" y="184"/>
                  </a:lnTo>
                  <a:close/>
                  <a:moveTo>
                    <a:pt x="38" y="11"/>
                  </a:moveTo>
                  <a:cubicBezTo>
                    <a:pt x="0" y="15"/>
                    <a:pt x="0" y="15"/>
                    <a:pt x="0" y="15"/>
                  </a:cubicBezTo>
                  <a:cubicBezTo>
                    <a:pt x="4" y="54"/>
                    <a:pt x="8" y="93"/>
                    <a:pt x="12" y="132"/>
                  </a:cubicBezTo>
                  <a:cubicBezTo>
                    <a:pt x="16" y="171"/>
                    <a:pt x="20" y="209"/>
                    <a:pt x="24" y="248"/>
                  </a:cubicBezTo>
                  <a:cubicBezTo>
                    <a:pt x="38" y="247"/>
                    <a:pt x="38" y="247"/>
                    <a:pt x="38" y="247"/>
                  </a:cubicBezTo>
                  <a:cubicBezTo>
                    <a:pt x="38" y="223"/>
                    <a:pt x="38" y="223"/>
                    <a:pt x="38" y="223"/>
                  </a:cubicBezTo>
                  <a:cubicBezTo>
                    <a:pt x="37" y="208"/>
                    <a:pt x="37" y="208"/>
                    <a:pt x="37" y="208"/>
                  </a:cubicBezTo>
                  <a:cubicBezTo>
                    <a:pt x="38" y="208"/>
                    <a:pt x="38" y="208"/>
                    <a:pt x="38" y="208"/>
                  </a:cubicBezTo>
                  <a:cubicBezTo>
                    <a:pt x="38" y="190"/>
                    <a:pt x="38" y="190"/>
                    <a:pt x="38" y="190"/>
                  </a:cubicBezTo>
                  <a:cubicBezTo>
                    <a:pt x="35" y="191"/>
                    <a:pt x="35" y="191"/>
                    <a:pt x="35" y="191"/>
                  </a:cubicBezTo>
                  <a:cubicBezTo>
                    <a:pt x="35" y="185"/>
                    <a:pt x="34" y="180"/>
                    <a:pt x="33" y="174"/>
                  </a:cubicBezTo>
                  <a:cubicBezTo>
                    <a:pt x="38" y="174"/>
                    <a:pt x="38" y="174"/>
                    <a:pt x="38" y="174"/>
                  </a:cubicBezTo>
                  <a:cubicBezTo>
                    <a:pt x="38" y="156"/>
                    <a:pt x="38" y="156"/>
                    <a:pt x="38" y="156"/>
                  </a:cubicBezTo>
                  <a:cubicBezTo>
                    <a:pt x="32" y="157"/>
                    <a:pt x="32" y="157"/>
                    <a:pt x="32" y="157"/>
                  </a:cubicBezTo>
                  <a:cubicBezTo>
                    <a:pt x="31" y="152"/>
                    <a:pt x="31" y="146"/>
                    <a:pt x="30" y="140"/>
                  </a:cubicBezTo>
                  <a:cubicBezTo>
                    <a:pt x="38" y="140"/>
                    <a:pt x="38" y="140"/>
                    <a:pt x="38" y="140"/>
                  </a:cubicBezTo>
                  <a:cubicBezTo>
                    <a:pt x="38" y="122"/>
                    <a:pt x="38" y="122"/>
                    <a:pt x="38" y="122"/>
                  </a:cubicBezTo>
                  <a:cubicBezTo>
                    <a:pt x="28" y="123"/>
                    <a:pt x="28" y="123"/>
                    <a:pt x="28" y="123"/>
                  </a:cubicBezTo>
                  <a:cubicBezTo>
                    <a:pt x="28" y="118"/>
                    <a:pt x="27" y="112"/>
                    <a:pt x="27" y="107"/>
                  </a:cubicBezTo>
                  <a:cubicBezTo>
                    <a:pt x="38" y="106"/>
                    <a:pt x="38" y="106"/>
                    <a:pt x="38" y="106"/>
                  </a:cubicBezTo>
                  <a:cubicBezTo>
                    <a:pt x="38" y="88"/>
                    <a:pt x="38" y="88"/>
                    <a:pt x="38" y="88"/>
                  </a:cubicBezTo>
                  <a:cubicBezTo>
                    <a:pt x="25" y="90"/>
                    <a:pt x="25" y="90"/>
                    <a:pt x="25" y="90"/>
                  </a:cubicBezTo>
                  <a:cubicBezTo>
                    <a:pt x="24" y="84"/>
                    <a:pt x="24" y="79"/>
                    <a:pt x="23" y="73"/>
                  </a:cubicBezTo>
                  <a:cubicBezTo>
                    <a:pt x="38" y="72"/>
                    <a:pt x="38" y="72"/>
                    <a:pt x="38" y="72"/>
                  </a:cubicBezTo>
                  <a:cubicBezTo>
                    <a:pt x="38" y="54"/>
                    <a:pt x="38" y="54"/>
                    <a:pt x="38" y="54"/>
                  </a:cubicBezTo>
                  <a:cubicBezTo>
                    <a:pt x="21" y="56"/>
                    <a:pt x="21" y="56"/>
                    <a:pt x="21" y="56"/>
                  </a:cubicBezTo>
                  <a:cubicBezTo>
                    <a:pt x="21" y="51"/>
                    <a:pt x="20" y="45"/>
                    <a:pt x="20" y="39"/>
                  </a:cubicBezTo>
                  <a:cubicBezTo>
                    <a:pt x="38" y="37"/>
                    <a:pt x="38" y="37"/>
                    <a:pt x="38" y="37"/>
                  </a:cubicBezTo>
                  <a:lnTo>
                    <a:pt x="38" y="11"/>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3" name="îšľîḓé">
              <a:extLst>
                <a:ext uri="{FF2B5EF4-FFF2-40B4-BE49-F238E27FC236}">
                  <a16:creationId xmlns:a16="http://schemas.microsoft.com/office/drawing/2014/main" id="{07367467-E54D-4C49-A95C-57486E4C3F1F}"/>
                </a:ext>
              </a:extLst>
            </p:cNvPr>
            <p:cNvSpPr/>
            <p:nvPr/>
          </p:nvSpPr>
          <p:spPr bwMode="auto">
            <a:xfrm flipH="1">
              <a:off x="3237915" y="1851158"/>
              <a:ext cx="302756" cy="783794"/>
            </a:xfrm>
            <a:custGeom>
              <a:avLst/>
              <a:gdLst>
                <a:gd name="T0" fmla="*/ 154 w 181"/>
                <a:gd name="T1" fmla="*/ 0 h 480"/>
                <a:gd name="T2" fmla="*/ 154 w 181"/>
                <a:gd name="T3" fmla="*/ 407 h 480"/>
                <a:gd name="T4" fmla="*/ 123 w 181"/>
                <a:gd name="T5" fmla="*/ 20 h 480"/>
                <a:gd name="T6" fmla="*/ 125 w 181"/>
                <a:gd name="T7" fmla="*/ 121 h 480"/>
                <a:gd name="T8" fmla="*/ 127 w 181"/>
                <a:gd name="T9" fmla="*/ 55 h 480"/>
                <a:gd name="T10" fmla="*/ 125 w 181"/>
                <a:gd name="T11" fmla="*/ 221 h 480"/>
                <a:gd name="T12" fmla="*/ 128 w 181"/>
                <a:gd name="T13" fmla="*/ 206 h 480"/>
                <a:gd name="T14" fmla="*/ 123 w 181"/>
                <a:gd name="T15" fmla="*/ 156 h 480"/>
                <a:gd name="T16" fmla="*/ 130 w 181"/>
                <a:gd name="T17" fmla="*/ 322 h 480"/>
                <a:gd name="T18" fmla="*/ 122 w 181"/>
                <a:gd name="T19" fmla="*/ 307 h 480"/>
                <a:gd name="T20" fmla="*/ 130 w 181"/>
                <a:gd name="T21" fmla="*/ 256 h 480"/>
                <a:gd name="T22" fmla="*/ 128 w 181"/>
                <a:gd name="T23" fmla="*/ 357 h 480"/>
                <a:gd name="T24" fmla="*/ 117 w 181"/>
                <a:gd name="T25" fmla="*/ 20 h 480"/>
                <a:gd name="T26" fmla="*/ 119 w 181"/>
                <a:gd name="T27" fmla="*/ 55 h 480"/>
                <a:gd name="T28" fmla="*/ 119 w 181"/>
                <a:gd name="T29" fmla="*/ 121 h 480"/>
                <a:gd name="T30" fmla="*/ 119 w 181"/>
                <a:gd name="T31" fmla="*/ 156 h 480"/>
                <a:gd name="T32" fmla="*/ 119 w 181"/>
                <a:gd name="T33" fmla="*/ 171 h 480"/>
                <a:gd name="T34" fmla="*/ 118 w 181"/>
                <a:gd name="T35" fmla="*/ 221 h 480"/>
                <a:gd name="T36" fmla="*/ 120 w 181"/>
                <a:gd name="T37" fmla="*/ 206 h 480"/>
                <a:gd name="T38" fmla="*/ 120 w 181"/>
                <a:gd name="T39" fmla="*/ 256 h 480"/>
                <a:gd name="T40" fmla="*/ 118 w 181"/>
                <a:gd name="T41" fmla="*/ 322 h 480"/>
                <a:gd name="T42" fmla="*/ 120 w 181"/>
                <a:gd name="T43" fmla="*/ 357 h 480"/>
                <a:gd name="T44" fmla="*/ 95 w 181"/>
                <a:gd name="T45" fmla="*/ 20 h 480"/>
                <a:gd name="T46" fmla="*/ 96 w 181"/>
                <a:gd name="T47" fmla="*/ 70 h 480"/>
                <a:gd name="T48" fmla="*/ 92 w 181"/>
                <a:gd name="T49" fmla="*/ 55 h 480"/>
                <a:gd name="T50" fmla="*/ 91 w 181"/>
                <a:gd name="T51" fmla="*/ 105 h 480"/>
                <a:gd name="T52" fmla="*/ 97 w 181"/>
                <a:gd name="T53" fmla="*/ 221 h 480"/>
                <a:gd name="T54" fmla="*/ 97 w 181"/>
                <a:gd name="T55" fmla="*/ 272 h 480"/>
                <a:gd name="T56" fmla="*/ 91 w 181"/>
                <a:gd name="T57" fmla="*/ 256 h 480"/>
                <a:gd name="T58" fmla="*/ 91 w 181"/>
                <a:gd name="T59" fmla="*/ 407 h 480"/>
                <a:gd name="T60" fmla="*/ 95 w 181"/>
                <a:gd name="T61" fmla="*/ 372 h 480"/>
                <a:gd name="T62" fmla="*/ 94 w 181"/>
                <a:gd name="T63" fmla="*/ 307 h 480"/>
                <a:gd name="T64" fmla="*/ 87 w 181"/>
                <a:gd name="T65" fmla="*/ 20 h 480"/>
                <a:gd name="T66" fmla="*/ 87 w 181"/>
                <a:gd name="T67" fmla="*/ 55 h 480"/>
                <a:gd name="T68" fmla="*/ 86 w 181"/>
                <a:gd name="T69" fmla="*/ 70 h 480"/>
                <a:gd name="T70" fmla="*/ 61 w 181"/>
                <a:gd name="T71" fmla="*/ 70 h 480"/>
                <a:gd name="T72" fmla="*/ 63 w 181"/>
                <a:gd name="T73" fmla="*/ 458 h 480"/>
                <a:gd name="T74" fmla="*/ 63 w 181"/>
                <a:gd name="T75" fmla="*/ 171 h 480"/>
                <a:gd name="T76" fmla="*/ 62 w 181"/>
                <a:gd name="T77" fmla="*/ 105 h 480"/>
                <a:gd name="T78" fmla="*/ 87 w 181"/>
                <a:gd name="T79" fmla="*/ 105 h 480"/>
                <a:gd name="T80" fmla="*/ 86 w 181"/>
                <a:gd name="T81" fmla="*/ 221 h 480"/>
                <a:gd name="T82" fmla="*/ 88 w 181"/>
                <a:gd name="T83" fmla="*/ 256 h 480"/>
                <a:gd name="T84" fmla="*/ 85 w 181"/>
                <a:gd name="T85" fmla="*/ 272 h 480"/>
                <a:gd name="T86" fmla="*/ 60 w 181"/>
                <a:gd name="T87" fmla="*/ 272 h 480"/>
                <a:gd name="T88" fmla="*/ 65 w 181"/>
                <a:gd name="T89" fmla="*/ 206 h 480"/>
                <a:gd name="T90" fmla="*/ 84 w 181"/>
                <a:gd name="T91" fmla="*/ 372 h 480"/>
                <a:gd name="T92" fmla="*/ 59 w 181"/>
                <a:gd name="T93" fmla="*/ 372 h 480"/>
                <a:gd name="T94" fmla="*/ 65 w 181"/>
                <a:gd name="T95" fmla="*/ 307 h 480"/>
                <a:gd name="T96" fmla="*/ 90 w 181"/>
                <a:gd name="T97" fmla="*/ 407 h 480"/>
                <a:gd name="T98" fmla="*/ 59 w 181"/>
                <a:gd name="T99" fmla="*/ 407 h 480"/>
                <a:gd name="T100" fmla="*/ 84 w 181"/>
                <a:gd name="T101" fmla="*/ 407 h 480"/>
                <a:gd name="T102" fmla="*/ 57 w 181"/>
                <a:gd name="T103" fmla="*/ 70 h 480"/>
                <a:gd name="T104" fmla="*/ 54 w 181"/>
                <a:gd name="T105" fmla="*/ 105 h 480"/>
                <a:gd name="T106" fmla="*/ 57 w 181"/>
                <a:gd name="T107" fmla="*/ 171 h 480"/>
                <a:gd name="T108" fmla="*/ 59 w 181"/>
                <a:gd name="T109" fmla="*/ 480 h 480"/>
                <a:gd name="T110" fmla="*/ 58 w 181"/>
                <a:gd name="T111" fmla="*/ 407 h 480"/>
                <a:gd name="T112" fmla="*/ 52 w 181"/>
                <a:gd name="T113" fmla="*/ 423 h 480"/>
                <a:gd name="T114" fmla="*/ 52 w 181"/>
                <a:gd name="T115" fmla="*/ 221 h 480"/>
                <a:gd name="T116" fmla="*/ 52 w 181"/>
                <a:gd name="T117" fmla="*/ 307 h 480"/>
                <a:gd name="T118" fmla="*/ 59 w 181"/>
                <a:gd name="T119" fmla="*/ 357 h 480"/>
                <a:gd name="T120" fmla="*/ 27 w 181"/>
                <a:gd name="T121" fmla="*/ 357 h 480"/>
                <a:gd name="T122" fmla="*/ 57 w 181"/>
                <a:gd name="T123" fmla="*/ 206 h 480"/>
                <a:gd name="T124" fmla="*/ 27 w 181"/>
                <a:gd name="T125"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480">
                  <a:moveTo>
                    <a:pt x="154" y="0"/>
                  </a:moveTo>
                  <a:cubicBezTo>
                    <a:pt x="181" y="0"/>
                    <a:pt x="181" y="0"/>
                    <a:pt x="181" y="0"/>
                  </a:cubicBezTo>
                  <a:cubicBezTo>
                    <a:pt x="181" y="80"/>
                    <a:pt x="181" y="160"/>
                    <a:pt x="181" y="240"/>
                  </a:cubicBezTo>
                  <a:cubicBezTo>
                    <a:pt x="181" y="320"/>
                    <a:pt x="181" y="400"/>
                    <a:pt x="181" y="480"/>
                  </a:cubicBezTo>
                  <a:cubicBezTo>
                    <a:pt x="154" y="480"/>
                    <a:pt x="154" y="480"/>
                    <a:pt x="154" y="480"/>
                  </a:cubicBezTo>
                  <a:cubicBezTo>
                    <a:pt x="154" y="458"/>
                    <a:pt x="154" y="458"/>
                    <a:pt x="154" y="458"/>
                  </a:cubicBezTo>
                  <a:cubicBezTo>
                    <a:pt x="162" y="458"/>
                    <a:pt x="162" y="458"/>
                    <a:pt x="162" y="458"/>
                  </a:cubicBezTo>
                  <a:cubicBezTo>
                    <a:pt x="162" y="446"/>
                    <a:pt x="162" y="434"/>
                    <a:pt x="162" y="423"/>
                  </a:cubicBezTo>
                  <a:cubicBezTo>
                    <a:pt x="154" y="423"/>
                    <a:pt x="154" y="423"/>
                    <a:pt x="154" y="423"/>
                  </a:cubicBezTo>
                  <a:cubicBezTo>
                    <a:pt x="154" y="407"/>
                    <a:pt x="154" y="407"/>
                    <a:pt x="154" y="407"/>
                  </a:cubicBezTo>
                  <a:cubicBezTo>
                    <a:pt x="162" y="407"/>
                    <a:pt x="162" y="407"/>
                    <a:pt x="162" y="407"/>
                  </a:cubicBezTo>
                  <a:cubicBezTo>
                    <a:pt x="162" y="396"/>
                    <a:pt x="162" y="384"/>
                    <a:pt x="162" y="372"/>
                  </a:cubicBezTo>
                  <a:cubicBezTo>
                    <a:pt x="154" y="372"/>
                    <a:pt x="154" y="372"/>
                    <a:pt x="154" y="372"/>
                  </a:cubicBezTo>
                  <a:cubicBezTo>
                    <a:pt x="154" y="357"/>
                    <a:pt x="154" y="357"/>
                    <a:pt x="154" y="357"/>
                  </a:cubicBezTo>
                  <a:cubicBezTo>
                    <a:pt x="162" y="357"/>
                    <a:pt x="162" y="357"/>
                    <a:pt x="162" y="357"/>
                  </a:cubicBezTo>
                  <a:cubicBezTo>
                    <a:pt x="162" y="345"/>
                    <a:pt x="162" y="334"/>
                    <a:pt x="162" y="322"/>
                  </a:cubicBezTo>
                  <a:cubicBezTo>
                    <a:pt x="154" y="322"/>
                    <a:pt x="154" y="322"/>
                    <a:pt x="154" y="322"/>
                  </a:cubicBezTo>
                  <a:cubicBezTo>
                    <a:pt x="154" y="307"/>
                    <a:pt x="154" y="307"/>
                    <a:pt x="154" y="307"/>
                  </a:cubicBezTo>
                  <a:cubicBezTo>
                    <a:pt x="162" y="307"/>
                    <a:pt x="162" y="307"/>
                    <a:pt x="162" y="307"/>
                  </a:cubicBezTo>
                  <a:cubicBezTo>
                    <a:pt x="162" y="295"/>
                    <a:pt x="162" y="283"/>
                    <a:pt x="162" y="272"/>
                  </a:cubicBezTo>
                  <a:cubicBezTo>
                    <a:pt x="154" y="272"/>
                    <a:pt x="154" y="272"/>
                    <a:pt x="154" y="272"/>
                  </a:cubicBezTo>
                  <a:cubicBezTo>
                    <a:pt x="154" y="256"/>
                    <a:pt x="154" y="256"/>
                    <a:pt x="154" y="256"/>
                  </a:cubicBezTo>
                  <a:cubicBezTo>
                    <a:pt x="162" y="256"/>
                    <a:pt x="162" y="256"/>
                    <a:pt x="162" y="256"/>
                  </a:cubicBezTo>
                  <a:cubicBezTo>
                    <a:pt x="162" y="245"/>
                    <a:pt x="162" y="233"/>
                    <a:pt x="162" y="221"/>
                  </a:cubicBezTo>
                  <a:cubicBezTo>
                    <a:pt x="154" y="221"/>
                    <a:pt x="154" y="221"/>
                    <a:pt x="154" y="221"/>
                  </a:cubicBezTo>
                  <a:cubicBezTo>
                    <a:pt x="154" y="206"/>
                    <a:pt x="154" y="206"/>
                    <a:pt x="154" y="206"/>
                  </a:cubicBezTo>
                  <a:cubicBezTo>
                    <a:pt x="162" y="206"/>
                    <a:pt x="162" y="206"/>
                    <a:pt x="162" y="206"/>
                  </a:cubicBezTo>
                  <a:cubicBezTo>
                    <a:pt x="162" y="194"/>
                    <a:pt x="162" y="183"/>
                    <a:pt x="162" y="171"/>
                  </a:cubicBezTo>
                  <a:cubicBezTo>
                    <a:pt x="154" y="171"/>
                    <a:pt x="154" y="171"/>
                    <a:pt x="154" y="171"/>
                  </a:cubicBezTo>
                  <a:cubicBezTo>
                    <a:pt x="154" y="156"/>
                    <a:pt x="154" y="156"/>
                    <a:pt x="154" y="156"/>
                  </a:cubicBezTo>
                  <a:cubicBezTo>
                    <a:pt x="162" y="156"/>
                    <a:pt x="162" y="156"/>
                    <a:pt x="162" y="156"/>
                  </a:cubicBezTo>
                  <a:cubicBezTo>
                    <a:pt x="162" y="144"/>
                    <a:pt x="162" y="132"/>
                    <a:pt x="162" y="121"/>
                  </a:cubicBezTo>
                  <a:cubicBezTo>
                    <a:pt x="154" y="121"/>
                    <a:pt x="154" y="121"/>
                    <a:pt x="154" y="121"/>
                  </a:cubicBezTo>
                  <a:cubicBezTo>
                    <a:pt x="154" y="105"/>
                    <a:pt x="154" y="105"/>
                    <a:pt x="154" y="105"/>
                  </a:cubicBezTo>
                  <a:cubicBezTo>
                    <a:pt x="162" y="105"/>
                    <a:pt x="162" y="105"/>
                    <a:pt x="162" y="105"/>
                  </a:cubicBezTo>
                  <a:cubicBezTo>
                    <a:pt x="162" y="94"/>
                    <a:pt x="162" y="82"/>
                    <a:pt x="162" y="70"/>
                  </a:cubicBezTo>
                  <a:cubicBezTo>
                    <a:pt x="154" y="70"/>
                    <a:pt x="154" y="70"/>
                    <a:pt x="154" y="70"/>
                  </a:cubicBezTo>
                  <a:cubicBezTo>
                    <a:pt x="154" y="55"/>
                    <a:pt x="154" y="55"/>
                    <a:pt x="154" y="55"/>
                  </a:cubicBezTo>
                  <a:cubicBezTo>
                    <a:pt x="162" y="55"/>
                    <a:pt x="162" y="55"/>
                    <a:pt x="162" y="55"/>
                  </a:cubicBezTo>
                  <a:cubicBezTo>
                    <a:pt x="162" y="43"/>
                    <a:pt x="162" y="32"/>
                    <a:pt x="162" y="20"/>
                  </a:cubicBezTo>
                  <a:cubicBezTo>
                    <a:pt x="154" y="20"/>
                    <a:pt x="154" y="20"/>
                    <a:pt x="154" y="20"/>
                  </a:cubicBezTo>
                  <a:lnTo>
                    <a:pt x="154" y="0"/>
                  </a:lnTo>
                  <a:close/>
                  <a:moveTo>
                    <a:pt x="138" y="0"/>
                  </a:moveTo>
                  <a:cubicBezTo>
                    <a:pt x="154" y="0"/>
                    <a:pt x="154" y="0"/>
                    <a:pt x="154" y="0"/>
                  </a:cubicBezTo>
                  <a:cubicBezTo>
                    <a:pt x="154" y="20"/>
                    <a:pt x="154" y="20"/>
                    <a:pt x="154" y="20"/>
                  </a:cubicBezTo>
                  <a:cubicBezTo>
                    <a:pt x="138" y="20"/>
                    <a:pt x="138" y="20"/>
                    <a:pt x="138" y="20"/>
                  </a:cubicBezTo>
                  <a:cubicBezTo>
                    <a:pt x="138" y="0"/>
                    <a:pt x="138" y="0"/>
                    <a:pt x="138" y="0"/>
                  </a:cubicBezTo>
                  <a:close/>
                  <a:moveTo>
                    <a:pt x="154" y="480"/>
                  </a:moveTo>
                  <a:cubicBezTo>
                    <a:pt x="138" y="480"/>
                    <a:pt x="138" y="480"/>
                    <a:pt x="138" y="480"/>
                  </a:cubicBezTo>
                  <a:cubicBezTo>
                    <a:pt x="138" y="458"/>
                    <a:pt x="138" y="458"/>
                    <a:pt x="138" y="458"/>
                  </a:cubicBezTo>
                  <a:cubicBezTo>
                    <a:pt x="154" y="458"/>
                    <a:pt x="154" y="458"/>
                    <a:pt x="154" y="458"/>
                  </a:cubicBezTo>
                  <a:cubicBezTo>
                    <a:pt x="154" y="480"/>
                    <a:pt x="154" y="480"/>
                    <a:pt x="154" y="480"/>
                  </a:cubicBezTo>
                  <a:close/>
                  <a:moveTo>
                    <a:pt x="154" y="55"/>
                  </a:moveTo>
                  <a:cubicBezTo>
                    <a:pt x="154" y="70"/>
                    <a:pt x="154" y="70"/>
                    <a:pt x="154" y="70"/>
                  </a:cubicBezTo>
                  <a:cubicBezTo>
                    <a:pt x="147" y="70"/>
                    <a:pt x="147" y="70"/>
                    <a:pt x="147" y="70"/>
                  </a:cubicBezTo>
                  <a:cubicBezTo>
                    <a:pt x="147" y="82"/>
                    <a:pt x="147" y="94"/>
                    <a:pt x="147" y="105"/>
                  </a:cubicBezTo>
                  <a:cubicBezTo>
                    <a:pt x="154" y="105"/>
                    <a:pt x="154" y="105"/>
                    <a:pt x="154" y="105"/>
                  </a:cubicBezTo>
                  <a:cubicBezTo>
                    <a:pt x="154" y="121"/>
                    <a:pt x="154" y="121"/>
                    <a:pt x="154" y="121"/>
                  </a:cubicBezTo>
                  <a:cubicBezTo>
                    <a:pt x="138" y="121"/>
                    <a:pt x="138" y="121"/>
                    <a:pt x="138" y="121"/>
                  </a:cubicBezTo>
                  <a:cubicBezTo>
                    <a:pt x="138" y="55"/>
                    <a:pt x="138" y="55"/>
                    <a:pt x="138" y="55"/>
                  </a:cubicBezTo>
                  <a:cubicBezTo>
                    <a:pt x="154" y="55"/>
                    <a:pt x="154" y="55"/>
                    <a:pt x="154" y="55"/>
                  </a:cubicBezTo>
                  <a:close/>
                  <a:moveTo>
                    <a:pt x="154" y="156"/>
                  </a:moveTo>
                  <a:cubicBezTo>
                    <a:pt x="154" y="171"/>
                    <a:pt x="154" y="171"/>
                    <a:pt x="154" y="171"/>
                  </a:cubicBezTo>
                  <a:cubicBezTo>
                    <a:pt x="147" y="171"/>
                    <a:pt x="147" y="171"/>
                    <a:pt x="147" y="171"/>
                  </a:cubicBezTo>
                  <a:cubicBezTo>
                    <a:pt x="147" y="183"/>
                    <a:pt x="147" y="194"/>
                    <a:pt x="147" y="206"/>
                  </a:cubicBezTo>
                  <a:cubicBezTo>
                    <a:pt x="154" y="206"/>
                    <a:pt x="154" y="206"/>
                    <a:pt x="154" y="206"/>
                  </a:cubicBezTo>
                  <a:cubicBezTo>
                    <a:pt x="154" y="221"/>
                    <a:pt x="154" y="221"/>
                    <a:pt x="154" y="221"/>
                  </a:cubicBezTo>
                  <a:cubicBezTo>
                    <a:pt x="138" y="221"/>
                    <a:pt x="138" y="221"/>
                    <a:pt x="138" y="221"/>
                  </a:cubicBezTo>
                  <a:cubicBezTo>
                    <a:pt x="138" y="156"/>
                    <a:pt x="138" y="156"/>
                    <a:pt x="138" y="156"/>
                  </a:cubicBezTo>
                  <a:cubicBezTo>
                    <a:pt x="154" y="156"/>
                    <a:pt x="154" y="156"/>
                    <a:pt x="154" y="156"/>
                  </a:cubicBezTo>
                  <a:close/>
                  <a:moveTo>
                    <a:pt x="154" y="256"/>
                  </a:moveTo>
                  <a:cubicBezTo>
                    <a:pt x="154" y="272"/>
                    <a:pt x="154" y="272"/>
                    <a:pt x="154" y="272"/>
                  </a:cubicBezTo>
                  <a:cubicBezTo>
                    <a:pt x="147" y="272"/>
                    <a:pt x="147" y="272"/>
                    <a:pt x="147" y="272"/>
                  </a:cubicBezTo>
                  <a:cubicBezTo>
                    <a:pt x="147" y="283"/>
                    <a:pt x="147" y="295"/>
                    <a:pt x="147" y="307"/>
                  </a:cubicBezTo>
                  <a:cubicBezTo>
                    <a:pt x="154" y="307"/>
                    <a:pt x="154" y="307"/>
                    <a:pt x="154" y="307"/>
                  </a:cubicBezTo>
                  <a:cubicBezTo>
                    <a:pt x="154" y="322"/>
                    <a:pt x="154" y="322"/>
                    <a:pt x="154" y="322"/>
                  </a:cubicBezTo>
                  <a:cubicBezTo>
                    <a:pt x="138" y="322"/>
                    <a:pt x="138" y="322"/>
                    <a:pt x="138" y="322"/>
                  </a:cubicBezTo>
                  <a:cubicBezTo>
                    <a:pt x="138" y="256"/>
                    <a:pt x="138" y="256"/>
                    <a:pt x="138" y="256"/>
                  </a:cubicBezTo>
                  <a:cubicBezTo>
                    <a:pt x="154" y="256"/>
                    <a:pt x="154" y="256"/>
                    <a:pt x="154" y="256"/>
                  </a:cubicBezTo>
                  <a:close/>
                  <a:moveTo>
                    <a:pt x="154" y="357"/>
                  </a:moveTo>
                  <a:cubicBezTo>
                    <a:pt x="154" y="372"/>
                    <a:pt x="154" y="372"/>
                    <a:pt x="154" y="372"/>
                  </a:cubicBezTo>
                  <a:cubicBezTo>
                    <a:pt x="147" y="372"/>
                    <a:pt x="147" y="372"/>
                    <a:pt x="147" y="372"/>
                  </a:cubicBezTo>
                  <a:cubicBezTo>
                    <a:pt x="147" y="384"/>
                    <a:pt x="147" y="396"/>
                    <a:pt x="147" y="407"/>
                  </a:cubicBezTo>
                  <a:cubicBezTo>
                    <a:pt x="154" y="407"/>
                    <a:pt x="154" y="407"/>
                    <a:pt x="154" y="407"/>
                  </a:cubicBezTo>
                  <a:cubicBezTo>
                    <a:pt x="154" y="423"/>
                    <a:pt x="154" y="423"/>
                    <a:pt x="154" y="423"/>
                  </a:cubicBezTo>
                  <a:cubicBezTo>
                    <a:pt x="138" y="423"/>
                    <a:pt x="138" y="423"/>
                    <a:pt x="138" y="423"/>
                  </a:cubicBezTo>
                  <a:cubicBezTo>
                    <a:pt x="138" y="357"/>
                    <a:pt x="138" y="357"/>
                    <a:pt x="138" y="357"/>
                  </a:cubicBezTo>
                  <a:lnTo>
                    <a:pt x="154" y="357"/>
                  </a:lnTo>
                  <a:close/>
                  <a:moveTo>
                    <a:pt x="122" y="0"/>
                  </a:moveTo>
                  <a:cubicBezTo>
                    <a:pt x="138" y="0"/>
                    <a:pt x="138" y="0"/>
                    <a:pt x="138" y="0"/>
                  </a:cubicBezTo>
                  <a:cubicBezTo>
                    <a:pt x="138" y="20"/>
                    <a:pt x="138" y="20"/>
                    <a:pt x="138" y="20"/>
                  </a:cubicBezTo>
                  <a:cubicBezTo>
                    <a:pt x="130" y="20"/>
                    <a:pt x="130" y="20"/>
                    <a:pt x="130"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2" y="20"/>
                    <a:pt x="122" y="20"/>
                    <a:pt x="122" y="20"/>
                  </a:cubicBezTo>
                  <a:cubicBezTo>
                    <a:pt x="122" y="20"/>
                    <a:pt x="122" y="20"/>
                    <a:pt x="122" y="20"/>
                  </a:cubicBezTo>
                  <a:cubicBezTo>
                    <a:pt x="122" y="0"/>
                    <a:pt x="122" y="0"/>
                    <a:pt x="122" y="0"/>
                  </a:cubicBezTo>
                  <a:close/>
                  <a:moveTo>
                    <a:pt x="138" y="480"/>
                  </a:moveTo>
                  <a:cubicBezTo>
                    <a:pt x="122" y="480"/>
                    <a:pt x="122" y="480"/>
                    <a:pt x="122" y="480"/>
                  </a:cubicBezTo>
                  <a:cubicBezTo>
                    <a:pt x="122" y="458"/>
                    <a:pt x="122" y="458"/>
                    <a:pt x="122" y="458"/>
                  </a:cubicBezTo>
                  <a:cubicBezTo>
                    <a:pt x="130" y="458"/>
                    <a:pt x="130" y="458"/>
                    <a:pt x="130" y="458"/>
                  </a:cubicBezTo>
                  <a:cubicBezTo>
                    <a:pt x="138" y="458"/>
                    <a:pt x="138" y="458"/>
                    <a:pt x="138" y="458"/>
                  </a:cubicBezTo>
                  <a:cubicBezTo>
                    <a:pt x="138" y="480"/>
                    <a:pt x="138" y="480"/>
                    <a:pt x="138" y="480"/>
                  </a:cubicBezTo>
                  <a:close/>
                  <a:moveTo>
                    <a:pt x="138" y="55"/>
                  </a:moveTo>
                  <a:cubicBezTo>
                    <a:pt x="138" y="121"/>
                    <a:pt x="138" y="121"/>
                    <a:pt x="138" y="121"/>
                  </a:cubicBezTo>
                  <a:cubicBezTo>
                    <a:pt x="130" y="121"/>
                    <a:pt x="130" y="121"/>
                    <a:pt x="130"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2" y="121"/>
                    <a:pt x="122" y="121"/>
                    <a:pt x="122" y="121"/>
                  </a:cubicBezTo>
                  <a:cubicBezTo>
                    <a:pt x="122" y="105"/>
                    <a:pt x="122" y="105"/>
                    <a:pt x="122" y="105"/>
                  </a:cubicBezTo>
                  <a:cubicBezTo>
                    <a:pt x="130" y="105"/>
                    <a:pt x="130" y="105"/>
                    <a:pt x="130" y="105"/>
                  </a:cubicBezTo>
                  <a:cubicBezTo>
                    <a:pt x="130" y="94"/>
                    <a:pt x="130" y="82"/>
                    <a:pt x="130" y="70"/>
                  </a:cubicBezTo>
                  <a:cubicBezTo>
                    <a:pt x="122" y="70"/>
                    <a:pt x="122" y="70"/>
                    <a:pt x="122" y="70"/>
                  </a:cubicBezTo>
                  <a:cubicBezTo>
                    <a:pt x="122" y="55"/>
                    <a:pt x="122" y="55"/>
                    <a:pt x="122" y="55"/>
                  </a:cubicBezTo>
                  <a:cubicBezTo>
                    <a:pt x="122" y="55"/>
                    <a:pt x="122" y="55"/>
                    <a:pt x="122"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30" y="55"/>
                    <a:pt x="130" y="55"/>
                    <a:pt x="130" y="55"/>
                  </a:cubicBezTo>
                  <a:cubicBezTo>
                    <a:pt x="138" y="55"/>
                    <a:pt x="138" y="55"/>
                    <a:pt x="138" y="55"/>
                  </a:cubicBezTo>
                  <a:close/>
                  <a:moveTo>
                    <a:pt x="138" y="156"/>
                  </a:moveTo>
                  <a:cubicBezTo>
                    <a:pt x="138" y="221"/>
                    <a:pt x="138" y="221"/>
                    <a:pt x="138" y="221"/>
                  </a:cubicBezTo>
                  <a:cubicBezTo>
                    <a:pt x="130" y="221"/>
                    <a:pt x="130" y="221"/>
                    <a:pt x="130"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2" y="221"/>
                    <a:pt x="122" y="221"/>
                    <a:pt x="122" y="221"/>
                  </a:cubicBezTo>
                  <a:cubicBezTo>
                    <a:pt x="122" y="221"/>
                    <a:pt x="122" y="221"/>
                    <a:pt x="122" y="221"/>
                  </a:cubicBezTo>
                  <a:cubicBezTo>
                    <a:pt x="122" y="206"/>
                    <a:pt x="122" y="206"/>
                    <a:pt x="122"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4" y="206"/>
                    <a:pt x="124" y="206"/>
                    <a:pt x="124" y="206"/>
                  </a:cubicBezTo>
                  <a:cubicBezTo>
                    <a:pt x="124" y="206"/>
                    <a:pt x="124" y="206"/>
                    <a:pt x="124" y="206"/>
                  </a:cubicBezTo>
                  <a:cubicBezTo>
                    <a:pt x="124" y="206"/>
                    <a:pt x="124" y="206"/>
                    <a:pt x="124" y="206"/>
                  </a:cubicBezTo>
                  <a:cubicBezTo>
                    <a:pt x="124" y="206"/>
                    <a:pt x="124" y="206"/>
                    <a:pt x="124"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6" y="206"/>
                    <a:pt x="126" y="206"/>
                    <a:pt x="126" y="206"/>
                  </a:cubicBezTo>
                  <a:cubicBezTo>
                    <a:pt x="126" y="206"/>
                    <a:pt x="126" y="206"/>
                    <a:pt x="126" y="206"/>
                  </a:cubicBezTo>
                  <a:cubicBezTo>
                    <a:pt x="126" y="206"/>
                    <a:pt x="126" y="206"/>
                    <a:pt x="126" y="206"/>
                  </a:cubicBezTo>
                  <a:cubicBezTo>
                    <a:pt x="126" y="206"/>
                    <a:pt x="126" y="206"/>
                    <a:pt x="126" y="206"/>
                  </a:cubicBezTo>
                  <a:cubicBezTo>
                    <a:pt x="127" y="206"/>
                    <a:pt x="127" y="206"/>
                    <a:pt x="127" y="206"/>
                  </a:cubicBezTo>
                  <a:cubicBezTo>
                    <a:pt x="127" y="206"/>
                    <a:pt x="127" y="206"/>
                    <a:pt x="127" y="206"/>
                  </a:cubicBezTo>
                  <a:cubicBezTo>
                    <a:pt x="127" y="206"/>
                    <a:pt x="127" y="206"/>
                    <a:pt x="127" y="206"/>
                  </a:cubicBezTo>
                  <a:cubicBezTo>
                    <a:pt x="127" y="206"/>
                    <a:pt x="127" y="206"/>
                    <a:pt x="127"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9" y="206"/>
                    <a:pt x="129" y="206"/>
                    <a:pt x="129" y="206"/>
                  </a:cubicBezTo>
                  <a:cubicBezTo>
                    <a:pt x="129" y="206"/>
                    <a:pt x="129" y="206"/>
                    <a:pt x="129" y="206"/>
                  </a:cubicBezTo>
                  <a:cubicBezTo>
                    <a:pt x="129" y="206"/>
                    <a:pt x="129" y="206"/>
                    <a:pt x="129" y="206"/>
                  </a:cubicBezTo>
                  <a:cubicBezTo>
                    <a:pt x="129" y="206"/>
                    <a:pt x="129" y="206"/>
                    <a:pt x="129" y="206"/>
                  </a:cubicBezTo>
                  <a:cubicBezTo>
                    <a:pt x="130" y="206"/>
                    <a:pt x="130" y="206"/>
                    <a:pt x="130" y="206"/>
                  </a:cubicBezTo>
                  <a:cubicBezTo>
                    <a:pt x="130" y="194"/>
                    <a:pt x="130" y="183"/>
                    <a:pt x="130" y="171"/>
                  </a:cubicBezTo>
                  <a:cubicBezTo>
                    <a:pt x="129" y="171"/>
                    <a:pt x="129" y="171"/>
                    <a:pt x="129" y="171"/>
                  </a:cubicBezTo>
                  <a:cubicBezTo>
                    <a:pt x="129" y="171"/>
                    <a:pt x="129" y="171"/>
                    <a:pt x="129" y="171"/>
                  </a:cubicBezTo>
                  <a:cubicBezTo>
                    <a:pt x="129" y="171"/>
                    <a:pt x="129" y="171"/>
                    <a:pt x="129" y="171"/>
                  </a:cubicBezTo>
                  <a:cubicBezTo>
                    <a:pt x="129" y="171"/>
                    <a:pt x="129" y="171"/>
                    <a:pt x="129"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7" y="171"/>
                    <a:pt x="127" y="171"/>
                    <a:pt x="127" y="171"/>
                  </a:cubicBezTo>
                  <a:cubicBezTo>
                    <a:pt x="127" y="171"/>
                    <a:pt x="127" y="171"/>
                    <a:pt x="127" y="171"/>
                  </a:cubicBezTo>
                  <a:cubicBezTo>
                    <a:pt x="127" y="171"/>
                    <a:pt x="127" y="171"/>
                    <a:pt x="127" y="171"/>
                  </a:cubicBezTo>
                  <a:cubicBezTo>
                    <a:pt x="127" y="171"/>
                    <a:pt x="127" y="171"/>
                    <a:pt x="127" y="171"/>
                  </a:cubicBezTo>
                  <a:cubicBezTo>
                    <a:pt x="126" y="171"/>
                    <a:pt x="126" y="171"/>
                    <a:pt x="126" y="171"/>
                  </a:cubicBezTo>
                  <a:cubicBezTo>
                    <a:pt x="126" y="171"/>
                    <a:pt x="126" y="171"/>
                    <a:pt x="126" y="171"/>
                  </a:cubicBezTo>
                  <a:cubicBezTo>
                    <a:pt x="126" y="171"/>
                    <a:pt x="126" y="171"/>
                    <a:pt x="126" y="171"/>
                  </a:cubicBezTo>
                  <a:cubicBezTo>
                    <a:pt x="126" y="171"/>
                    <a:pt x="126" y="171"/>
                    <a:pt x="126"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4" y="171"/>
                    <a:pt x="124" y="171"/>
                    <a:pt x="124" y="171"/>
                  </a:cubicBezTo>
                  <a:cubicBezTo>
                    <a:pt x="124" y="171"/>
                    <a:pt x="124" y="171"/>
                    <a:pt x="124" y="171"/>
                  </a:cubicBezTo>
                  <a:cubicBezTo>
                    <a:pt x="124" y="171"/>
                    <a:pt x="124" y="171"/>
                    <a:pt x="124" y="171"/>
                  </a:cubicBezTo>
                  <a:cubicBezTo>
                    <a:pt x="124" y="171"/>
                    <a:pt x="124" y="171"/>
                    <a:pt x="124"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2" y="171"/>
                    <a:pt x="122" y="171"/>
                    <a:pt x="122" y="171"/>
                  </a:cubicBezTo>
                  <a:cubicBezTo>
                    <a:pt x="122" y="156"/>
                    <a:pt x="122" y="156"/>
                    <a:pt x="122"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30" y="156"/>
                    <a:pt x="130" y="156"/>
                    <a:pt x="130" y="156"/>
                  </a:cubicBezTo>
                  <a:cubicBezTo>
                    <a:pt x="138" y="156"/>
                    <a:pt x="138" y="156"/>
                    <a:pt x="138" y="156"/>
                  </a:cubicBezTo>
                  <a:close/>
                  <a:moveTo>
                    <a:pt x="138" y="256"/>
                  </a:moveTo>
                  <a:cubicBezTo>
                    <a:pt x="138" y="322"/>
                    <a:pt x="138" y="322"/>
                    <a:pt x="138" y="322"/>
                  </a:cubicBezTo>
                  <a:cubicBezTo>
                    <a:pt x="130" y="322"/>
                    <a:pt x="130" y="322"/>
                    <a:pt x="130"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2" y="322"/>
                    <a:pt x="122" y="322"/>
                    <a:pt x="122" y="322"/>
                  </a:cubicBezTo>
                  <a:cubicBezTo>
                    <a:pt x="122" y="307"/>
                    <a:pt x="122" y="307"/>
                    <a:pt x="122" y="307"/>
                  </a:cubicBezTo>
                  <a:cubicBezTo>
                    <a:pt x="130" y="307"/>
                    <a:pt x="130" y="307"/>
                    <a:pt x="130" y="307"/>
                  </a:cubicBezTo>
                  <a:cubicBezTo>
                    <a:pt x="130" y="295"/>
                    <a:pt x="130" y="283"/>
                    <a:pt x="130" y="272"/>
                  </a:cubicBezTo>
                  <a:cubicBezTo>
                    <a:pt x="122" y="272"/>
                    <a:pt x="122" y="272"/>
                    <a:pt x="122" y="272"/>
                  </a:cubicBezTo>
                  <a:cubicBezTo>
                    <a:pt x="122" y="256"/>
                    <a:pt x="122" y="256"/>
                    <a:pt x="122" y="256"/>
                  </a:cubicBezTo>
                  <a:cubicBezTo>
                    <a:pt x="122" y="256"/>
                    <a:pt x="122" y="256"/>
                    <a:pt x="122"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30" y="256"/>
                    <a:pt x="130" y="256"/>
                    <a:pt x="130" y="256"/>
                  </a:cubicBezTo>
                  <a:cubicBezTo>
                    <a:pt x="138" y="256"/>
                    <a:pt x="138" y="256"/>
                    <a:pt x="138" y="256"/>
                  </a:cubicBezTo>
                  <a:close/>
                  <a:moveTo>
                    <a:pt x="138" y="357"/>
                  </a:moveTo>
                  <a:cubicBezTo>
                    <a:pt x="138" y="423"/>
                    <a:pt x="138" y="423"/>
                    <a:pt x="138" y="423"/>
                  </a:cubicBezTo>
                  <a:cubicBezTo>
                    <a:pt x="130" y="423"/>
                    <a:pt x="130" y="423"/>
                    <a:pt x="130" y="423"/>
                  </a:cubicBezTo>
                  <a:cubicBezTo>
                    <a:pt x="122" y="423"/>
                    <a:pt x="122" y="423"/>
                    <a:pt x="122" y="423"/>
                  </a:cubicBezTo>
                  <a:cubicBezTo>
                    <a:pt x="122" y="407"/>
                    <a:pt x="122" y="407"/>
                    <a:pt x="122" y="407"/>
                  </a:cubicBezTo>
                  <a:cubicBezTo>
                    <a:pt x="130" y="407"/>
                    <a:pt x="130" y="407"/>
                    <a:pt x="130" y="407"/>
                  </a:cubicBezTo>
                  <a:cubicBezTo>
                    <a:pt x="130" y="396"/>
                    <a:pt x="130" y="384"/>
                    <a:pt x="130" y="372"/>
                  </a:cubicBezTo>
                  <a:cubicBezTo>
                    <a:pt x="122" y="372"/>
                    <a:pt x="122" y="372"/>
                    <a:pt x="122" y="372"/>
                  </a:cubicBezTo>
                  <a:cubicBezTo>
                    <a:pt x="122" y="357"/>
                    <a:pt x="122" y="357"/>
                    <a:pt x="122"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30" y="357"/>
                    <a:pt x="130" y="357"/>
                    <a:pt x="130" y="357"/>
                  </a:cubicBezTo>
                  <a:lnTo>
                    <a:pt x="138" y="357"/>
                  </a:lnTo>
                  <a:close/>
                  <a:moveTo>
                    <a:pt x="107" y="0"/>
                  </a:moveTo>
                  <a:cubicBezTo>
                    <a:pt x="122" y="0"/>
                    <a:pt x="122" y="0"/>
                    <a:pt x="122" y="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5" y="20"/>
                    <a:pt x="115" y="20"/>
                    <a:pt x="115" y="20"/>
                  </a:cubicBezTo>
                  <a:cubicBezTo>
                    <a:pt x="115" y="20"/>
                    <a:pt x="115" y="20"/>
                    <a:pt x="115" y="20"/>
                  </a:cubicBezTo>
                  <a:cubicBezTo>
                    <a:pt x="107" y="20"/>
                    <a:pt x="107" y="20"/>
                    <a:pt x="107" y="20"/>
                  </a:cubicBezTo>
                  <a:cubicBezTo>
                    <a:pt x="107" y="0"/>
                    <a:pt x="107" y="0"/>
                    <a:pt x="107" y="0"/>
                  </a:cubicBezTo>
                  <a:close/>
                  <a:moveTo>
                    <a:pt x="122" y="480"/>
                  </a:moveTo>
                  <a:cubicBezTo>
                    <a:pt x="107" y="480"/>
                    <a:pt x="107" y="480"/>
                    <a:pt x="107" y="480"/>
                  </a:cubicBezTo>
                  <a:cubicBezTo>
                    <a:pt x="107" y="458"/>
                    <a:pt x="107" y="458"/>
                    <a:pt x="107" y="458"/>
                  </a:cubicBezTo>
                  <a:cubicBezTo>
                    <a:pt x="115" y="458"/>
                    <a:pt x="115" y="458"/>
                    <a:pt x="115" y="458"/>
                  </a:cubicBezTo>
                  <a:cubicBezTo>
                    <a:pt x="122" y="458"/>
                    <a:pt x="122" y="458"/>
                    <a:pt x="122" y="458"/>
                  </a:cubicBezTo>
                  <a:cubicBezTo>
                    <a:pt x="122" y="480"/>
                    <a:pt x="122" y="480"/>
                    <a:pt x="122" y="480"/>
                  </a:cubicBezTo>
                  <a:close/>
                  <a:moveTo>
                    <a:pt x="122" y="55"/>
                  </a:moveTo>
                  <a:cubicBezTo>
                    <a:pt x="122" y="70"/>
                    <a:pt x="122" y="70"/>
                    <a:pt x="122" y="70"/>
                  </a:cubicBezTo>
                  <a:cubicBezTo>
                    <a:pt x="107" y="70"/>
                    <a:pt x="107" y="70"/>
                    <a:pt x="107" y="70"/>
                  </a:cubicBezTo>
                  <a:cubicBezTo>
                    <a:pt x="107" y="55"/>
                    <a:pt x="107" y="55"/>
                    <a:pt x="107" y="55"/>
                  </a:cubicBezTo>
                  <a:cubicBezTo>
                    <a:pt x="115" y="55"/>
                    <a:pt x="115" y="55"/>
                    <a:pt x="115" y="55"/>
                  </a:cubicBezTo>
                  <a:cubicBezTo>
                    <a:pt x="115" y="55"/>
                    <a:pt x="115" y="55"/>
                    <a:pt x="115"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2" y="55"/>
                    <a:pt x="122" y="55"/>
                    <a:pt x="122" y="55"/>
                  </a:cubicBezTo>
                  <a:cubicBezTo>
                    <a:pt x="122" y="55"/>
                    <a:pt x="122" y="55"/>
                    <a:pt x="122" y="55"/>
                  </a:cubicBezTo>
                  <a:cubicBezTo>
                    <a:pt x="122" y="55"/>
                    <a:pt x="122" y="55"/>
                    <a:pt x="122" y="55"/>
                  </a:cubicBezTo>
                  <a:cubicBezTo>
                    <a:pt x="122" y="55"/>
                    <a:pt x="122" y="55"/>
                    <a:pt x="122" y="55"/>
                  </a:cubicBezTo>
                  <a:cubicBezTo>
                    <a:pt x="122" y="55"/>
                    <a:pt x="122" y="55"/>
                    <a:pt x="122" y="55"/>
                  </a:cubicBezTo>
                  <a:close/>
                  <a:moveTo>
                    <a:pt x="122" y="105"/>
                  </a:move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5" y="121"/>
                    <a:pt x="115" y="121"/>
                    <a:pt x="115" y="121"/>
                  </a:cubicBezTo>
                  <a:cubicBezTo>
                    <a:pt x="115" y="121"/>
                    <a:pt x="115" y="121"/>
                    <a:pt x="115" y="121"/>
                  </a:cubicBezTo>
                  <a:cubicBezTo>
                    <a:pt x="115" y="132"/>
                    <a:pt x="115" y="144"/>
                    <a:pt x="115" y="156"/>
                  </a:cubicBezTo>
                  <a:cubicBezTo>
                    <a:pt x="115" y="156"/>
                    <a:pt x="115" y="156"/>
                    <a:pt x="115"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0" y="171"/>
                    <a:pt x="120" y="171"/>
                    <a:pt x="120" y="171"/>
                  </a:cubicBezTo>
                  <a:cubicBezTo>
                    <a:pt x="120" y="171"/>
                    <a:pt x="120" y="171"/>
                    <a:pt x="120" y="171"/>
                  </a:cubicBezTo>
                  <a:cubicBezTo>
                    <a:pt x="120" y="171"/>
                    <a:pt x="120" y="171"/>
                    <a:pt x="120" y="171"/>
                  </a:cubicBezTo>
                  <a:cubicBezTo>
                    <a:pt x="120" y="171"/>
                    <a:pt x="120" y="171"/>
                    <a:pt x="120"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8" y="171"/>
                    <a:pt x="118" y="171"/>
                    <a:pt x="118" y="171"/>
                  </a:cubicBezTo>
                  <a:cubicBezTo>
                    <a:pt x="118" y="171"/>
                    <a:pt x="118" y="171"/>
                    <a:pt x="118" y="171"/>
                  </a:cubicBezTo>
                  <a:cubicBezTo>
                    <a:pt x="118" y="171"/>
                    <a:pt x="118" y="171"/>
                    <a:pt x="118" y="171"/>
                  </a:cubicBezTo>
                  <a:cubicBezTo>
                    <a:pt x="118" y="171"/>
                    <a:pt x="118" y="171"/>
                    <a:pt x="118"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6" y="171"/>
                    <a:pt x="116" y="171"/>
                    <a:pt x="116" y="171"/>
                  </a:cubicBezTo>
                  <a:cubicBezTo>
                    <a:pt x="116" y="171"/>
                    <a:pt x="116" y="171"/>
                    <a:pt x="116" y="171"/>
                  </a:cubicBezTo>
                  <a:cubicBezTo>
                    <a:pt x="116" y="171"/>
                    <a:pt x="116" y="171"/>
                    <a:pt x="116" y="171"/>
                  </a:cubicBezTo>
                  <a:cubicBezTo>
                    <a:pt x="116" y="171"/>
                    <a:pt x="116" y="171"/>
                    <a:pt x="116" y="171"/>
                  </a:cubicBezTo>
                  <a:cubicBezTo>
                    <a:pt x="115" y="171"/>
                    <a:pt x="115" y="171"/>
                    <a:pt x="115" y="171"/>
                  </a:cubicBezTo>
                  <a:cubicBezTo>
                    <a:pt x="115" y="171"/>
                    <a:pt x="115" y="171"/>
                    <a:pt x="115" y="171"/>
                  </a:cubicBezTo>
                  <a:cubicBezTo>
                    <a:pt x="107" y="171"/>
                    <a:pt x="107" y="171"/>
                    <a:pt x="107" y="171"/>
                  </a:cubicBezTo>
                  <a:cubicBezTo>
                    <a:pt x="107" y="105"/>
                    <a:pt x="107" y="105"/>
                    <a:pt x="107" y="105"/>
                  </a:cubicBezTo>
                  <a:cubicBezTo>
                    <a:pt x="122" y="105"/>
                    <a:pt x="122" y="105"/>
                    <a:pt x="122" y="105"/>
                  </a:cubicBezTo>
                  <a:close/>
                  <a:moveTo>
                    <a:pt x="122" y="206"/>
                  </a:move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5" y="221"/>
                    <a:pt x="115" y="221"/>
                    <a:pt x="115" y="221"/>
                  </a:cubicBezTo>
                  <a:cubicBezTo>
                    <a:pt x="115" y="221"/>
                    <a:pt x="115" y="221"/>
                    <a:pt x="115" y="221"/>
                  </a:cubicBezTo>
                  <a:cubicBezTo>
                    <a:pt x="107" y="221"/>
                    <a:pt x="107" y="221"/>
                    <a:pt x="107" y="221"/>
                  </a:cubicBezTo>
                  <a:cubicBezTo>
                    <a:pt x="107" y="206"/>
                    <a:pt x="107" y="206"/>
                    <a:pt x="107" y="206"/>
                  </a:cubicBezTo>
                  <a:cubicBezTo>
                    <a:pt x="115" y="206"/>
                    <a:pt x="115" y="206"/>
                    <a:pt x="115" y="206"/>
                  </a:cubicBezTo>
                  <a:cubicBezTo>
                    <a:pt x="115" y="206"/>
                    <a:pt x="115" y="206"/>
                    <a:pt x="115" y="206"/>
                  </a:cubicBezTo>
                  <a:cubicBezTo>
                    <a:pt x="116" y="206"/>
                    <a:pt x="116" y="206"/>
                    <a:pt x="116" y="206"/>
                  </a:cubicBezTo>
                  <a:cubicBezTo>
                    <a:pt x="116" y="206"/>
                    <a:pt x="116" y="206"/>
                    <a:pt x="116" y="206"/>
                  </a:cubicBezTo>
                  <a:cubicBezTo>
                    <a:pt x="116" y="206"/>
                    <a:pt x="116" y="206"/>
                    <a:pt x="116" y="206"/>
                  </a:cubicBezTo>
                  <a:cubicBezTo>
                    <a:pt x="116" y="206"/>
                    <a:pt x="116" y="206"/>
                    <a:pt x="116"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8" y="206"/>
                    <a:pt x="118" y="206"/>
                    <a:pt x="118" y="206"/>
                  </a:cubicBezTo>
                  <a:cubicBezTo>
                    <a:pt x="118" y="206"/>
                    <a:pt x="118" y="206"/>
                    <a:pt x="118" y="206"/>
                  </a:cubicBezTo>
                  <a:cubicBezTo>
                    <a:pt x="118" y="206"/>
                    <a:pt x="118" y="206"/>
                    <a:pt x="118" y="206"/>
                  </a:cubicBezTo>
                  <a:cubicBezTo>
                    <a:pt x="118" y="206"/>
                    <a:pt x="118" y="206"/>
                    <a:pt x="118"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20" y="206"/>
                    <a:pt x="120" y="206"/>
                    <a:pt x="120" y="206"/>
                  </a:cubicBezTo>
                  <a:cubicBezTo>
                    <a:pt x="120" y="206"/>
                    <a:pt x="120" y="206"/>
                    <a:pt x="120" y="206"/>
                  </a:cubicBezTo>
                  <a:cubicBezTo>
                    <a:pt x="120" y="206"/>
                    <a:pt x="120" y="206"/>
                    <a:pt x="120" y="206"/>
                  </a:cubicBezTo>
                  <a:cubicBezTo>
                    <a:pt x="120" y="206"/>
                    <a:pt x="120" y="206"/>
                    <a:pt x="120"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lose/>
                  <a:moveTo>
                    <a:pt x="122" y="256"/>
                  </a:moveTo>
                  <a:cubicBezTo>
                    <a:pt x="122" y="272"/>
                    <a:pt x="122" y="272"/>
                    <a:pt x="122" y="272"/>
                  </a:cubicBezTo>
                  <a:cubicBezTo>
                    <a:pt x="107" y="272"/>
                    <a:pt x="107" y="272"/>
                    <a:pt x="107" y="272"/>
                  </a:cubicBezTo>
                  <a:cubicBezTo>
                    <a:pt x="107" y="256"/>
                    <a:pt x="107" y="256"/>
                    <a:pt x="107" y="256"/>
                  </a:cubicBezTo>
                  <a:cubicBezTo>
                    <a:pt x="115" y="256"/>
                    <a:pt x="115" y="256"/>
                    <a:pt x="115" y="256"/>
                  </a:cubicBezTo>
                  <a:cubicBezTo>
                    <a:pt x="115" y="256"/>
                    <a:pt x="115" y="256"/>
                    <a:pt x="115"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lose/>
                  <a:moveTo>
                    <a:pt x="122" y="307"/>
                  </a:move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5" y="322"/>
                    <a:pt x="115" y="322"/>
                    <a:pt x="115" y="322"/>
                  </a:cubicBezTo>
                  <a:cubicBezTo>
                    <a:pt x="115" y="322"/>
                    <a:pt x="115" y="322"/>
                    <a:pt x="115" y="322"/>
                  </a:cubicBezTo>
                  <a:cubicBezTo>
                    <a:pt x="115" y="334"/>
                    <a:pt x="115" y="345"/>
                    <a:pt x="115" y="357"/>
                  </a:cubicBezTo>
                  <a:cubicBezTo>
                    <a:pt x="115" y="357"/>
                    <a:pt x="115" y="357"/>
                    <a:pt x="115"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72"/>
                    <a:pt x="122" y="372"/>
                    <a:pt x="122" y="372"/>
                  </a:cubicBezTo>
                  <a:cubicBezTo>
                    <a:pt x="115" y="372"/>
                    <a:pt x="115" y="372"/>
                    <a:pt x="115" y="372"/>
                  </a:cubicBezTo>
                  <a:cubicBezTo>
                    <a:pt x="115" y="384"/>
                    <a:pt x="115" y="396"/>
                    <a:pt x="115" y="407"/>
                  </a:cubicBezTo>
                  <a:cubicBezTo>
                    <a:pt x="122" y="407"/>
                    <a:pt x="122" y="407"/>
                    <a:pt x="122" y="407"/>
                  </a:cubicBezTo>
                  <a:cubicBezTo>
                    <a:pt x="122" y="423"/>
                    <a:pt x="122" y="423"/>
                    <a:pt x="122" y="423"/>
                  </a:cubicBezTo>
                  <a:cubicBezTo>
                    <a:pt x="115" y="423"/>
                    <a:pt x="115" y="423"/>
                    <a:pt x="115" y="423"/>
                  </a:cubicBezTo>
                  <a:cubicBezTo>
                    <a:pt x="107" y="423"/>
                    <a:pt x="107" y="423"/>
                    <a:pt x="107" y="423"/>
                  </a:cubicBezTo>
                  <a:cubicBezTo>
                    <a:pt x="107" y="307"/>
                    <a:pt x="107" y="307"/>
                    <a:pt x="107" y="307"/>
                  </a:cubicBezTo>
                  <a:lnTo>
                    <a:pt x="122" y="307"/>
                  </a:lnTo>
                  <a:close/>
                  <a:moveTo>
                    <a:pt x="90" y="0"/>
                  </a:moveTo>
                  <a:cubicBezTo>
                    <a:pt x="107" y="0"/>
                    <a:pt x="107" y="0"/>
                    <a:pt x="107" y="0"/>
                  </a:cubicBezTo>
                  <a:cubicBezTo>
                    <a:pt x="107" y="20"/>
                    <a:pt x="107" y="20"/>
                    <a:pt x="107" y="20"/>
                  </a:cubicBezTo>
                  <a:cubicBezTo>
                    <a:pt x="98" y="20"/>
                    <a:pt x="98" y="20"/>
                    <a:pt x="98"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6" y="20"/>
                    <a:pt x="96" y="20"/>
                    <a:pt x="96" y="20"/>
                  </a:cubicBezTo>
                  <a:cubicBezTo>
                    <a:pt x="96" y="20"/>
                    <a:pt x="96" y="20"/>
                    <a:pt x="96" y="20"/>
                  </a:cubicBezTo>
                  <a:cubicBezTo>
                    <a:pt x="96" y="20"/>
                    <a:pt x="96" y="20"/>
                    <a:pt x="96" y="20"/>
                  </a:cubicBezTo>
                  <a:cubicBezTo>
                    <a:pt x="96" y="20"/>
                    <a:pt x="96" y="20"/>
                    <a:pt x="96" y="20"/>
                  </a:cubicBezTo>
                  <a:cubicBezTo>
                    <a:pt x="96" y="20"/>
                    <a:pt x="96" y="20"/>
                    <a:pt x="96" y="20"/>
                  </a:cubicBezTo>
                  <a:cubicBezTo>
                    <a:pt x="95" y="20"/>
                    <a:pt x="95" y="20"/>
                    <a:pt x="95" y="20"/>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3" y="20"/>
                    <a:pt x="93" y="20"/>
                  </a:cubicBezTo>
                  <a:cubicBezTo>
                    <a:pt x="93" y="20"/>
                    <a:pt x="93" y="20"/>
                    <a:pt x="93" y="20"/>
                  </a:cubicBezTo>
                  <a:cubicBezTo>
                    <a:pt x="93" y="20"/>
                    <a:pt x="93" y="20"/>
                    <a:pt x="93"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0" y="20"/>
                    <a:pt x="90" y="20"/>
                    <a:pt x="90" y="20"/>
                  </a:cubicBezTo>
                  <a:cubicBezTo>
                    <a:pt x="90" y="0"/>
                    <a:pt x="90" y="0"/>
                    <a:pt x="90" y="0"/>
                  </a:cubicBezTo>
                  <a:close/>
                  <a:moveTo>
                    <a:pt x="107" y="480"/>
                  </a:moveTo>
                  <a:cubicBezTo>
                    <a:pt x="90" y="480"/>
                    <a:pt x="90" y="480"/>
                    <a:pt x="90" y="480"/>
                  </a:cubicBezTo>
                  <a:cubicBezTo>
                    <a:pt x="90" y="458"/>
                    <a:pt x="90" y="458"/>
                    <a:pt x="90" y="458"/>
                  </a:cubicBezTo>
                  <a:cubicBezTo>
                    <a:pt x="98" y="458"/>
                    <a:pt x="98" y="458"/>
                    <a:pt x="98" y="458"/>
                  </a:cubicBezTo>
                  <a:cubicBezTo>
                    <a:pt x="107" y="458"/>
                    <a:pt x="107" y="458"/>
                    <a:pt x="107" y="458"/>
                  </a:cubicBezTo>
                  <a:cubicBezTo>
                    <a:pt x="107" y="480"/>
                    <a:pt x="107" y="480"/>
                    <a:pt x="107" y="480"/>
                  </a:cubicBezTo>
                  <a:close/>
                  <a:moveTo>
                    <a:pt x="107" y="55"/>
                  </a:moveTo>
                  <a:cubicBezTo>
                    <a:pt x="107" y="70"/>
                    <a:pt x="107" y="70"/>
                    <a:pt x="107" y="70"/>
                  </a:cubicBezTo>
                  <a:cubicBezTo>
                    <a:pt x="98" y="70"/>
                    <a:pt x="98" y="70"/>
                    <a:pt x="98"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6" y="70"/>
                    <a:pt x="96" y="70"/>
                    <a:pt x="96" y="70"/>
                  </a:cubicBezTo>
                  <a:cubicBezTo>
                    <a:pt x="96" y="70"/>
                    <a:pt x="96" y="70"/>
                    <a:pt x="96" y="70"/>
                  </a:cubicBezTo>
                  <a:cubicBezTo>
                    <a:pt x="96" y="70"/>
                    <a:pt x="96" y="70"/>
                    <a:pt x="96" y="70"/>
                  </a:cubicBezTo>
                  <a:cubicBezTo>
                    <a:pt x="96" y="70"/>
                    <a:pt x="96" y="70"/>
                    <a:pt x="96" y="70"/>
                  </a:cubicBezTo>
                  <a:cubicBezTo>
                    <a:pt x="95" y="70"/>
                    <a:pt x="95" y="70"/>
                    <a:pt x="95" y="70"/>
                  </a:cubicBezTo>
                  <a:cubicBezTo>
                    <a:pt x="95" y="70"/>
                    <a:pt x="95" y="70"/>
                    <a:pt x="95" y="70"/>
                  </a:cubicBezTo>
                  <a:cubicBezTo>
                    <a:pt x="95" y="70"/>
                    <a:pt x="95" y="70"/>
                    <a:pt x="95" y="70"/>
                  </a:cubicBezTo>
                  <a:cubicBezTo>
                    <a:pt x="95" y="70"/>
                    <a:pt x="95" y="70"/>
                    <a:pt x="95" y="70"/>
                  </a:cubicBezTo>
                  <a:cubicBezTo>
                    <a:pt x="95" y="70"/>
                    <a:pt x="95" y="70"/>
                    <a:pt x="95"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3" y="70"/>
                    <a:pt x="93" y="70"/>
                    <a:pt x="93" y="70"/>
                  </a:cubicBezTo>
                  <a:cubicBezTo>
                    <a:pt x="93" y="70"/>
                    <a:pt x="93" y="70"/>
                    <a:pt x="93" y="70"/>
                  </a:cubicBezTo>
                  <a:cubicBezTo>
                    <a:pt x="93" y="70"/>
                    <a:pt x="93" y="70"/>
                    <a:pt x="93" y="70"/>
                  </a:cubicBezTo>
                  <a:cubicBezTo>
                    <a:pt x="93" y="70"/>
                    <a:pt x="93" y="70"/>
                    <a:pt x="93" y="70"/>
                  </a:cubicBezTo>
                  <a:cubicBezTo>
                    <a:pt x="93" y="70"/>
                    <a:pt x="93" y="70"/>
                    <a:pt x="93"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1" y="70"/>
                    <a:pt x="91" y="70"/>
                    <a:pt x="91" y="70"/>
                  </a:cubicBezTo>
                  <a:cubicBezTo>
                    <a:pt x="91" y="70"/>
                    <a:pt x="91" y="70"/>
                    <a:pt x="91" y="70"/>
                  </a:cubicBezTo>
                  <a:cubicBezTo>
                    <a:pt x="91" y="70"/>
                    <a:pt x="91" y="70"/>
                    <a:pt x="91" y="70"/>
                  </a:cubicBezTo>
                  <a:cubicBezTo>
                    <a:pt x="91" y="70"/>
                    <a:pt x="91" y="70"/>
                    <a:pt x="91" y="70"/>
                  </a:cubicBezTo>
                  <a:cubicBezTo>
                    <a:pt x="91" y="70"/>
                    <a:pt x="91" y="70"/>
                    <a:pt x="91" y="70"/>
                  </a:cubicBezTo>
                  <a:cubicBezTo>
                    <a:pt x="90" y="70"/>
                    <a:pt x="90" y="70"/>
                    <a:pt x="90" y="70"/>
                  </a:cubicBezTo>
                  <a:cubicBezTo>
                    <a:pt x="90" y="55"/>
                    <a:pt x="90" y="55"/>
                    <a:pt x="90" y="55"/>
                  </a:cubicBezTo>
                  <a:cubicBezTo>
                    <a:pt x="91" y="55"/>
                    <a:pt x="91" y="55"/>
                    <a:pt x="91" y="55"/>
                  </a:cubicBezTo>
                  <a:cubicBezTo>
                    <a:pt x="91" y="55"/>
                    <a:pt x="91" y="55"/>
                    <a:pt x="91" y="55"/>
                  </a:cubicBezTo>
                  <a:cubicBezTo>
                    <a:pt x="91" y="55"/>
                    <a:pt x="91" y="55"/>
                    <a:pt x="91" y="55"/>
                  </a:cubicBezTo>
                  <a:cubicBezTo>
                    <a:pt x="91" y="55"/>
                    <a:pt x="91" y="55"/>
                    <a:pt x="91" y="55"/>
                  </a:cubicBezTo>
                  <a:cubicBezTo>
                    <a:pt x="91" y="55"/>
                    <a:pt x="91" y="55"/>
                    <a:pt x="91"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3" y="55"/>
                    <a:pt x="93" y="55"/>
                    <a:pt x="93" y="55"/>
                  </a:cubicBezTo>
                  <a:cubicBezTo>
                    <a:pt x="93" y="55"/>
                    <a:pt x="93" y="55"/>
                    <a:pt x="93" y="55"/>
                  </a:cubicBezTo>
                  <a:cubicBezTo>
                    <a:pt x="93" y="55"/>
                    <a:pt x="93" y="55"/>
                    <a:pt x="93" y="55"/>
                  </a:cubicBezTo>
                  <a:cubicBezTo>
                    <a:pt x="93" y="55"/>
                    <a:pt x="93" y="55"/>
                    <a:pt x="93" y="55"/>
                  </a:cubicBezTo>
                  <a:cubicBezTo>
                    <a:pt x="93" y="55"/>
                    <a:pt x="93" y="55"/>
                    <a:pt x="93"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5" y="55"/>
                    <a:pt x="95" y="55"/>
                    <a:pt x="95" y="55"/>
                  </a:cubicBezTo>
                  <a:cubicBezTo>
                    <a:pt x="95" y="55"/>
                    <a:pt x="95" y="55"/>
                    <a:pt x="95" y="55"/>
                  </a:cubicBezTo>
                  <a:cubicBezTo>
                    <a:pt x="95" y="55"/>
                    <a:pt x="95" y="55"/>
                    <a:pt x="95" y="55"/>
                  </a:cubicBezTo>
                  <a:cubicBezTo>
                    <a:pt x="95" y="55"/>
                    <a:pt x="95" y="55"/>
                    <a:pt x="95" y="55"/>
                  </a:cubicBezTo>
                  <a:cubicBezTo>
                    <a:pt x="96" y="55"/>
                    <a:pt x="96" y="55"/>
                    <a:pt x="96" y="55"/>
                  </a:cubicBezTo>
                  <a:cubicBezTo>
                    <a:pt x="96" y="55"/>
                    <a:pt x="96" y="55"/>
                    <a:pt x="96" y="55"/>
                  </a:cubicBezTo>
                  <a:cubicBezTo>
                    <a:pt x="96" y="55"/>
                    <a:pt x="96" y="55"/>
                    <a:pt x="96" y="55"/>
                  </a:cubicBezTo>
                  <a:cubicBezTo>
                    <a:pt x="96" y="55"/>
                    <a:pt x="96" y="55"/>
                    <a:pt x="96" y="55"/>
                  </a:cubicBezTo>
                  <a:cubicBezTo>
                    <a:pt x="96" y="55"/>
                    <a:pt x="96" y="55"/>
                    <a:pt x="96"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8" y="55"/>
                    <a:pt x="98" y="55"/>
                    <a:pt x="98" y="55"/>
                  </a:cubicBezTo>
                  <a:cubicBezTo>
                    <a:pt x="107" y="55"/>
                    <a:pt x="107" y="55"/>
                    <a:pt x="107" y="55"/>
                  </a:cubicBezTo>
                  <a:close/>
                  <a:moveTo>
                    <a:pt x="107" y="105"/>
                  </a:moveTo>
                  <a:cubicBezTo>
                    <a:pt x="107" y="171"/>
                    <a:pt x="107" y="171"/>
                    <a:pt x="107" y="171"/>
                  </a:cubicBezTo>
                  <a:cubicBezTo>
                    <a:pt x="98" y="171"/>
                    <a:pt x="98" y="171"/>
                    <a:pt x="98" y="171"/>
                  </a:cubicBezTo>
                  <a:cubicBezTo>
                    <a:pt x="90" y="171"/>
                    <a:pt x="90" y="171"/>
                    <a:pt x="90" y="171"/>
                  </a:cubicBezTo>
                  <a:cubicBezTo>
                    <a:pt x="90" y="156"/>
                    <a:pt x="90" y="156"/>
                    <a:pt x="90" y="156"/>
                  </a:cubicBezTo>
                  <a:cubicBezTo>
                    <a:pt x="98" y="156"/>
                    <a:pt x="98" y="156"/>
                    <a:pt x="98" y="156"/>
                  </a:cubicBezTo>
                  <a:cubicBezTo>
                    <a:pt x="98" y="144"/>
                    <a:pt x="98" y="132"/>
                    <a:pt x="98" y="121"/>
                  </a:cubicBezTo>
                  <a:cubicBezTo>
                    <a:pt x="90" y="121"/>
                    <a:pt x="90" y="121"/>
                    <a:pt x="90" y="121"/>
                  </a:cubicBezTo>
                  <a:cubicBezTo>
                    <a:pt x="90" y="105"/>
                    <a:pt x="90" y="105"/>
                    <a:pt x="90"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6" y="105"/>
                    <a:pt x="96" y="105"/>
                    <a:pt x="96" y="105"/>
                  </a:cubicBezTo>
                  <a:cubicBezTo>
                    <a:pt x="96" y="105"/>
                    <a:pt x="96" y="105"/>
                    <a:pt x="96" y="105"/>
                  </a:cubicBezTo>
                  <a:cubicBezTo>
                    <a:pt x="96" y="105"/>
                    <a:pt x="96" y="105"/>
                    <a:pt x="96" y="105"/>
                  </a:cubicBezTo>
                  <a:cubicBezTo>
                    <a:pt x="96" y="105"/>
                    <a:pt x="96" y="105"/>
                    <a:pt x="96"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8" y="105"/>
                    <a:pt x="98" y="105"/>
                    <a:pt x="98" y="105"/>
                  </a:cubicBezTo>
                  <a:cubicBezTo>
                    <a:pt x="107" y="105"/>
                    <a:pt x="107" y="105"/>
                    <a:pt x="107" y="105"/>
                  </a:cubicBezTo>
                  <a:close/>
                  <a:moveTo>
                    <a:pt x="107" y="206"/>
                  </a:moveTo>
                  <a:cubicBezTo>
                    <a:pt x="107" y="221"/>
                    <a:pt x="107" y="221"/>
                    <a:pt x="107" y="221"/>
                  </a:cubicBezTo>
                  <a:cubicBezTo>
                    <a:pt x="98" y="221"/>
                    <a:pt x="98" y="221"/>
                    <a:pt x="98"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5" y="221"/>
                    <a:pt x="95" y="221"/>
                    <a:pt x="95" y="221"/>
                  </a:cubicBezTo>
                  <a:cubicBezTo>
                    <a:pt x="95" y="221"/>
                    <a:pt x="95" y="221"/>
                    <a:pt x="95" y="221"/>
                  </a:cubicBezTo>
                  <a:cubicBezTo>
                    <a:pt x="95" y="221"/>
                    <a:pt x="95" y="221"/>
                    <a:pt x="95" y="221"/>
                  </a:cubicBezTo>
                  <a:cubicBezTo>
                    <a:pt x="95" y="221"/>
                    <a:pt x="95" y="221"/>
                    <a:pt x="95"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0" y="221"/>
                    <a:pt x="90" y="221"/>
                    <a:pt x="90" y="221"/>
                  </a:cubicBezTo>
                  <a:cubicBezTo>
                    <a:pt x="90" y="206"/>
                    <a:pt x="90" y="206"/>
                    <a:pt x="90" y="206"/>
                  </a:cubicBezTo>
                  <a:cubicBezTo>
                    <a:pt x="98" y="206"/>
                    <a:pt x="98" y="206"/>
                    <a:pt x="98" y="206"/>
                  </a:cubicBezTo>
                  <a:cubicBezTo>
                    <a:pt x="107" y="206"/>
                    <a:pt x="107" y="206"/>
                    <a:pt x="107" y="206"/>
                  </a:cubicBezTo>
                  <a:close/>
                  <a:moveTo>
                    <a:pt x="107" y="256"/>
                  </a:moveTo>
                  <a:cubicBezTo>
                    <a:pt x="107" y="272"/>
                    <a:pt x="107" y="272"/>
                    <a:pt x="107" y="272"/>
                  </a:cubicBezTo>
                  <a:cubicBezTo>
                    <a:pt x="98" y="272"/>
                    <a:pt x="98" y="272"/>
                    <a:pt x="98"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6" y="272"/>
                    <a:pt x="96" y="272"/>
                    <a:pt x="96" y="272"/>
                  </a:cubicBezTo>
                  <a:cubicBezTo>
                    <a:pt x="96" y="272"/>
                    <a:pt x="96" y="272"/>
                    <a:pt x="96" y="272"/>
                  </a:cubicBezTo>
                  <a:cubicBezTo>
                    <a:pt x="96" y="272"/>
                    <a:pt x="96" y="272"/>
                    <a:pt x="96" y="272"/>
                  </a:cubicBezTo>
                  <a:cubicBezTo>
                    <a:pt x="96" y="272"/>
                    <a:pt x="96" y="272"/>
                    <a:pt x="96"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0" y="272"/>
                    <a:pt x="90" y="272"/>
                    <a:pt x="90" y="272"/>
                  </a:cubicBezTo>
                  <a:cubicBezTo>
                    <a:pt x="90" y="256"/>
                    <a:pt x="90" y="256"/>
                    <a:pt x="90"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5" y="256"/>
                    <a:pt x="95" y="256"/>
                    <a:pt x="95" y="256"/>
                  </a:cubicBezTo>
                  <a:cubicBezTo>
                    <a:pt x="95" y="256"/>
                    <a:pt x="95" y="256"/>
                    <a:pt x="95" y="256"/>
                  </a:cubicBezTo>
                  <a:cubicBezTo>
                    <a:pt x="95" y="256"/>
                    <a:pt x="95" y="256"/>
                    <a:pt x="95" y="256"/>
                  </a:cubicBezTo>
                  <a:cubicBezTo>
                    <a:pt x="95" y="256"/>
                    <a:pt x="95" y="256"/>
                    <a:pt x="95"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8" y="256"/>
                    <a:pt x="98" y="256"/>
                    <a:pt x="98" y="256"/>
                  </a:cubicBezTo>
                  <a:cubicBezTo>
                    <a:pt x="107" y="256"/>
                    <a:pt x="107" y="256"/>
                    <a:pt x="107" y="256"/>
                  </a:cubicBezTo>
                  <a:close/>
                  <a:moveTo>
                    <a:pt x="107" y="307"/>
                  </a:moveTo>
                  <a:cubicBezTo>
                    <a:pt x="107" y="423"/>
                    <a:pt x="107" y="423"/>
                    <a:pt x="107" y="423"/>
                  </a:cubicBezTo>
                  <a:cubicBezTo>
                    <a:pt x="98" y="423"/>
                    <a:pt x="98" y="423"/>
                    <a:pt x="98" y="423"/>
                  </a:cubicBezTo>
                  <a:cubicBezTo>
                    <a:pt x="90" y="423"/>
                    <a:pt x="90" y="423"/>
                    <a:pt x="90" y="423"/>
                  </a:cubicBezTo>
                  <a:cubicBezTo>
                    <a:pt x="90" y="407"/>
                    <a:pt x="90" y="407"/>
                    <a:pt x="90" y="407"/>
                  </a:cubicBezTo>
                  <a:cubicBezTo>
                    <a:pt x="91" y="407"/>
                    <a:pt x="91" y="407"/>
                    <a:pt x="91" y="407"/>
                  </a:cubicBezTo>
                  <a:cubicBezTo>
                    <a:pt x="91" y="407"/>
                    <a:pt x="91" y="407"/>
                    <a:pt x="91" y="407"/>
                  </a:cubicBezTo>
                  <a:cubicBezTo>
                    <a:pt x="91" y="407"/>
                    <a:pt x="91" y="407"/>
                    <a:pt x="91" y="407"/>
                  </a:cubicBezTo>
                  <a:cubicBezTo>
                    <a:pt x="91" y="407"/>
                    <a:pt x="91" y="407"/>
                    <a:pt x="91"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3" y="407"/>
                    <a:pt x="93" y="407"/>
                    <a:pt x="93" y="407"/>
                  </a:cubicBezTo>
                  <a:cubicBezTo>
                    <a:pt x="93" y="407"/>
                    <a:pt x="93" y="407"/>
                    <a:pt x="93" y="407"/>
                  </a:cubicBezTo>
                  <a:cubicBezTo>
                    <a:pt x="93" y="407"/>
                    <a:pt x="93" y="407"/>
                    <a:pt x="93" y="407"/>
                  </a:cubicBezTo>
                  <a:cubicBezTo>
                    <a:pt x="93" y="407"/>
                    <a:pt x="93" y="407"/>
                    <a:pt x="93"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5" y="407"/>
                    <a:pt x="95" y="407"/>
                    <a:pt x="95" y="407"/>
                  </a:cubicBezTo>
                  <a:cubicBezTo>
                    <a:pt x="95" y="407"/>
                    <a:pt x="95" y="407"/>
                    <a:pt x="95" y="407"/>
                  </a:cubicBezTo>
                  <a:cubicBezTo>
                    <a:pt x="95" y="407"/>
                    <a:pt x="95" y="407"/>
                    <a:pt x="95" y="407"/>
                  </a:cubicBezTo>
                  <a:cubicBezTo>
                    <a:pt x="95" y="407"/>
                    <a:pt x="95" y="407"/>
                    <a:pt x="95" y="407"/>
                  </a:cubicBezTo>
                  <a:cubicBezTo>
                    <a:pt x="96" y="407"/>
                    <a:pt x="96" y="407"/>
                    <a:pt x="96" y="407"/>
                  </a:cubicBezTo>
                  <a:cubicBezTo>
                    <a:pt x="96" y="407"/>
                    <a:pt x="96" y="407"/>
                    <a:pt x="96" y="407"/>
                  </a:cubicBezTo>
                  <a:cubicBezTo>
                    <a:pt x="96" y="407"/>
                    <a:pt x="96" y="407"/>
                    <a:pt x="96" y="407"/>
                  </a:cubicBezTo>
                  <a:cubicBezTo>
                    <a:pt x="96" y="407"/>
                    <a:pt x="96" y="407"/>
                    <a:pt x="96"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8" y="407"/>
                    <a:pt x="98" y="407"/>
                    <a:pt x="98" y="407"/>
                  </a:cubicBezTo>
                  <a:cubicBezTo>
                    <a:pt x="98" y="396"/>
                    <a:pt x="98" y="384"/>
                    <a:pt x="98"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6" y="372"/>
                    <a:pt x="96" y="372"/>
                    <a:pt x="96" y="372"/>
                  </a:cubicBezTo>
                  <a:cubicBezTo>
                    <a:pt x="96" y="372"/>
                    <a:pt x="96" y="372"/>
                    <a:pt x="96" y="372"/>
                  </a:cubicBezTo>
                  <a:cubicBezTo>
                    <a:pt x="96" y="372"/>
                    <a:pt x="96" y="372"/>
                    <a:pt x="96" y="372"/>
                  </a:cubicBezTo>
                  <a:cubicBezTo>
                    <a:pt x="96" y="372"/>
                    <a:pt x="96" y="372"/>
                    <a:pt x="96" y="372"/>
                  </a:cubicBezTo>
                  <a:cubicBezTo>
                    <a:pt x="95" y="372"/>
                    <a:pt x="95" y="372"/>
                    <a:pt x="95" y="372"/>
                  </a:cubicBezTo>
                  <a:cubicBezTo>
                    <a:pt x="95" y="372"/>
                    <a:pt x="95" y="372"/>
                    <a:pt x="95" y="372"/>
                  </a:cubicBezTo>
                  <a:cubicBezTo>
                    <a:pt x="95" y="372"/>
                    <a:pt x="95" y="372"/>
                    <a:pt x="95" y="372"/>
                  </a:cubicBezTo>
                  <a:cubicBezTo>
                    <a:pt x="95" y="372"/>
                    <a:pt x="95" y="372"/>
                    <a:pt x="95"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3" y="372"/>
                    <a:pt x="93" y="372"/>
                    <a:pt x="93" y="372"/>
                  </a:cubicBezTo>
                  <a:cubicBezTo>
                    <a:pt x="93" y="372"/>
                    <a:pt x="93" y="372"/>
                    <a:pt x="93" y="372"/>
                  </a:cubicBezTo>
                  <a:cubicBezTo>
                    <a:pt x="93" y="372"/>
                    <a:pt x="93" y="372"/>
                    <a:pt x="93" y="372"/>
                  </a:cubicBezTo>
                  <a:cubicBezTo>
                    <a:pt x="93" y="372"/>
                    <a:pt x="93" y="372"/>
                    <a:pt x="93"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1" y="372"/>
                    <a:pt x="91" y="372"/>
                    <a:pt x="91" y="372"/>
                  </a:cubicBezTo>
                  <a:cubicBezTo>
                    <a:pt x="91" y="372"/>
                    <a:pt x="91" y="372"/>
                    <a:pt x="91" y="372"/>
                  </a:cubicBezTo>
                  <a:cubicBezTo>
                    <a:pt x="91" y="372"/>
                    <a:pt x="91" y="372"/>
                    <a:pt x="91" y="372"/>
                  </a:cubicBezTo>
                  <a:cubicBezTo>
                    <a:pt x="91" y="372"/>
                    <a:pt x="91" y="372"/>
                    <a:pt x="91" y="372"/>
                  </a:cubicBezTo>
                  <a:cubicBezTo>
                    <a:pt x="90" y="372"/>
                    <a:pt x="90" y="372"/>
                    <a:pt x="90" y="372"/>
                  </a:cubicBezTo>
                  <a:cubicBezTo>
                    <a:pt x="90" y="357"/>
                    <a:pt x="90" y="357"/>
                    <a:pt x="90" y="357"/>
                  </a:cubicBezTo>
                  <a:cubicBezTo>
                    <a:pt x="98" y="357"/>
                    <a:pt x="98" y="357"/>
                    <a:pt x="98" y="357"/>
                  </a:cubicBezTo>
                  <a:cubicBezTo>
                    <a:pt x="98" y="345"/>
                    <a:pt x="98" y="334"/>
                    <a:pt x="98" y="322"/>
                  </a:cubicBezTo>
                  <a:cubicBezTo>
                    <a:pt x="90" y="322"/>
                    <a:pt x="90" y="322"/>
                    <a:pt x="90" y="322"/>
                  </a:cubicBezTo>
                  <a:cubicBezTo>
                    <a:pt x="90" y="307"/>
                    <a:pt x="90" y="307"/>
                    <a:pt x="90"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6" y="307"/>
                    <a:pt x="96" y="307"/>
                    <a:pt x="96" y="307"/>
                  </a:cubicBezTo>
                  <a:cubicBezTo>
                    <a:pt x="96" y="307"/>
                    <a:pt x="96" y="307"/>
                    <a:pt x="96" y="307"/>
                  </a:cubicBezTo>
                  <a:cubicBezTo>
                    <a:pt x="96" y="307"/>
                    <a:pt x="96" y="307"/>
                    <a:pt x="96" y="307"/>
                  </a:cubicBezTo>
                  <a:cubicBezTo>
                    <a:pt x="96" y="307"/>
                    <a:pt x="96" y="307"/>
                    <a:pt x="96"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8" y="307"/>
                    <a:pt x="98" y="307"/>
                    <a:pt x="98" y="307"/>
                  </a:cubicBezTo>
                  <a:lnTo>
                    <a:pt x="107" y="307"/>
                  </a:lnTo>
                  <a:close/>
                  <a:moveTo>
                    <a:pt x="59" y="0"/>
                  </a:moveTo>
                  <a:cubicBezTo>
                    <a:pt x="90" y="0"/>
                    <a:pt x="90" y="0"/>
                    <a:pt x="90" y="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8" y="20"/>
                    <a:pt x="88" y="20"/>
                    <a:pt x="88" y="20"/>
                  </a:cubicBezTo>
                  <a:cubicBezTo>
                    <a:pt x="88" y="20"/>
                    <a:pt x="88" y="20"/>
                    <a:pt x="88" y="20"/>
                  </a:cubicBezTo>
                  <a:cubicBezTo>
                    <a:pt x="88" y="20"/>
                    <a:pt x="88" y="20"/>
                    <a:pt x="88" y="20"/>
                  </a:cubicBezTo>
                  <a:cubicBezTo>
                    <a:pt x="88" y="20"/>
                    <a:pt x="88" y="20"/>
                    <a:pt x="88" y="20"/>
                  </a:cubicBezTo>
                  <a:cubicBezTo>
                    <a:pt x="88" y="20"/>
                    <a:pt x="88" y="20"/>
                    <a:pt x="88"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6" y="20"/>
                    <a:pt x="86" y="20"/>
                    <a:pt x="86" y="20"/>
                  </a:cubicBezTo>
                  <a:cubicBezTo>
                    <a:pt x="86" y="20"/>
                    <a:pt x="86" y="20"/>
                    <a:pt x="86" y="20"/>
                  </a:cubicBezTo>
                  <a:cubicBezTo>
                    <a:pt x="86" y="20"/>
                    <a:pt x="86" y="20"/>
                    <a:pt x="86" y="20"/>
                  </a:cubicBezTo>
                  <a:cubicBezTo>
                    <a:pt x="86" y="20"/>
                    <a:pt x="86" y="20"/>
                    <a:pt x="86" y="20"/>
                  </a:cubicBezTo>
                  <a:cubicBezTo>
                    <a:pt x="86" y="20"/>
                    <a:pt x="86" y="20"/>
                    <a:pt x="86" y="20"/>
                  </a:cubicBezTo>
                  <a:cubicBezTo>
                    <a:pt x="85" y="20"/>
                    <a:pt x="85" y="20"/>
                    <a:pt x="85" y="20"/>
                  </a:cubicBezTo>
                  <a:cubicBezTo>
                    <a:pt x="85" y="20"/>
                    <a:pt x="85" y="20"/>
                    <a:pt x="85" y="20"/>
                  </a:cubicBezTo>
                  <a:cubicBezTo>
                    <a:pt x="85" y="20"/>
                    <a:pt x="85" y="20"/>
                    <a:pt x="85" y="20"/>
                  </a:cubicBezTo>
                  <a:cubicBezTo>
                    <a:pt x="85" y="20"/>
                    <a:pt x="85" y="20"/>
                    <a:pt x="85" y="20"/>
                  </a:cubicBezTo>
                  <a:cubicBezTo>
                    <a:pt x="85" y="20"/>
                    <a:pt x="85" y="20"/>
                    <a:pt x="85" y="20"/>
                  </a:cubicBezTo>
                  <a:cubicBezTo>
                    <a:pt x="84" y="20"/>
                    <a:pt x="84" y="20"/>
                    <a:pt x="84" y="20"/>
                  </a:cubicBezTo>
                  <a:cubicBezTo>
                    <a:pt x="84" y="20"/>
                    <a:pt x="84" y="20"/>
                    <a:pt x="84" y="20"/>
                  </a:cubicBezTo>
                  <a:cubicBezTo>
                    <a:pt x="84" y="20"/>
                    <a:pt x="84" y="20"/>
                    <a:pt x="84" y="20"/>
                  </a:cubicBezTo>
                  <a:cubicBezTo>
                    <a:pt x="84" y="20"/>
                    <a:pt x="84" y="20"/>
                    <a:pt x="84" y="20"/>
                  </a:cubicBezTo>
                  <a:cubicBezTo>
                    <a:pt x="84" y="20"/>
                    <a:pt x="84" y="20"/>
                    <a:pt x="84" y="20"/>
                  </a:cubicBezTo>
                  <a:cubicBezTo>
                    <a:pt x="83" y="20"/>
                    <a:pt x="83" y="20"/>
                    <a:pt x="83" y="20"/>
                  </a:cubicBezTo>
                  <a:cubicBezTo>
                    <a:pt x="83" y="20"/>
                    <a:pt x="83" y="20"/>
                    <a:pt x="83" y="20"/>
                  </a:cubicBezTo>
                  <a:cubicBezTo>
                    <a:pt x="83" y="32"/>
                    <a:pt x="83" y="43"/>
                    <a:pt x="83" y="55"/>
                  </a:cubicBezTo>
                  <a:cubicBezTo>
                    <a:pt x="83" y="55"/>
                    <a:pt x="83" y="55"/>
                    <a:pt x="83" y="55"/>
                  </a:cubicBezTo>
                  <a:cubicBezTo>
                    <a:pt x="84" y="55"/>
                    <a:pt x="84" y="55"/>
                    <a:pt x="84" y="55"/>
                  </a:cubicBezTo>
                  <a:cubicBezTo>
                    <a:pt x="84" y="55"/>
                    <a:pt x="84" y="55"/>
                    <a:pt x="84" y="55"/>
                  </a:cubicBezTo>
                  <a:cubicBezTo>
                    <a:pt x="84" y="55"/>
                    <a:pt x="84" y="55"/>
                    <a:pt x="84" y="55"/>
                  </a:cubicBezTo>
                  <a:cubicBezTo>
                    <a:pt x="84" y="55"/>
                    <a:pt x="84" y="55"/>
                    <a:pt x="84" y="55"/>
                  </a:cubicBezTo>
                  <a:cubicBezTo>
                    <a:pt x="84" y="55"/>
                    <a:pt x="84" y="55"/>
                    <a:pt x="84"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6" y="55"/>
                    <a:pt x="86" y="55"/>
                    <a:pt x="86" y="55"/>
                  </a:cubicBezTo>
                  <a:cubicBezTo>
                    <a:pt x="86" y="55"/>
                    <a:pt x="86" y="55"/>
                    <a:pt x="86" y="55"/>
                  </a:cubicBezTo>
                  <a:cubicBezTo>
                    <a:pt x="86" y="55"/>
                    <a:pt x="86" y="55"/>
                    <a:pt x="86" y="55"/>
                  </a:cubicBezTo>
                  <a:cubicBezTo>
                    <a:pt x="86" y="55"/>
                    <a:pt x="86" y="55"/>
                    <a:pt x="86" y="55"/>
                  </a:cubicBezTo>
                  <a:cubicBezTo>
                    <a:pt x="86" y="55"/>
                    <a:pt x="86" y="55"/>
                    <a:pt x="86"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8" y="55"/>
                    <a:pt x="88" y="55"/>
                    <a:pt x="88" y="55"/>
                  </a:cubicBezTo>
                  <a:cubicBezTo>
                    <a:pt x="88" y="55"/>
                    <a:pt x="88" y="55"/>
                    <a:pt x="88" y="55"/>
                  </a:cubicBezTo>
                  <a:cubicBezTo>
                    <a:pt x="88" y="55"/>
                    <a:pt x="88" y="55"/>
                    <a:pt x="88" y="55"/>
                  </a:cubicBezTo>
                  <a:cubicBezTo>
                    <a:pt x="88" y="55"/>
                    <a:pt x="88" y="55"/>
                    <a:pt x="88" y="55"/>
                  </a:cubicBezTo>
                  <a:cubicBezTo>
                    <a:pt x="88" y="55"/>
                    <a:pt x="88" y="55"/>
                    <a:pt x="88"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90" y="55"/>
                    <a:pt x="90" y="55"/>
                    <a:pt x="90" y="55"/>
                  </a:cubicBezTo>
                  <a:cubicBezTo>
                    <a:pt x="90" y="55"/>
                    <a:pt x="90" y="55"/>
                    <a:pt x="90" y="55"/>
                  </a:cubicBezTo>
                  <a:cubicBezTo>
                    <a:pt x="90" y="55"/>
                    <a:pt x="90" y="55"/>
                    <a:pt x="90" y="55"/>
                  </a:cubicBezTo>
                  <a:cubicBezTo>
                    <a:pt x="90" y="55"/>
                    <a:pt x="90" y="55"/>
                    <a:pt x="90" y="55"/>
                  </a:cubicBezTo>
                  <a:cubicBezTo>
                    <a:pt x="90" y="55"/>
                    <a:pt x="90" y="55"/>
                    <a:pt x="90" y="55"/>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8" y="70"/>
                    <a:pt x="88" y="70"/>
                    <a:pt x="88" y="70"/>
                  </a:cubicBezTo>
                  <a:cubicBezTo>
                    <a:pt x="88" y="70"/>
                    <a:pt x="88" y="70"/>
                    <a:pt x="88" y="70"/>
                  </a:cubicBezTo>
                  <a:cubicBezTo>
                    <a:pt x="88" y="70"/>
                    <a:pt x="88" y="70"/>
                    <a:pt x="88" y="70"/>
                  </a:cubicBezTo>
                  <a:cubicBezTo>
                    <a:pt x="88" y="70"/>
                    <a:pt x="88" y="70"/>
                    <a:pt x="88" y="70"/>
                  </a:cubicBezTo>
                  <a:cubicBezTo>
                    <a:pt x="88" y="70"/>
                    <a:pt x="88" y="70"/>
                    <a:pt x="88"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6" y="70"/>
                    <a:pt x="86" y="70"/>
                    <a:pt x="86" y="70"/>
                  </a:cubicBezTo>
                  <a:cubicBezTo>
                    <a:pt x="86" y="70"/>
                    <a:pt x="86" y="70"/>
                    <a:pt x="86" y="70"/>
                  </a:cubicBezTo>
                  <a:cubicBezTo>
                    <a:pt x="86" y="70"/>
                    <a:pt x="86" y="70"/>
                    <a:pt x="86" y="70"/>
                  </a:cubicBezTo>
                  <a:cubicBezTo>
                    <a:pt x="86" y="70"/>
                    <a:pt x="86" y="70"/>
                    <a:pt x="86" y="70"/>
                  </a:cubicBezTo>
                  <a:cubicBezTo>
                    <a:pt x="86" y="70"/>
                    <a:pt x="86" y="70"/>
                    <a:pt x="86" y="70"/>
                  </a:cubicBezTo>
                  <a:cubicBezTo>
                    <a:pt x="85" y="70"/>
                    <a:pt x="85" y="70"/>
                    <a:pt x="85" y="70"/>
                  </a:cubicBezTo>
                  <a:cubicBezTo>
                    <a:pt x="85" y="70"/>
                    <a:pt x="85" y="70"/>
                    <a:pt x="85" y="70"/>
                  </a:cubicBezTo>
                  <a:cubicBezTo>
                    <a:pt x="85" y="70"/>
                    <a:pt x="85" y="70"/>
                    <a:pt x="85" y="70"/>
                  </a:cubicBezTo>
                  <a:cubicBezTo>
                    <a:pt x="85" y="70"/>
                    <a:pt x="85" y="70"/>
                    <a:pt x="85" y="70"/>
                  </a:cubicBezTo>
                  <a:cubicBezTo>
                    <a:pt x="85" y="70"/>
                    <a:pt x="85" y="70"/>
                    <a:pt x="85" y="70"/>
                  </a:cubicBezTo>
                  <a:cubicBezTo>
                    <a:pt x="84" y="70"/>
                    <a:pt x="84" y="70"/>
                    <a:pt x="84" y="70"/>
                  </a:cubicBezTo>
                  <a:cubicBezTo>
                    <a:pt x="84" y="70"/>
                    <a:pt x="84" y="70"/>
                    <a:pt x="84" y="70"/>
                  </a:cubicBezTo>
                  <a:cubicBezTo>
                    <a:pt x="84" y="70"/>
                    <a:pt x="84" y="70"/>
                    <a:pt x="84" y="70"/>
                  </a:cubicBezTo>
                  <a:cubicBezTo>
                    <a:pt x="84" y="70"/>
                    <a:pt x="84" y="70"/>
                    <a:pt x="84" y="70"/>
                  </a:cubicBezTo>
                  <a:cubicBezTo>
                    <a:pt x="84" y="70"/>
                    <a:pt x="84" y="70"/>
                    <a:pt x="84" y="70"/>
                  </a:cubicBezTo>
                  <a:cubicBezTo>
                    <a:pt x="83" y="70"/>
                    <a:pt x="83" y="70"/>
                    <a:pt x="83" y="70"/>
                  </a:cubicBezTo>
                  <a:cubicBezTo>
                    <a:pt x="83" y="70"/>
                    <a:pt x="83" y="70"/>
                    <a:pt x="83" y="70"/>
                  </a:cubicBezTo>
                  <a:cubicBezTo>
                    <a:pt x="66" y="70"/>
                    <a:pt x="66" y="70"/>
                    <a:pt x="66" y="70"/>
                  </a:cubicBezTo>
                  <a:cubicBezTo>
                    <a:pt x="66" y="70"/>
                    <a:pt x="66" y="70"/>
                    <a:pt x="66"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4" y="70"/>
                    <a:pt x="64" y="70"/>
                    <a:pt x="64" y="70"/>
                  </a:cubicBezTo>
                  <a:cubicBezTo>
                    <a:pt x="64" y="70"/>
                    <a:pt x="64" y="70"/>
                    <a:pt x="64" y="70"/>
                  </a:cubicBezTo>
                  <a:cubicBezTo>
                    <a:pt x="64" y="70"/>
                    <a:pt x="64" y="70"/>
                    <a:pt x="64" y="70"/>
                  </a:cubicBezTo>
                  <a:cubicBezTo>
                    <a:pt x="64" y="70"/>
                    <a:pt x="64" y="70"/>
                    <a:pt x="64" y="70"/>
                  </a:cubicBezTo>
                  <a:cubicBezTo>
                    <a:pt x="64" y="70"/>
                    <a:pt x="64" y="70"/>
                    <a:pt x="64" y="70"/>
                  </a:cubicBezTo>
                  <a:cubicBezTo>
                    <a:pt x="63" y="70"/>
                    <a:pt x="63" y="70"/>
                    <a:pt x="63" y="70"/>
                  </a:cubicBezTo>
                  <a:cubicBezTo>
                    <a:pt x="63" y="70"/>
                    <a:pt x="63" y="70"/>
                    <a:pt x="63" y="70"/>
                  </a:cubicBezTo>
                  <a:cubicBezTo>
                    <a:pt x="63" y="70"/>
                    <a:pt x="63" y="70"/>
                    <a:pt x="63" y="70"/>
                  </a:cubicBezTo>
                  <a:cubicBezTo>
                    <a:pt x="63" y="70"/>
                    <a:pt x="63" y="70"/>
                    <a:pt x="63" y="70"/>
                  </a:cubicBezTo>
                  <a:cubicBezTo>
                    <a:pt x="63" y="70"/>
                    <a:pt x="63" y="70"/>
                    <a:pt x="63" y="70"/>
                  </a:cubicBezTo>
                  <a:cubicBezTo>
                    <a:pt x="62" y="70"/>
                    <a:pt x="62" y="70"/>
                    <a:pt x="62" y="70"/>
                  </a:cubicBezTo>
                  <a:cubicBezTo>
                    <a:pt x="62" y="70"/>
                    <a:pt x="62" y="70"/>
                    <a:pt x="62" y="70"/>
                  </a:cubicBezTo>
                  <a:cubicBezTo>
                    <a:pt x="62" y="70"/>
                    <a:pt x="62" y="70"/>
                    <a:pt x="62" y="70"/>
                  </a:cubicBezTo>
                  <a:cubicBezTo>
                    <a:pt x="62" y="70"/>
                    <a:pt x="62" y="70"/>
                    <a:pt x="62" y="70"/>
                  </a:cubicBezTo>
                  <a:cubicBezTo>
                    <a:pt x="62" y="70"/>
                    <a:pt x="62" y="70"/>
                    <a:pt x="62" y="70"/>
                  </a:cubicBezTo>
                  <a:cubicBezTo>
                    <a:pt x="61" y="70"/>
                    <a:pt x="61" y="70"/>
                    <a:pt x="61" y="70"/>
                  </a:cubicBezTo>
                  <a:cubicBezTo>
                    <a:pt x="61" y="70"/>
                    <a:pt x="61" y="70"/>
                    <a:pt x="61" y="70"/>
                  </a:cubicBezTo>
                  <a:cubicBezTo>
                    <a:pt x="61" y="70"/>
                    <a:pt x="61" y="70"/>
                    <a:pt x="61" y="70"/>
                  </a:cubicBezTo>
                  <a:cubicBezTo>
                    <a:pt x="61" y="70"/>
                    <a:pt x="61" y="70"/>
                    <a:pt x="61" y="70"/>
                  </a:cubicBezTo>
                  <a:cubicBezTo>
                    <a:pt x="61" y="70"/>
                    <a:pt x="61" y="70"/>
                    <a:pt x="61"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59" y="70"/>
                    <a:pt x="59" y="70"/>
                    <a:pt x="59" y="70"/>
                  </a:cubicBezTo>
                  <a:cubicBezTo>
                    <a:pt x="59" y="70"/>
                    <a:pt x="59" y="70"/>
                    <a:pt x="59" y="70"/>
                  </a:cubicBezTo>
                  <a:cubicBezTo>
                    <a:pt x="59" y="70"/>
                    <a:pt x="59" y="70"/>
                    <a:pt x="59" y="70"/>
                  </a:cubicBezTo>
                  <a:cubicBezTo>
                    <a:pt x="59" y="70"/>
                    <a:pt x="59" y="70"/>
                    <a:pt x="59" y="70"/>
                  </a:cubicBezTo>
                  <a:cubicBezTo>
                    <a:pt x="59" y="70"/>
                    <a:pt x="59" y="70"/>
                    <a:pt x="59" y="70"/>
                  </a:cubicBezTo>
                  <a:cubicBezTo>
                    <a:pt x="59" y="55"/>
                    <a:pt x="59" y="55"/>
                    <a:pt x="59" y="55"/>
                  </a:cubicBezTo>
                  <a:cubicBezTo>
                    <a:pt x="66" y="55"/>
                    <a:pt x="66" y="55"/>
                    <a:pt x="66" y="55"/>
                  </a:cubicBezTo>
                  <a:cubicBezTo>
                    <a:pt x="66" y="43"/>
                    <a:pt x="66" y="32"/>
                    <a:pt x="66" y="20"/>
                  </a:cubicBezTo>
                  <a:cubicBezTo>
                    <a:pt x="59" y="20"/>
                    <a:pt x="59" y="20"/>
                    <a:pt x="59" y="20"/>
                  </a:cubicBezTo>
                  <a:cubicBezTo>
                    <a:pt x="59" y="0"/>
                    <a:pt x="59" y="0"/>
                    <a:pt x="59" y="0"/>
                  </a:cubicBezTo>
                  <a:close/>
                  <a:moveTo>
                    <a:pt x="90" y="480"/>
                  </a:moveTo>
                  <a:cubicBezTo>
                    <a:pt x="59" y="480"/>
                    <a:pt x="59" y="480"/>
                    <a:pt x="59" y="480"/>
                  </a:cubicBezTo>
                  <a:cubicBezTo>
                    <a:pt x="59" y="458"/>
                    <a:pt x="59" y="458"/>
                    <a:pt x="59" y="458"/>
                  </a:cubicBezTo>
                  <a:cubicBezTo>
                    <a:pt x="59" y="458"/>
                    <a:pt x="59" y="458"/>
                    <a:pt x="59" y="458"/>
                  </a:cubicBezTo>
                  <a:cubicBezTo>
                    <a:pt x="59" y="458"/>
                    <a:pt x="59" y="458"/>
                    <a:pt x="59" y="458"/>
                  </a:cubicBezTo>
                  <a:cubicBezTo>
                    <a:pt x="59" y="458"/>
                    <a:pt x="59" y="458"/>
                    <a:pt x="59"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1" y="458"/>
                    <a:pt x="61" y="458"/>
                    <a:pt x="61" y="458"/>
                  </a:cubicBezTo>
                  <a:cubicBezTo>
                    <a:pt x="61" y="458"/>
                    <a:pt x="61" y="458"/>
                    <a:pt x="61" y="458"/>
                  </a:cubicBezTo>
                  <a:cubicBezTo>
                    <a:pt x="61" y="458"/>
                    <a:pt x="61" y="458"/>
                    <a:pt x="61" y="458"/>
                  </a:cubicBezTo>
                  <a:cubicBezTo>
                    <a:pt x="61" y="458"/>
                    <a:pt x="61" y="458"/>
                    <a:pt x="61"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6" y="458"/>
                    <a:pt x="66" y="458"/>
                    <a:pt x="66" y="458"/>
                  </a:cubicBezTo>
                  <a:cubicBezTo>
                    <a:pt x="66" y="458"/>
                    <a:pt x="66" y="458"/>
                    <a:pt x="66" y="458"/>
                  </a:cubicBezTo>
                  <a:cubicBezTo>
                    <a:pt x="83" y="458"/>
                    <a:pt x="83" y="458"/>
                    <a:pt x="83" y="458"/>
                  </a:cubicBezTo>
                  <a:cubicBezTo>
                    <a:pt x="90" y="458"/>
                    <a:pt x="90" y="458"/>
                    <a:pt x="90" y="458"/>
                  </a:cubicBezTo>
                  <a:cubicBezTo>
                    <a:pt x="90" y="480"/>
                    <a:pt x="90" y="480"/>
                    <a:pt x="90" y="480"/>
                  </a:cubicBezTo>
                  <a:close/>
                  <a:moveTo>
                    <a:pt x="90" y="105"/>
                  </a:moveTo>
                  <a:cubicBezTo>
                    <a:pt x="90" y="121"/>
                    <a:pt x="90" y="121"/>
                    <a:pt x="90" y="121"/>
                  </a:cubicBezTo>
                  <a:cubicBezTo>
                    <a:pt x="83" y="121"/>
                    <a:pt x="83" y="121"/>
                    <a:pt x="83" y="121"/>
                  </a:cubicBezTo>
                  <a:cubicBezTo>
                    <a:pt x="83" y="132"/>
                    <a:pt x="83" y="144"/>
                    <a:pt x="83" y="156"/>
                  </a:cubicBezTo>
                  <a:cubicBezTo>
                    <a:pt x="90" y="156"/>
                    <a:pt x="90" y="156"/>
                    <a:pt x="90" y="156"/>
                  </a:cubicBezTo>
                  <a:cubicBezTo>
                    <a:pt x="90" y="171"/>
                    <a:pt x="90" y="171"/>
                    <a:pt x="90" y="171"/>
                  </a:cubicBezTo>
                  <a:cubicBezTo>
                    <a:pt x="83" y="171"/>
                    <a:pt x="83" y="171"/>
                    <a:pt x="83" y="171"/>
                  </a:cubicBezTo>
                  <a:cubicBezTo>
                    <a:pt x="66" y="171"/>
                    <a:pt x="66" y="171"/>
                    <a:pt x="66" y="171"/>
                  </a:cubicBezTo>
                  <a:cubicBezTo>
                    <a:pt x="66" y="171"/>
                    <a:pt x="66" y="171"/>
                    <a:pt x="66"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2" y="171"/>
                    <a:pt x="62" y="171"/>
                    <a:pt x="62" y="171"/>
                  </a:cubicBezTo>
                  <a:cubicBezTo>
                    <a:pt x="62" y="171"/>
                    <a:pt x="62" y="171"/>
                    <a:pt x="62" y="171"/>
                  </a:cubicBezTo>
                  <a:cubicBezTo>
                    <a:pt x="62" y="171"/>
                    <a:pt x="62" y="171"/>
                    <a:pt x="62" y="171"/>
                  </a:cubicBezTo>
                  <a:cubicBezTo>
                    <a:pt x="62" y="171"/>
                    <a:pt x="62" y="171"/>
                    <a:pt x="62"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56"/>
                    <a:pt x="59" y="156"/>
                    <a:pt x="59" y="156"/>
                  </a:cubicBezTo>
                  <a:cubicBezTo>
                    <a:pt x="66" y="156"/>
                    <a:pt x="66" y="156"/>
                    <a:pt x="66" y="156"/>
                  </a:cubicBezTo>
                  <a:cubicBezTo>
                    <a:pt x="66" y="144"/>
                    <a:pt x="66" y="132"/>
                    <a:pt x="66" y="121"/>
                  </a:cubicBezTo>
                  <a:cubicBezTo>
                    <a:pt x="59" y="121"/>
                    <a:pt x="59" y="121"/>
                    <a:pt x="59" y="121"/>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6" y="105"/>
                    <a:pt x="66" y="105"/>
                    <a:pt x="66" y="105"/>
                  </a:cubicBezTo>
                  <a:cubicBezTo>
                    <a:pt x="66" y="105"/>
                    <a:pt x="66" y="105"/>
                    <a:pt x="66" y="105"/>
                  </a:cubicBezTo>
                  <a:cubicBezTo>
                    <a:pt x="83" y="105"/>
                    <a:pt x="83" y="105"/>
                    <a:pt x="83" y="105"/>
                  </a:cubicBezTo>
                  <a:cubicBezTo>
                    <a:pt x="83" y="105"/>
                    <a:pt x="83" y="105"/>
                    <a:pt x="83"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90" y="105"/>
                    <a:pt x="90" y="105"/>
                    <a:pt x="90" y="105"/>
                  </a:cubicBezTo>
                  <a:cubicBezTo>
                    <a:pt x="90" y="105"/>
                    <a:pt x="90" y="105"/>
                    <a:pt x="90" y="105"/>
                  </a:cubicBezTo>
                  <a:cubicBezTo>
                    <a:pt x="90" y="105"/>
                    <a:pt x="90" y="105"/>
                    <a:pt x="90" y="105"/>
                  </a:cubicBezTo>
                  <a:cubicBezTo>
                    <a:pt x="90" y="105"/>
                    <a:pt x="90" y="105"/>
                    <a:pt x="90" y="105"/>
                  </a:cubicBezTo>
                  <a:cubicBezTo>
                    <a:pt x="90" y="105"/>
                    <a:pt x="90" y="105"/>
                    <a:pt x="90" y="105"/>
                  </a:cubicBezTo>
                  <a:close/>
                  <a:moveTo>
                    <a:pt x="90" y="206"/>
                  </a:moveTo>
                  <a:cubicBezTo>
                    <a:pt x="90" y="221"/>
                    <a:pt x="90" y="221"/>
                    <a:pt x="90" y="221"/>
                  </a:cubicBezTo>
                  <a:cubicBezTo>
                    <a:pt x="90" y="221"/>
                    <a:pt x="90" y="221"/>
                    <a:pt x="90" y="221"/>
                  </a:cubicBezTo>
                  <a:cubicBezTo>
                    <a:pt x="90" y="221"/>
                    <a:pt x="90" y="221"/>
                    <a:pt x="90" y="221"/>
                  </a:cubicBezTo>
                  <a:cubicBezTo>
                    <a:pt x="90" y="221"/>
                    <a:pt x="90" y="221"/>
                    <a:pt x="90" y="221"/>
                  </a:cubicBezTo>
                  <a:cubicBezTo>
                    <a:pt x="90" y="221"/>
                    <a:pt x="90" y="221"/>
                    <a:pt x="90"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3" y="221"/>
                    <a:pt x="83" y="221"/>
                    <a:pt x="83" y="221"/>
                  </a:cubicBezTo>
                  <a:cubicBezTo>
                    <a:pt x="83" y="221"/>
                    <a:pt x="83" y="221"/>
                    <a:pt x="83" y="221"/>
                  </a:cubicBezTo>
                  <a:cubicBezTo>
                    <a:pt x="83" y="233"/>
                    <a:pt x="83" y="245"/>
                    <a:pt x="83" y="256"/>
                  </a:cubicBezTo>
                  <a:cubicBezTo>
                    <a:pt x="83" y="256"/>
                    <a:pt x="83" y="256"/>
                    <a:pt x="83"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3" y="272"/>
                    <a:pt x="83" y="272"/>
                    <a:pt x="83" y="272"/>
                  </a:cubicBezTo>
                  <a:cubicBezTo>
                    <a:pt x="83" y="272"/>
                    <a:pt x="83" y="272"/>
                    <a:pt x="83" y="272"/>
                  </a:cubicBezTo>
                  <a:cubicBezTo>
                    <a:pt x="66" y="272"/>
                    <a:pt x="66" y="272"/>
                    <a:pt x="66" y="272"/>
                  </a:cubicBezTo>
                  <a:cubicBezTo>
                    <a:pt x="66" y="272"/>
                    <a:pt x="66" y="272"/>
                    <a:pt x="66"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56"/>
                    <a:pt x="59" y="256"/>
                    <a:pt x="59" y="256"/>
                  </a:cubicBezTo>
                  <a:cubicBezTo>
                    <a:pt x="66" y="256"/>
                    <a:pt x="66" y="256"/>
                    <a:pt x="66" y="256"/>
                  </a:cubicBezTo>
                  <a:cubicBezTo>
                    <a:pt x="66" y="245"/>
                    <a:pt x="66" y="233"/>
                    <a:pt x="66" y="221"/>
                  </a:cubicBezTo>
                  <a:cubicBezTo>
                    <a:pt x="59" y="221"/>
                    <a:pt x="59" y="221"/>
                    <a:pt x="59" y="221"/>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2" y="206"/>
                    <a:pt x="62" y="206"/>
                    <a:pt x="62" y="206"/>
                  </a:cubicBezTo>
                  <a:cubicBezTo>
                    <a:pt x="62" y="206"/>
                    <a:pt x="62" y="206"/>
                    <a:pt x="62" y="206"/>
                  </a:cubicBezTo>
                  <a:cubicBezTo>
                    <a:pt x="62" y="206"/>
                    <a:pt x="62" y="206"/>
                    <a:pt x="62" y="206"/>
                  </a:cubicBezTo>
                  <a:cubicBezTo>
                    <a:pt x="62" y="206"/>
                    <a:pt x="62" y="206"/>
                    <a:pt x="62"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6" y="206"/>
                    <a:pt x="66" y="206"/>
                    <a:pt x="66" y="206"/>
                  </a:cubicBezTo>
                  <a:cubicBezTo>
                    <a:pt x="66" y="206"/>
                    <a:pt x="66" y="206"/>
                    <a:pt x="66" y="206"/>
                  </a:cubicBezTo>
                  <a:cubicBezTo>
                    <a:pt x="83" y="206"/>
                    <a:pt x="83" y="206"/>
                    <a:pt x="83" y="206"/>
                  </a:cubicBezTo>
                  <a:cubicBezTo>
                    <a:pt x="90" y="206"/>
                    <a:pt x="90" y="206"/>
                    <a:pt x="90" y="206"/>
                  </a:cubicBezTo>
                  <a:close/>
                  <a:moveTo>
                    <a:pt x="90" y="307"/>
                  </a:moveTo>
                  <a:cubicBezTo>
                    <a:pt x="90" y="322"/>
                    <a:pt x="90" y="322"/>
                    <a:pt x="90" y="322"/>
                  </a:cubicBezTo>
                  <a:cubicBezTo>
                    <a:pt x="83" y="322"/>
                    <a:pt x="83" y="322"/>
                    <a:pt x="83" y="322"/>
                  </a:cubicBezTo>
                  <a:cubicBezTo>
                    <a:pt x="83" y="334"/>
                    <a:pt x="83" y="345"/>
                    <a:pt x="83" y="357"/>
                  </a:cubicBezTo>
                  <a:cubicBezTo>
                    <a:pt x="90" y="357"/>
                    <a:pt x="90" y="357"/>
                    <a:pt x="90" y="357"/>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8" y="372"/>
                    <a:pt x="88" y="372"/>
                    <a:pt x="88" y="372"/>
                  </a:cubicBezTo>
                  <a:cubicBezTo>
                    <a:pt x="88" y="372"/>
                    <a:pt x="88" y="372"/>
                    <a:pt x="88" y="372"/>
                  </a:cubicBezTo>
                  <a:cubicBezTo>
                    <a:pt x="88" y="372"/>
                    <a:pt x="88" y="372"/>
                    <a:pt x="88" y="372"/>
                  </a:cubicBezTo>
                  <a:cubicBezTo>
                    <a:pt x="88" y="372"/>
                    <a:pt x="88" y="372"/>
                    <a:pt x="88"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6" y="372"/>
                    <a:pt x="86" y="372"/>
                    <a:pt x="86" y="372"/>
                  </a:cubicBezTo>
                  <a:cubicBezTo>
                    <a:pt x="86" y="372"/>
                    <a:pt x="86" y="372"/>
                    <a:pt x="86" y="372"/>
                  </a:cubicBezTo>
                  <a:cubicBezTo>
                    <a:pt x="86" y="372"/>
                    <a:pt x="86" y="372"/>
                    <a:pt x="86" y="372"/>
                  </a:cubicBezTo>
                  <a:cubicBezTo>
                    <a:pt x="86" y="372"/>
                    <a:pt x="86" y="372"/>
                    <a:pt x="86"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4" y="372"/>
                    <a:pt x="84" y="372"/>
                    <a:pt x="84" y="372"/>
                  </a:cubicBezTo>
                  <a:cubicBezTo>
                    <a:pt x="84" y="372"/>
                    <a:pt x="84" y="372"/>
                    <a:pt x="84" y="372"/>
                  </a:cubicBezTo>
                  <a:cubicBezTo>
                    <a:pt x="84" y="372"/>
                    <a:pt x="84" y="372"/>
                    <a:pt x="84" y="372"/>
                  </a:cubicBezTo>
                  <a:cubicBezTo>
                    <a:pt x="84" y="372"/>
                    <a:pt x="84" y="372"/>
                    <a:pt x="84" y="372"/>
                  </a:cubicBezTo>
                  <a:cubicBezTo>
                    <a:pt x="83" y="372"/>
                    <a:pt x="83" y="372"/>
                    <a:pt x="83" y="372"/>
                  </a:cubicBezTo>
                  <a:cubicBezTo>
                    <a:pt x="83" y="372"/>
                    <a:pt x="83" y="372"/>
                    <a:pt x="83" y="372"/>
                  </a:cubicBezTo>
                  <a:cubicBezTo>
                    <a:pt x="66" y="372"/>
                    <a:pt x="66" y="372"/>
                    <a:pt x="66" y="372"/>
                  </a:cubicBezTo>
                  <a:cubicBezTo>
                    <a:pt x="66" y="372"/>
                    <a:pt x="66" y="372"/>
                    <a:pt x="66" y="372"/>
                  </a:cubicBezTo>
                  <a:cubicBezTo>
                    <a:pt x="66" y="372"/>
                    <a:pt x="66" y="372"/>
                    <a:pt x="66"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4" y="372"/>
                    <a:pt x="64" y="372"/>
                    <a:pt x="64" y="372"/>
                  </a:cubicBezTo>
                  <a:cubicBezTo>
                    <a:pt x="64" y="372"/>
                    <a:pt x="64" y="372"/>
                    <a:pt x="64" y="372"/>
                  </a:cubicBezTo>
                  <a:cubicBezTo>
                    <a:pt x="64" y="372"/>
                    <a:pt x="64" y="372"/>
                    <a:pt x="64" y="372"/>
                  </a:cubicBezTo>
                  <a:cubicBezTo>
                    <a:pt x="64" y="372"/>
                    <a:pt x="64" y="372"/>
                    <a:pt x="64"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59" y="372"/>
                    <a:pt x="59" y="372"/>
                    <a:pt x="59" y="372"/>
                  </a:cubicBezTo>
                  <a:cubicBezTo>
                    <a:pt x="59" y="372"/>
                    <a:pt x="59" y="372"/>
                    <a:pt x="59" y="372"/>
                  </a:cubicBezTo>
                  <a:cubicBezTo>
                    <a:pt x="59" y="372"/>
                    <a:pt x="59" y="372"/>
                    <a:pt x="59" y="372"/>
                  </a:cubicBezTo>
                  <a:cubicBezTo>
                    <a:pt x="59" y="372"/>
                    <a:pt x="59" y="372"/>
                    <a:pt x="59" y="372"/>
                  </a:cubicBezTo>
                  <a:cubicBezTo>
                    <a:pt x="59" y="357"/>
                    <a:pt x="59" y="357"/>
                    <a:pt x="59" y="357"/>
                  </a:cubicBezTo>
                  <a:cubicBezTo>
                    <a:pt x="66" y="357"/>
                    <a:pt x="66" y="357"/>
                    <a:pt x="66" y="357"/>
                  </a:cubicBezTo>
                  <a:cubicBezTo>
                    <a:pt x="66" y="345"/>
                    <a:pt x="66" y="334"/>
                    <a:pt x="66" y="322"/>
                  </a:cubicBezTo>
                  <a:cubicBezTo>
                    <a:pt x="59" y="322"/>
                    <a:pt x="59" y="322"/>
                    <a:pt x="59" y="322"/>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7"/>
                    <a:pt x="66" y="307"/>
                    <a:pt x="66" y="307"/>
                  </a:cubicBezTo>
                  <a:cubicBezTo>
                    <a:pt x="66" y="307"/>
                    <a:pt x="66" y="307"/>
                    <a:pt x="66" y="307"/>
                  </a:cubicBezTo>
                  <a:cubicBezTo>
                    <a:pt x="83" y="307"/>
                    <a:pt x="83" y="307"/>
                    <a:pt x="83" y="307"/>
                  </a:cubicBezTo>
                  <a:cubicBezTo>
                    <a:pt x="83" y="307"/>
                    <a:pt x="83" y="307"/>
                    <a:pt x="83"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90" y="307"/>
                    <a:pt x="90" y="307"/>
                    <a:pt x="90" y="307"/>
                  </a:cubicBezTo>
                  <a:cubicBezTo>
                    <a:pt x="90" y="307"/>
                    <a:pt x="90" y="307"/>
                    <a:pt x="90" y="307"/>
                  </a:cubicBezTo>
                  <a:cubicBezTo>
                    <a:pt x="90" y="307"/>
                    <a:pt x="90" y="307"/>
                    <a:pt x="90" y="307"/>
                  </a:cubicBezTo>
                  <a:cubicBezTo>
                    <a:pt x="90" y="307"/>
                    <a:pt x="90" y="307"/>
                    <a:pt x="90" y="307"/>
                  </a:cubicBezTo>
                  <a:cubicBezTo>
                    <a:pt x="90" y="307"/>
                    <a:pt x="90" y="307"/>
                    <a:pt x="90" y="307"/>
                  </a:cubicBezTo>
                  <a:close/>
                  <a:moveTo>
                    <a:pt x="90" y="407"/>
                  </a:moveTo>
                  <a:cubicBezTo>
                    <a:pt x="90" y="423"/>
                    <a:pt x="90" y="423"/>
                    <a:pt x="90" y="423"/>
                  </a:cubicBezTo>
                  <a:cubicBezTo>
                    <a:pt x="83" y="423"/>
                    <a:pt x="83" y="423"/>
                    <a:pt x="83" y="423"/>
                  </a:cubicBezTo>
                  <a:cubicBezTo>
                    <a:pt x="66" y="423"/>
                    <a:pt x="66" y="423"/>
                    <a:pt x="66" y="423"/>
                  </a:cubicBezTo>
                  <a:cubicBezTo>
                    <a:pt x="66" y="423"/>
                    <a:pt x="66" y="423"/>
                    <a:pt x="66"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1" y="423"/>
                    <a:pt x="61" y="423"/>
                    <a:pt x="61" y="423"/>
                  </a:cubicBezTo>
                  <a:cubicBezTo>
                    <a:pt x="61" y="423"/>
                    <a:pt x="61" y="423"/>
                    <a:pt x="61" y="423"/>
                  </a:cubicBezTo>
                  <a:cubicBezTo>
                    <a:pt x="61" y="423"/>
                    <a:pt x="61" y="423"/>
                    <a:pt x="61" y="423"/>
                  </a:cubicBezTo>
                  <a:cubicBezTo>
                    <a:pt x="61" y="423"/>
                    <a:pt x="61" y="423"/>
                    <a:pt x="61"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59" y="423"/>
                    <a:pt x="59" y="423"/>
                    <a:pt x="59" y="423"/>
                  </a:cubicBezTo>
                  <a:cubicBezTo>
                    <a:pt x="59" y="423"/>
                    <a:pt x="59" y="423"/>
                    <a:pt x="59" y="423"/>
                  </a:cubicBezTo>
                  <a:cubicBezTo>
                    <a:pt x="59" y="423"/>
                    <a:pt x="59" y="423"/>
                    <a:pt x="59" y="423"/>
                  </a:cubicBezTo>
                  <a:cubicBezTo>
                    <a:pt x="59" y="423"/>
                    <a:pt x="59" y="423"/>
                    <a:pt x="59" y="423"/>
                  </a:cubicBezTo>
                  <a:cubicBezTo>
                    <a:pt x="59" y="407"/>
                    <a:pt x="59" y="407"/>
                    <a:pt x="59" y="407"/>
                  </a:cubicBezTo>
                  <a:cubicBezTo>
                    <a:pt x="59" y="407"/>
                    <a:pt x="59" y="407"/>
                    <a:pt x="59" y="407"/>
                  </a:cubicBezTo>
                  <a:cubicBezTo>
                    <a:pt x="59" y="407"/>
                    <a:pt x="59" y="407"/>
                    <a:pt x="59" y="407"/>
                  </a:cubicBezTo>
                  <a:cubicBezTo>
                    <a:pt x="59" y="407"/>
                    <a:pt x="59" y="407"/>
                    <a:pt x="59"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4" y="407"/>
                    <a:pt x="64" y="407"/>
                    <a:pt x="64" y="407"/>
                  </a:cubicBezTo>
                  <a:cubicBezTo>
                    <a:pt x="64" y="407"/>
                    <a:pt x="64" y="407"/>
                    <a:pt x="64" y="407"/>
                  </a:cubicBezTo>
                  <a:cubicBezTo>
                    <a:pt x="64" y="407"/>
                    <a:pt x="64" y="407"/>
                    <a:pt x="64" y="407"/>
                  </a:cubicBezTo>
                  <a:cubicBezTo>
                    <a:pt x="64" y="407"/>
                    <a:pt x="64" y="407"/>
                    <a:pt x="64"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6" y="407"/>
                    <a:pt x="66" y="407"/>
                    <a:pt x="66" y="407"/>
                  </a:cubicBezTo>
                  <a:cubicBezTo>
                    <a:pt x="66" y="407"/>
                    <a:pt x="66" y="407"/>
                    <a:pt x="66" y="407"/>
                  </a:cubicBezTo>
                  <a:cubicBezTo>
                    <a:pt x="66" y="407"/>
                    <a:pt x="66" y="407"/>
                    <a:pt x="66" y="407"/>
                  </a:cubicBezTo>
                  <a:cubicBezTo>
                    <a:pt x="83" y="407"/>
                    <a:pt x="83" y="407"/>
                    <a:pt x="83" y="407"/>
                  </a:cubicBezTo>
                  <a:cubicBezTo>
                    <a:pt x="83" y="407"/>
                    <a:pt x="83" y="407"/>
                    <a:pt x="83" y="407"/>
                  </a:cubicBezTo>
                  <a:cubicBezTo>
                    <a:pt x="84" y="407"/>
                    <a:pt x="84" y="407"/>
                    <a:pt x="84" y="407"/>
                  </a:cubicBezTo>
                  <a:cubicBezTo>
                    <a:pt x="84" y="407"/>
                    <a:pt x="84" y="407"/>
                    <a:pt x="84" y="407"/>
                  </a:cubicBezTo>
                  <a:cubicBezTo>
                    <a:pt x="84" y="407"/>
                    <a:pt x="84" y="407"/>
                    <a:pt x="84" y="407"/>
                  </a:cubicBezTo>
                  <a:cubicBezTo>
                    <a:pt x="84" y="407"/>
                    <a:pt x="84" y="407"/>
                    <a:pt x="84"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6" y="407"/>
                    <a:pt x="86" y="407"/>
                    <a:pt x="86" y="407"/>
                  </a:cubicBezTo>
                  <a:cubicBezTo>
                    <a:pt x="86" y="407"/>
                    <a:pt x="86" y="407"/>
                    <a:pt x="86" y="407"/>
                  </a:cubicBezTo>
                  <a:cubicBezTo>
                    <a:pt x="86" y="407"/>
                    <a:pt x="86" y="407"/>
                    <a:pt x="86" y="407"/>
                  </a:cubicBezTo>
                  <a:cubicBezTo>
                    <a:pt x="86" y="407"/>
                    <a:pt x="86" y="407"/>
                    <a:pt x="86"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8" y="407"/>
                    <a:pt x="88" y="407"/>
                    <a:pt x="88" y="407"/>
                  </a:cubicBezTo>
                  <a:cubicBezTo>
                    <a:pt x="88" y="407"/>
                    <a:pt x="88" y="407"/>
                    <a:pt x="88" y="407"/>
                  </a:cubicBezTo>
                  <a:cubicBezTo>
                    <a:pt x="88" y="407"/>
                    <a:pt x="88" y="407"/>
                    <a:pt x="88" y="407"/>
                  </a:cubicBezTo>
                  <a:cubicBezTo>
                    <a:pt x="88" y="407"/>
                    <a:pt x="88" y="407"/>
                    <a:pt x="88"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90" y="407"/>
                    <a:pt x="90" y="407"/>
                    <a:pt x="90" y="407"/>
                  </a:cubicBezTo>
                  <a:cubicBezTo>
                    <a:pt x="90" y="407"/>
                    <a:pt x="90" y="407"/>
                    <a:pt x="90" y="407"/>
                  </a:cubicBezTo>
                  <a:cubicBezTo>
                    <a:pt x="90" y="407"/>
                    <a:pt x="90" y="407"/>
                    <a:pt x="90" y="407"/>
                  </a:cubicBezTo>
                  <a:cubicBezTo>
                    <a:pt x="90" y="407"/>
                    <a:pt x="90" y="407"/>
                    <a:pt x="90" y="407"/>
                  </a:cubicBezTo>
                  <a:close/>
                  <a:moveTo>
                    <a:pt x="27" y="0"/>
                  </a:moveTo>
                  <a:cubicBezTo>
                    <a:pt x="59" y="0"/>
                    <a:pt x="59" y="0"/>
                    <a:pt x="59" y="0"/>
                  </a:cubicBezTo>
                  <a:cubicBezTo>
                    <a:pt x="59" y="20"/>
                    <a:pt x="59" y="20"/>
                    <a:pt x="59" y="20"/>
                  </a:cubicBezTo>
                  <a:cubicBezTo>
                    <a:pt x="52" y="20"/>
                    <a:pt x="52" y="20"/>
                    <a:pt x="52" y="20"/>
                  </a:cubicBezTo>
                  <a:cubicBezTo>
                    <a:pt x="52" y="32"/>
                    <a:pt x="52" y="43"/>
                    <a:pt x="52" y="55"/>
                  </a:cubicBezTo>
                  <a:cubicBezTo>
                    <a:pt x="59" y="55"/>
                    <a:pt x="59" y="55"/>
                    <a:pt x="59" y="55"/>
                  </a:cubicBezTo>
                  <a:cubicBezTo>
                    <a:pt x="59" y="70"/>
                    <a:pt x="59" y="70"/>
                    <a:pt x="59" y="70"/>
                  </a:cubicBezTo>
                  <a:cubicBezTo>
                    <a:pt x="59" y="70"/>
                    <a:pt x="59" y="70"/>
                    <a:pt x="59"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7" y="70"/>
                    <a:pt x="57" y="70"/>
                    <a:pt x="57" y="70"/>
                  </a:cubicBezTo>
                  <a:cubicBezTo>
                    <a:pt x="57" y="70"/>
                    <a:pt x="57" y="70"/>
                    <a:pt x="57" y="70"/>
                  </a:cubicBezTo>
                  <a:cubicBezTo>
                    <a:pt x="57" y="70"/>
                    <a:pt x="57" y="70"/>
                    <a:pt x="57" y="70"/>
                  </a:cubicBezTo>
                  <a:cubicBezTo>
                    <a:pt x="57" y="70"/>
                    <a:pt x="57" y="70"/>
                    <a:pt x="57"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5" y="70"/>
                    <a:pt x="55" y="70"/>
                    <a:pt x="55" y="70"/>
                  </a:cubicBezTo>
                  <a:cubicBezTo>
                    <a:pt x="55" y="70"/>
                    <a:pt x="55" y="70"/>
                    <a:pt x="55" y="70"/>
                  </a:cubicBezTo>
                  <a:cubicBezTo>
                    <a:pt x="55" y="70"/>
                    <a:pt x="55" y="70"/>
                    <a:pt x="55" y="70"/>
                  </a:cubicBezTo>
                  <a:cubicBezTo>
                    <a:pt x="55" y="70"/>
                    <a:pt x="55" y="70"/>
                    <a:pt x="55" y="70"/>
                  </a:cubicBezTo>
                  <a:cubicBezTo>
                    <a:pt x="55" y="70"/>
                    <a:pt x="55" y="70"/>
                    <a:pt x="55"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3" y="70"/>
                    <a:pt x="53" y="70"/>
                    <a:pt x="53" y="70"/>
                  </a:cubicBezTo>
                  <a:cubicBezTo>
                    <a:pt x="53" y="70"/>
                    <a:pt x="53" y="70"/>
                    <a:pt x="53" y="70"/>
                  </a:cubicBezTo>
                  <a:cubicBezTo>
                    <a:pt x="53" y="70"/>
                    <a:pt x="53" y="70"/>
                    <a:pt x="53" y="70"/>
                  </a:cubicBezTo>
                  <a:cubicBezTo>
                    <a:pt x="53" y="70"/>
                    <a:pt x="53" y="70"/>
                    <a:pt x="53" y="70"/>
                  </a:cubicBezTo>
                  <a:cubicBezTo>
                    <a:pt x="53" y="70"/>
                    <a:pt x="53" y="70"/>
                    <a:pt x="53" y="70"/>
                  </a:cubicBezTo>
                  <a:cubicBezTo>
                    <a:pt x="52" y="70"/>
                    <a:pt x="52" y="70"/>
                    <a:pt x="52" y="70"/>
                  </a:cubicBezTo>
                  <a:cubicBezTo>
                    <a:pt x="52" y="70"/>
                    <a:pt x="52" y="70"/>
                    <a:pt x="52" y="70"/>
                  </a:cubicBezTo>
                  <a:cubicBezTo>
                    <a:pt x="52" y="70"/>
                    <a:pt x="52" y="70"/>
                    <a:pt x="52" y="70"/>
                  </a:cubicBezTo>
                  <a:cubicBezTo>
                    <a:pt x="52" y="70"/>
                    <a:pt x="52" y="70"/>
                    <a:pt x="52" y="70"/>
                  </a:cubicBezTo>
                  <a:cubicBezTo>
                    <a:pt x="52" y="70"/>
                    <a:pt x="52" y="70"/>
                    <a:pt x="52" y="70"/>
                  </a:cubicBezTo>
                  <a:cubicBezTo>
                    <a:pt x="52" y="82"/>
                    <a:pt x="52" y="94"/>
                    <a:pt x="52" y="105"/>
                  </a:cubicBezTo>
                  <a:cubicBezTo>
                    <a:pt x="52" y="105"/>
                    <a:pt x="52" y="105"/>
                    <a:pt x="52" y="105"/>
                  </a:cubicBezTo>
                  <a:cubicBezTo>
                    <a:pt x="52" y="105"/>
                    <a:pt x="52" y="105"/>
                    <a:pt x="52" y="105"/>
                  </a:cubicBezTo>
                  <a:cubicBezTo>
                    <a:pt x="52" y="105"/>
                    <a:pt x="52" y="105"/>
                    <a:pt x="52" y="105"/>
                  </a:cubicBezTo>
                  <a:cubicBezTo>
                    <a:pt x="52" y="105"/>
                    <a:pt x="52" y="105"/>
                    <a:pt x="52"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7" y="105"/>
                    <a:pt x="57" y="105"/>
                    <a:pt x="57" y="105"/>
                  </a:cubicBezTo>
                  <a:cubicBezTo>
                    <a:pt x="57" y="105"/>
                    <a:pt x="57" y="105"/>
                    <a:pt x="57" y="105"/>
                  </a:cubicBezTo>
                  <a:cubicBezTo>
                    <a:pt x="57" y="105"/>
                    <a:pt x="57" y="105"/>
                    <a:pt x="57" y="105"/>
                  </a:cubicBezTo>
                  <a:cubicBezTo>
                    <a:pt x="57" y="105"/>
                    <a:pt x="57" y="105"/>
                    <a:pt x="57"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9" y="105"/>
                    <a:pt x="59" y="105"/>
                    <a:pt x="59" y="105"/>
                  </a:cubicBezTo>
                  <a:cubicBezTo>
                    <a:pt x="59" y="105"/>
                    <a:pt x="59" y="105"/>
                    <a:pt x="59" y="105"/>
                  </a:cubicBezTo>
                  <a:cubicBezTo>
                    <a:pt x="59" y="121"/>
                    <a:pt x="59" y="121"/>
                    <a:pt x="59" y="121"/>
                  </a:cubicBezTo>
                  <a:cubicBezTo>
                    <a:pt x="52" y="121"/>
                    <a:pt x="52" y="121"/>
                    <a:pt x="52" y="121"/>
                  </a:cubicBezTo>
                  <a:cubicBezTo>
                    <a:pt x="52" y="132"/>
                    <a:pt x="52" y="144"/>
                    <a:pt x="52" y="156"/>
                  </a:cubicBezTo>
                  <a:cubicBezTo>
                    <a:pt x="59" y="156"/>
                    <a:pt x="59" y="156"/>
                    <a:pt x="59" y="156"/>
                  </a:cubicBezTo>
                  <a:cubicBezTo>
                    <a:pt x="59" y="171"/>
                    <a:pt x="59" y="171"/>
                    <a:pt x="59" y="171"/>
                  </a:cubicBezTo>
                  <a:cubicBezTo>
                    <a:pt x="59" y="171"/>
                    <a:pt x="59" y="171"/>
                    <a:pt x="59"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5" y="171"/>
                    <a:pt x="55" y="171"/>
                    <a:pt x="55" y="171"/>
                  </a:cubicBezTo>
                  <a:cubicBezTo>
                    <a:pt x="55" y="171"/>
                    <a:pt x="55" y="171"/>
                    <a:pt x="55" y="171"/>
                  </a:cubicBezTo>
                  <a:cubicBezTo>
                    <a:pt x="55" y="171"/>
                    <a:pt x="55" y="171"/>
                    <a:pt x="55" y="171"/>
                  </a:cubicBezTo>
                  <a:cubicBezTo>
                    <a:pt x="55" y="171"/>
                    <a:pt x="55" y="171"/>
                    <a:pt x="55"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3" y="171"/>
                    <a:pt x="53" y="171"/>
                    <a:pt x="53" y="171"/>
                  </a:cubicBezTo>
                  <a:cubicBezTo>
                    <a:pt x="53" y="171"/>
                    <a:pt x="53" y="171"/>
                    <a:pt x="53" y="171"/>
                  </a:cubicBezTo>
                  <a:cubicBezTo>
                    <a:pt x="53" y="171"/>
                    <a:pt x="53" y="171"/>
                    <a:pt x="53" y="171"/>
                  </a:cubicBezTo>
                  <a:cubicBezTo>
                    <a:pt x="53" y="171"/>
                    <a:pt x="53" y="171"/>
                    <a:pt x="53"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27" y="171"/>
                    <a:pt x="27" y="171"/>
                    <a:pt x="27" y="171"/>
                  </a:cubicBezTo>
                  <a:cubicBezTo>
                    <a:pt x="27" y="156"/>
                    <a:pt x="27" y="156"/>
                    <a:pt x="27" y="156"/>
                  </a:cubicBezTo>
                  <a:cubicBezTo>
                    <a:pt x="34" y="156"/>
                    <a:pt x="34" y="156"/>
                    <a:pt x="34" y="156"/>
                  </a:cubicBezTo>
                  <a:cubicBezTo>
                    <a:pt x="34" y="144"/>
                    <a:pt x="34" y="132"/>
                    <a:pt x="34" y="121"/>
                  </a:cubicBezTo>
                  <a:cubicBezTo>
                    <a:pt x="27" y="121"/>
                    <a:pt x="27" y="121"/>
                    <a:pt x="27" y="121"/>
                  </a:cubicBezTo>
                  <a:cubicBezTo>
                    <a:pt x="27" y="105"/>
                    <a:pt x="27" y="105"/>
                    <a:pt x="27" y="105"/>
                  </a:cubicBezTo>
                  <a:cubicBezTo>
                    <a:pt x="34" y="105"/>
                    <a:pt x="34" y="105"/>
                    <a:pt x="34" y="105"/>
                  </a:cubicBezTo>
                  <a:cubicBezTo>
                    <a:pt x="34" y="94"/>
                    <a:pt x="34" y="82"/>
                    <a:pt x="34" y="70"/>
                  </a:cubicBezTo>
                  <a:cubicBezTo>
                    <a:pt x="27" y="70"/>
                    <a:pt x="27" y="70"/>
                    <a:pt x="27" y="70"/>
                  </a:cubicBezTo>
                  <a:cubicBezTo>
                    <a:pt x="27" y="55"/>
                    <a:pt x="27" y="55"/>
                    <a:pt x="27" y="55"/>
                  </a:cubicBezTo>
                  <a:cubicBezTo>
                    <a:pt x="34" y="55"/>
                    <a:pt x="34" y="55"/>
                    <a:pt x="34" y="55"/>
                  </a:cubicBezTo>
                  <a:cubicBezTo>
                    <a:pt x="34" y="43"/>
                    <a:pt x="34" y="32"/>
                    <a:pt x="34" y="20"/>
                  </a:cubicBezTo>
                  <a:cubicBezTo>
                    <a:pt x="27" y="20"/>
                    <a:pt x="27" y="20"/>
                    <a:pt x="27" y="20"/>
                  </a:cubicBezTo>
                  <a:cubicBezTo>
                    <a:pt x="27" y="0"/>
                    <a:pt x="27" y="0"/>
                    <a:pt x="27" y="0"/>
                  </a:cubicBezTo>
                  <a:close/>
                  <a:moveTo>
                    <a:pt x="59" y="480"/>
                  </a:moveTo>
                  <a:cubicBezTo>
                    <a:pt x="27" y="480"/>
                    <a:pt x="27" y="480"/>
                    <a:pt x="27" y="480"/>
                  </a:cubicBezTo>
                  <a:cubicBezTo>
                    <a:pt x="27" y="458"/>
                    <a:pt x="27" y="458"/>
                    <a:pt x="27" y="458"/>
                  </a:cubicBezTo>
                  <a:cubicBezTo>
                    <a:pt x="34" y="458"/>
                    <a:pt x="34" y="458"/>
                    <a:pt x="34" y="458"/>
                  </a:cubicBezTo>
                  <a:cubicBezTo>
                    <a:pt x="34" y="446"/>
                    <a:pt x="34" y="434"/>
                    <a:pt x="34" y="423"/>
                  </a:cubicBezTo>
                  <a:cubicBezTo>
                    <a:pt x="27" y="423"/>
                    <a:pt x="27" y="423"/>
                    <a:pt x="27" y="423"/>
                  </a:cubicBezTo>
                  <a:cubicBezTo>
                    <a:pt x="27" y="407"/>
                    <a:pt x="27" y="407"/>
                    <a:pt x="27"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3" y="407"/>
                    <a:pt x="53" y="407"/>
                    <a:pt x="53" y="407"/>
                  </a:cubicBezTo>
                  <a:cubicBezTo>
                    <a:pt x="53" y="407"/>
                    <a:pt x="53" y="407"/>
                    <a:pt x="53" y="407"/>
                  </a:cubicBezTo>
                  <a:cubicBezTo>
                    <a:pt x="53" y="407"/>
                    <a:pt x="53" y="407"/>
                    <a:pt x="53" y="407"/>
                  </a:cubicBezTo>
                  <a:cubicBezTo>
                    <a:pt x="53" y="407"/>
                    <a:pt x="53" y="407"/>
                    <a:pt x="53"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9" y="407"/>
                    <a:pt x="59" y="407"/>
                    <a:pt x="59" y="407"/>
                  </a:cubicBezTo>
                  <a:cubicBezTo>
                    <a:pt x="59" y="407"/>
                    <a:pt x="59" y="407"/>
                    <a:pt x="59" y="407"/>
                  </a:cubicBezTo>
                  <a:cubicBezTo>
                    <a:pt x="59" y="407"/>
                    <a:pt x="59" y="407"/>
                    <a:pt x="59" y="407"/>
                  </a:cubicBezTo>
                  <a:cubicBezTo>
                    <a:pt x="59" y="423"/>
                    <a:pt x="59" y="423"/>
                    <a:pt x="59" y="423"/>
                  </a:cubicBezTo>
                  <a:cubicBezTo>
                    <a:pt x="59" y="423"/>
                    <a:pt x="59" y="423"/>
                    <a:pt x="59"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34"/>
                    <a:pt x="52" y="446"/>
                    <a:pt x="52" y="458"/>
                  </a:cubicBezTo>
                  <a:cubicBezTo>
                    <a:pt x="52" y="458"/>
                    <a:pt x="52" y="458"/>
                    <a:pt x="52" y="458"/>
                  </a:cubicBezTo>
                  <a:cubicBezTo>
                    <a:pt x="52" y="458"/>
                    <a:pt x="52" y="458"/>
                    <a:pt x="52" y="458"/>
                  </a:cubicBezTo>
                  <a:cubicBezTo>
                    <a:pt x="52" y="458"/>
                    <a:pt x="52" y="458"/>
                    <a:pt x="52" y="458"/>
                  </a:cubicBezTo>
                  <a:cubicBezTo>
                    <a:pt x="52" y="458"/>
                    <a:pt x="52" y="458"/>
                    <a:pt x="52"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9" y="458"/>
                    <a:pt x="59" y="458"/>
                    <a:pt x="59" y="458"/>
                  </a:cubicBezTo>
                  <a:cubicBezTo>
                    <a:pt x="59" y="458"/>
                    <a:pt x="59" y="458"/>
                    <a:pt x="59" y="458"/>
                  </a:cubicBezTo>
                  <a:cubicBezTo>
                    <a:pt x="59" y="480"/>
                    <a:pt x="59" y="480"/>
                    <a:pt x="59" y="480"/>
                  </a:cubicBezTo>
                  <a:close/>
                  <a:moveTo>
                    <a:pt x="59" y="206"/>
                  </a:moveTo>
                  <a:cubicBezTo>
                    <a:pt x="59" y="221"/>
                    <a:pt x="59" y="221"/>
                    <a:pt x="59" y="221"/>
                  </a:cubicBezTo>
                  <a:cubicBezTo>
                    <a:pt x="52" y="221"/>
                    <a:pt x="52" y="221"/>
                    <a:pt x="52" y="221"/>
                  </a:cubicBezTo>
                  <a:cubicBezTo>
                    <a:pt x="52" y="233"/>
                    <a:pt x="52" y="245"/>
                    <a:pt x="52" y="256"/>
                  </a:cubicBezTo>
                  <a:cubicBezTo>
                    <a:pt x="59" y="256"/>
                    <a:pt x="59" y="256"/>
                    <a:pt x="59" y="256"/>
                  </a:cubicBezTo>
                  <a:cubicBezTo>
                    <a:pt x="59" y="272"/>
                    <a:pt x="59" y="272"/>
                    <a:pt x="59" y="272"/>
                  </a:cubicBezTo>
                  <a:cubicBezTo>
                    <a:pt x="59" y="272"/>
                    <a:pt x="59" y="272"/>
                    <a:pt x="59"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7" y="272"/>
                    <a:pt x="57" y="272"/>
                    <a:pt x="57" y="272"/>
                  </a:cubicBezTo>
                  <a:cubicBezTo>
                    <a:pt x="57" y="272"/>
                    <a:pt x="57" y="272"/>
                    <a:pt x="57" y="272"/>
                  </a:cubicBezTo>
                  <a:cubicBezTo>
                    <a:pt x="57" y="272"/>
                    <a:pt x="57" y="272"/>
                    <a:pt x="57" y="272"/>
                  </a:cubicBezTo>
                  <a:cubicBezTo>
                    <a:pt x="57" y="272"/>
                    <a:pt x="57" y="272"/>
                    <a:pt x="57"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83"/>
                    <a:pt x="52" y="295"/>
                    <a:pt x="52" y="307"/>
                  </a:cubicBezTo>
                  <a:cubicBezTo>
                    <a:pt x="52" y="307"/>
                    <a:pt x="52" y="307"/>
                    <a:pt x="52" y="307"/>
                  </a:cubicBezTo>
                  <a:cubicBezTo>
                    <a:pt x="52" y="307"/>
                    <a:pt x="52" y="307"/>
                    <a:pt x="52" y="307"/>
                  </a:cubicBezTo>
                  <a:cubicBezTo>
                    <a:pt x="52" y="307"/>
                    <a:pt x="52" y="307"/>
                    <a:pt x="52" y="307"/>
                  </a:cubicBezTo>
                  <a:cubicBezTo>
                    <a:pt x="52" y="307"/>
                    <a:pt x="52" y="307"/>
                    <a:pt x="52"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7" y="307"/>
                    <a:pt x="57" y="307"/>
                    <a:pt x="57" y="307"/>
                  </a:cubicBezTo>
                  <a:cubicBezTo>
                    <a:pt x="57" y="307"/>
                    <a:pt x="57" y="307"/>
                    <a:pt x="57" y="307"/>
                  </a:cubicBezTo>
                  <a:cubicBezTo>
                    <a:pt x="57" y="307"/>
                    <a:pt x="57" y="307"/>
                    <a:pt x="57" y="307"/>
                  </a:cubicBezTo>
                  <a:cubicBezTo>
                    <a:pt x="57" y="307"/>
                    <a:pt x="57" y="307"/>
                    <a:pt x="57"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9" y="307"/>
                    <a:pt x="59" y="307"/>
                    <a:pt x="59" y="307"/>
                  </a:cubicBezTo>
                  <a:cubicBezTo>
                    <a:pt x="59" y="307"/>
                    <a:pt x="59" y="307"/>
                    <a:pt x="59" y="307"/>
                  </a:cubicBezTo>
                  <a:cubicBezTo>
                    <a:pt x="59" y="322"/>
                    <a:pt x="59" y="322"/>
                    <a:pt x="59" y="322"/>
                  </a:cubicBezTo>
                  <a:cubicBezTo>
                    <a:pt x="52" y="322"/>
                    <a:pt x="52" y="322"/>
                    <a:pt x="52" y="322"/>
                  </a:cubicBezTo>
                  <a:cubicBezTo>
                    <a:pt x="52" y="334"/>
                    <a:pt x="52" y="345"/>
                    <a:pt x="52" y="357"/>
                  </a:cubicBezTo>
                  <a:cubicBezTo>
                    <a:pt x="59" y="357"/>
                    <a:pt x="59" y="357"/>
                    <a:pt x="59" y="357"/>
                  </a:cubicBezTo>
                  <a:cubicBezTo>
                    <a:pt x="59" y="372"/>
                    <a:pt x="59" y="372"/>
                    <a:pt x="59" y="372"/>
                  </a:cubicBezTo>
                  <a:cubicBezTo>
                    <a:pt x="59" y="372"/>
                    <a:pt x="59" y="372"/>
                    <a:pt x="59" y="372"/>
                  </a:cubicBezTo>
                  <a:cubicBezTo>
                    <a:pt x="59" y="372"/>
                    <a:pt x="59" y="372"/>
                    <a:pt x="59"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3" y="372"/>
                    <a:pt x="53" y="372"/>
                    <a:pt x="53" y="372"/>
                  </a:cubicBezTo>
                  <a:cubicBezTo>
                    <a:pt x="53" y="372"/>
                    <a:pt x="53" y="372"/>
                    <a:pt x="53" y="372"/>
                  </a:cubicBezTo>
                  <a:cubicBezTo>
                    <a:pt x="53" y="372"/>
                    <a:pt x="53" y="372"/>
                    <a:pt x="53" y="372"/>
                  </a:cubicBezTo>
                  <a:cubicBezTo>
                    <a:pt x="53" y="372"/>
                    <a:pt x="53" y="372"/>
                    <a:pt x="53"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27" y="372"/>
                    <a:pt x="27" y="372"/>
                    <a:pt x="27" y="372"/>
                  </a:cubicBezTo>
                  <a:cubicBezTo>
                    <a:pt x="27" y="357"/>
                    <a:pt x="27" y="357"/>
                    <a:pt x="27" y="357"/>
                  </a:cubicBezTo>
                  <a:cubicBezTo>
                    <a:pt x="34" y="357"/>
                    <a:pt x="34" y="357"/>
                    <a:pt x="34" y="357"/>
                  </a:cubicBezTo>
                  <a:cubicBezTo>
                    <a:pt x="34" y="345"/>
                    <a:pt x="34" y="334"/>
                    <a:pt x="34" y="322"/>
                  </a:cubicBezTo>
                  <a:cubicBezTo>
                    <a:pt x="27" y="322"/>
                    <a:pt x="27" y="322"/>
                    <a:pt x="27" y="322"/>
                  </a:cubicBezTo>
                  <a:cubicBezTo>
                    <a:pt x="27" y="307"/>
                    <a:pt x="27" y="307"/>
                    <a:pt x="27" y="307"/>
                  </a:cubicBezTo>
                  <a:cubicBezTo>
                    <a:pt x="34" y="307"/>
                    <a:pt x="34" y="307"/>
                    <a:pt x="34" y="307"/>
                  </a:cubicBezTo>
                  <a:cubicBezTo>
                    <a:pt x="34" y="295"/>
                    <a:pt x="34" y="283"/>
                    <a:pt x="34" y="272"/>
                  </a:cubicBezTo>
                  <a:cubicBezTo>
                    <a:pt x="27" y="272"/>
                    <a:pt x="27" y="272"/>
                    <a:pt x="27" y="272"/>
                  </a:cubicBezTo>
                  <a:cubicBezTo>
                    <a:pt x="27" y="256"/>
                    <a:pt x="27" y="256"/>
                    <a:pt x="27" y="256"/>
                  </a:cubicBezTo>
                  <a:cubicBezTo>
                    <a:pt x="34" y="256"/>
                    <a:pt x="34" y="256"/>
                    <a:pt x="34" y="256"/>
                  </a:cubicBezTo>
                  <a:cubicBezTo>
                    <a:pt x="34" y="245"/>
                    <a:pt x="34" y="233"/>
                    <a:pt x="34" y="221"/>
                  </a:cubicBezTo>
                  <a:cubicBezTo>
                    <a:pt x="27" y="221"/>
                    <a:pt x="27" y="221"/>
                    <a:pt x="27" y="221"/>
                  </a:cubicBezTo>
                  <a:cubicBezTo>
                    <a:pt x="27" y="206"/>
                    <a:pt x="27" y="206"/>
                    <a:pt x="27"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3" y="206"/>
                    <a:pt x="53" y="206"/>
                    <a:pt x="53" y="206"/>
                  </a:cubicBezTo>
                  <a:cubicBezTo>
                    <a:pt x="53" y="206"/>
                    <a:pt x="53" y="206"/>
                    <a:pt x="53" y="206"/>
                  </a:cubicBezTo>
                  <a:cubicBezTo>
                    <a:pt x="53" y="206"/>
                    <a:pt x="53" y="206"/>
                    <a:pt x="53" y="206"/>
                  </a:cubicBezTo>
                  <a:cubicBezTo>
                    <a:pt x="53" y="206"/>
                    <a:pt x="53" y="206"/>
                    <a:pt x="53"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5" y="206"/>
                    <a:pt x="55" y="206"/>
                    <a:pt x="55" y="206"/>
                  </a:cubicBezTo>
                  <a:cubicBezTo>
                    <a:pt x="55" y="206"/>
                    <a:pt x="55" y="206"/>
                    <a:pt x="55" y="206"/>
                  </a:cubicBezTo>
                  <a:cubicBezTo>
                    <a:pt x="55" y="206"/>
                    <a:pt x="55" y="206"/>
                    <a:pt x="55" y="206"/>
                  </a:cubicBezTo>
                  <a:cubicBezTo>
                    <a:pt x="55" y="206"/>
                    <a:pt x="55" y="206"/>
                    <a:pt x="55"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9" y="206"/>
                    <a:pt x="59" y="206"/>
                    <a:pt x="59" y="206"/>
                  </a:cubicBezTo>
                  <a:close/>
                  <a:moveTo>
                    <a:pt x="0" y="0"/>
                  </a:moveTo>
                  <a:cubicBezTo>
                    <a:pt x="27" y="0"/>
                    <a:pt x="27" y="0"/>
                    <a:pt x="27" y="0"/>
                  </a:cubicBezTo>
                  <a:cubicBezTo>
                    <a:pt x="27" y="20"/>
                    <a:pt x="27" y="20"/>
                    <a:pt x="27" y="20"/>
                  </a:cubicBezTo>
                  <a:cubicBezTo>
                    <a:pt x="20" y="20"/>
                    <a:pt x="20" y="20"/>
                    <a:pt x="20" y="20"/>
                  </a:cubicBezTo>
                  <a:cubicBezTo>
                    <a:pt x="20" y="32"/>
                    <a:pt x="20" y="43"/>
                    <a:pt x="20" y="55"/>
                  </a:cubicBezTo>
                  <a:cubicBezTo>
                    <a:pt x="27" y="55"/>
                    <a:pt x="27" y="55"/>
                    <a:pt x="27" y="55"/>
                  </a:cubicBezTo>
                  <a:cubicBezTo>
                    <a:pt x="27" y="70"/>
                    <a:pt x="27" y="70"/>
                    <a:pt x="27" y="70"/>
                  </a:cubicBezTo>
                  <a:cubicBezTo>
                    <a:pt x="20" y="70"/>
                    <a:pt x="20" y="70"/>
                    <a:pt x="20" y="70"/>
                  </a:cubicBezTo>
                  <a:cubicBezTo>
                    <a:pt x="20" y="82"/>
                    <a:pt x="20" y="94"/>
                    <a:pt x="20" y="105"/>
                  </a:cubicBezTo>
                  <a:cubicBezTo>
                    <a:pt x="27" y="105"/>
                    <a:pt x="27" y="105"/>
                    <a:pt x="27" y="105"/>
                  </a:cubicBezTo>
                  <a:cubicBezTo>
                    <a:pt x="27" y="121"/>
                    <a:pt x="27" y="121"/>
                    <a:pt x="27" y="121"/>
                  </a:cubicBezTo>
                  <a:cubicBezTo>
                    <a:pt x="20" y="121"/>
                    <a:pt x="20" y="121"/>
                    <a:pt x="20" y="121"/>
                  </a:cubicBezTo>
                  <a:cubicBezTo>
                    <a:pt x="20" y="132"/>
                    <a:pt x="20" y="144"/>
                    <a:pt x="20" y="156"/>
                  </a:cubicBezTo>
                  <a:cubicBezTo>
                    <a:pt x="27" y="156"/>
                    <a:pt x="27" y="156"/>
                    <a:pt x="27" y="156"/>
                  </a:cubicBezTo>
                  <a:cubicBezTo>
                    <a:pt x="27" y="171"/>
                    <a:pt x="27" y="171"/>
                    <a:pt x="27" y="171"/>
                  </a:cubicBezTo>
                  <a:cubicBezTo>
                    <a:pt x="20" y="171"/>
                    <a:pt x="20" y="171"/>
                    <a:pt x="20" y="171"/>
                  </a:cubicBezTo>
                  <a:cubicBezTo>
                    <a:pt x="20" y="183"/>
                    <a:pt x="20" y="194"/>
                    <a:pt x="20" y="206"/>
                  </a:cubicBezTo>
                  <a:cubicBezTo>
                    <a:pt x="27" y="206"/>
                    <a:pt x="27" y="206"/>
                    <a:pt x="27" y="206"/>
                  </a:cubicBezTo>
                  <a:cubicBezTo>
                    <a:pt x="27" y="221"/>
                    <a:pt x="27" y="221"/>
                    <a:pt x="27" y="221"/>
                  </a:cubicBezTo>
                  <a:cubicBezTo>
                    <a:pt x="20" y="221"/>
                    <a:pt x="20" y="221"/>
                    <a:pt x="20" y="221"/>
                  </a:cubicBezTo>
                  <a:cubicBezTo>
                    <a:pt x="20" y="233"/>
                    <a:pt x="20" y="245"/>
                    <a:pt x="20" y="256"/>
                  </a:cubicBezTo>
                  <a:cubicBezTo>
                    <a:pt x="27" y="256"/>
                    <a:pt x="27" y="256"/>
                    <a:pt x="27" y="256"/>
                  </a:cubicBezTo>
                  <a:cubicBezTo>
                    <a:pt x="27" y="272"/>
                    <a:pt x="27" y="272"/>
                    <a:pt x="27" y="272"/>
                  </a:cubicBezTo>
                  <a:cubicBezTo>
                    <a:pt x="20" y="272"/>
                    <a:pt x="20" y="272"/>
                    <a:pt x="20" y="272"/>
                  </a:cubicBezTo>
                  <a:cubicBezTo>
                    <a:pt x="20" y="283"/>
                    <a:pt x="20" y="295"/>
                    <a:pt x="20" y="307"/>
                  </a:cubicBezTo>
                  <a:cubicBezTo>
                    <a:pt x="27" y="307"/>
                    <a:pt x="27" y="307"/>
                    <a:pt x="27" y="307"/>
                  </a:cubicBezTo>
                  <a:cubicBezTo>
                    <a:pt x="27" y="322"/>
                    <a:pt x="27" y="322"/>
                    <a:pt x="27" y="322"/>
                  </a:cubicBezTo>
                  <a:cubicBezTo>
                    <a:pt x="20" y="322"/>
                    <a:pt x="20" y="322"/>
                    <a:pt x="20" y="322"/>
                  </a:cubicBezTo>
                  <a:cubicBezTo>
                    <a:pt x="20" y="334"/>
                    <a:pt x="20" y="345"/>
                    <a:pt x="20" y="357"/>
                  </a:cubicBezTo>
                  <a:cubicBezTo>
                    <a:pt x="27" y="357"/>
                    <a:pt x="27" y="357"/>
                    <a:pt x="27" y="357"/>
                  </a:cubicBezTo>
                  <a:cubicBezTo>
                    <a:pt x="27" y="372"/>
                    <a:pt x="27" y="372"/>
                    <a:pt x="27" y="372"/>
                  </a:cubicBezTo>
                  <a:cubicBezTo>
                    <a:pt x="20" y="372"/>
                    <a:pt x="20" y="372"/>
                    <a:pt x="20" y="372"/>
                  </a:cubicBezTo>
                  <a:cubicBezTo>
                    <a:pt x="20" y="384"/>
                    <a:pt x="20" y="396"/>
                    <a:pt x="20" y="407"/>
                  </a:cubicBezTo>
                  <a:cubicBezTo>
                    <a:pt x="27" y="407"/>
                    <a:pt x="27" y="407"/>
                    <a:pt x="27" y="407"/>
                  </a:cubicBezTo>
                  <a:cubicBezTo>
                    <a:pt x="27" y="423"/>
                    <a:pt x="27" y="423"/>
                    <a:pt x="27" y="423"/>
                  </a:cubicBezTo>
                  <a:cubicBezTo>
                    <a:pt x="20" y="423"/>
                    <a:pt x="20" y="423"/>
                    <a:pt x="20" y="423"/>
                  </a:cubicBezTo>
                  <a:cubicBezTo>
                    <a:pt x="20" y="434"/>
                    <a:pt x="20" y="446"/>
                    <a:pt x="20" y="458"/>
                  </a:cubicBezTo>
                  <a:cubicBezTo>
                    <a:pt x="27" y="458"/>
                    <a:pt x="27" y="458"/>
                    <a:pt x="27" y="458"/>
                  </a:cubicBezTo>
                  <a:cubicBezTo>
                    <a:pt x="27" y="480"/>
                    <a:pt x="27" y="480"/>
                    <a:pt x="27" y="480"/>
                  </a:cubicBezTo>
                  <a:cubicBezTo>
                    <a:pt x="0" y="480"/>
                    <a:pt x="0" y="480"/>
                    <a:pt x="0" y="480"/>
                  </a:cubicBezTo>
                  <a:cubicBezTo>
                    <a:pt x="0" y="400"/>
                    <a:pt x="0" y="320"/>
                    <a:pt x="0" y="240"/>
                  </a:cubicBezTo>
                  <a:cubicBezTo>
                    <a:pt x="0" y="160"/>
                    <a:pt x="0" y="80"/>
                    <a:pt x="0" y="0"/>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iṣḷiḋè">
              <a:extLst>
                <a:ext uri="{FF2B5EF4-FFF2-40B4-BE49-F238E27FC236}">
                  <a16:creationId xmlns:a16="http://schemas.microsoft.com/office/drawing/2014/main" id="{AC50D8D6-E2DA-4FF9-B016-5F1299B77468}"/>
                </a:ext>
              </a:extLst>
            </p:cNvPr>
            <p:cNvSpPr/>
            <p:nvPr/>
          </p:nvSpPr>
          <p:spPr bwMode="auto">
            <a:xfrm flipH="1">
              <a:off x="1898922" y="2659319"/>
              <a:ext cx="621118" cy="603075"/>
            </a:xfrm>
            <a:custGeom>
              <a:avLst/>
              <a:gdLst>
                <a:gd name="T0" fmla="*/ 316 w 371"/>
                <a:gd name="T1" fmla="*/ 101 h 369"/>
                <a:gd name="T2" fmla="*/ 319 w 371"/>
                <a:gd name="T3" fmla="*/ 74 h 369"/>
                <a:gd name="T4" fmla="*/ 309 w 371"/>
                <a:gd name="T5" fmla="*/ 242 h 369"/>
                <a:gd name="T6" fmla="*/ 309 w 371"/>
                <a:gd name="T7" fmla="*/ 175 h 369"/>
                <a:gd name="T8" fmla="*/ 292 w 371"/>
                <a:gd name="T9" fmla="*/ 77 h 369"/>
                <a:gd name="T10" fmla="*/ 276 w 371"/>
                <a:gd name="T11" fmla="*/ 235 h 369"/>
                <a:gd name="T12" fmla="*/ 260 w 371"/>
                <a:gd name="T13" fmla="*/ 182 h 369"/>
                <a:gd name="T14" fmla="*/ 260 w 371"/>
                <a:gd name="T15" fmla="*/ 248 h 369"/>
                <a:gd name="T16" fmla="*/ 247 w 371"/>
                <a:gd name="T17" fmla="*/ 29 h 369"/>
                <a:gd name="T18" fmla="*/ 247 w 371"/>
                <a:gd name="T19" fmla="*/ 139 h 369"/>
                <a:gd name="T20" fmla="*/ 260 w 371"/>
                <a:gd name="T21" fmla="*/ 188 h 369"/>
                <a:gd name="T22" fmla="*/ 232 w 371"/>
                <a:gd name="T23" fmla="*/ 316 h 369"/>
                <a:gd name="T24" fmla="*/ 232 w 371"/>
                <a:gd name="T25" fmla="*/ 152 h 369"/>
                <a:gd name="T26" fmla="*/ 228 w 371"/>
                <a:gd name="T27" fmla="*/ 10 h 369"/>
                <a:gd name="T28" fmla="*/ 232 w 371"/>
                <a:gd name="T29" fmla="*/ 92 h 369"/>
                <a:gd name="T30" fmla="*/ 228 w 371"/>
                <a:gd name="T31" fmla="*/ 191 h 369"/>
                <a:gd name="T32" fmla="*/ 232 w 371"/>
                <a:gd name="T33" fmla="*/ 198 h 369"/>
                <a:gd name="T34" fmla="*/ 226 w 371"/>
                <a:gd name="T35" fmla="*/ 279 h 369"/>
                <a:gd name="T36" fmla="*/ 228 w 371"/>
                <a:gd name="T37" fmla="*/ 191 h 369"/>
                <a:gd name="T38" fmla="*/ 226 w 371"/>
                <a:gd name="T39" fmla="*/ 221 h 369"/>
                <a:gd name="T40" fmla="*/ 216 w 371"/>
                <a:gd name="T41" fmla="*/ 331 h 369"/>
                <a:gd name="T42" fmla="*/ 226 w 371"/>
                <a:gd name="T43" fmla="*/ 159 h 369"/>
                <a:gd name="T44" fmla="*/ 216 w 371"/>
                <a:gd name="T45" fmla="*/ 269 h 369"/>
                <a:gd name="T46" fmla="*/ 200 w 371"/>
                <a:gd name="T47" fmla="*/ 298 h 369"/>
                <a:gd name="T48" fmla="*/ 200 w 371"/>
                <a:gd name="T49" fmla="*/ 98 h 369"/>
                <a:gd name="T50" fmla="*/ 216 w 371"/>
                <a:gd name="T51" fmla="*/ 230 h 369"/>
                <a:gd name="T52" fmla="*/ 200 w 371"/>
                <a:gd name="T53" fmla="*/ 94 h 369"/>
                <a:gd name="T54" fmla="*/ 200 w 371"/>
                <a:gd name="T55" fmla="*/ 347 h 369"/>
                <a:gd name="T56" fmla="*/ 199 w 371"/>
                <a:gd name="T57" fmla="*/ 185 h 369"/>
                <a:gd name="T58" fmla="*/ 197 w 371"/>
                <a:gd name="T59" fmla="*/ 19 h 369"/>
                <a:gd name="T60" fmla="*/ 197 w 371"/>
                <a:gd name="T61" fmla="*/ 295 h 369"/>
                <a:gd name="T62" fmla="*/ 197 w 371"/>
                <a:gd name="T63" fmla="*/ 186 h 369"/>
                <a:gd name="T64" fmla="*/ 193 w 371"/>
                <a:gd name="T65" fmla="*/ 111 h 369"/>
                <a:gd name="T66" fmla="*/ 193 w 371"/>
                <a:gd name="T67" fmla="*/ 129 h 369"/>
                <a:gd name="T68" fmla="*/ 193 w 371"/>
                <a:gd name="T69" fmla="*/ 311 h 369"/>
                <a:gd name="T70" fmla="*/ 183 w 371"/>
                <a:gd name="T71" fmla="*/ 362 h 369"/>
                <a:gd name="T72" fmla="*/ 183 w 371"/>
                <a:gd name="T73" fmla="*/ 172 h 369"/>
                <a:gd name="T74" fmla="*/ 176 w 371"/>
                <a:gd name="T75" fmla="*/ 207 h 369"/>
                <a:gd name="T76" fmla="*/ 164 w 371"/>
                <a:gd name="T77" fmla="*/ 82 h 369"/>
                <a:gd name="T78" fmla="*/ 168 w 371"/>
                <a:gd name="T79" fmla="*/ 198 h 369"/>
                <a:gd name="T80" fmla="*/ 161 w 371"/>
                <a:gd name="T81" fmla="*/ 323 h 369"/>
                <a:gd name="T82" fmla="*/ 162 w 371"/>
                <a:gd name="T83" fmla="*/ 192 h 369"/>
                <a:gd name="T84" fmla="*/ 164 w 371"/>
                <a:gd name="T85" fmla="*/ 280 h 369"/>
                <a:gd name="T86" fmla="*/ 161 w 371"/>
                <a:gd name="T87" fmla="*/ 323 h 369"/>
                <a:gd name="T88" fmla="*/ 152 w 371"/>
                <a:gd name="T89" fmla="*/ 202 h 369"/>
                <a:gd name="T90" fmla="*/ 132 w 371"/>
                <a:gd name="T91" fmla="*/ 323 h 369"/>
                <a:gd name="T92" fmla="*/ 152 w 371"/>
                <a:gd name="T93" fmla="*/ 106 h 369"/>
                <a:gd name="T94" fmla="*/ 132 w 371"/>
                <a:gd name="T95" fmla="*/ 283 h 369"/>
                <a:gd name="T96" fmla="*/ 132 w 371"/>
                <a:gd name="T97" fmla="*/ 249 h 369"/>
                <a:gd name="T98" fmla="*/ 117 w 371"/>
                <a:gd name="T99" fmla="*/ 74 h 369"/>
                <a:gd name="T100" fmla="*/ 117 w 371"/>
                <a:gd name="T101" fmla="*/ 307 h 369"/>
                <a:gd name="T102" fmla="*/ 101 w 371"/>
                <a:gd name="T103" fmla="*/ 155 h 369"/>
                <a:gd name="T104" fmla="*/ 101 w 371"/>
                <a:gd name="T105" fmla="*/ 290 h 369"/>
                <a:gd name="T106" fmla="*/ 101 w 371"/>
                <a:gd name="T107" fmla="*/ 290 h 369"/>
                <a:gd name="T108" fmla="*/ 69 w 371"/>
                <a:gd name="T109" fmla="*/ 186 h 369"/>
                <a:gd name="T110" fmla="*/ 69 w 371"/>
                <a:gd name="T111" fmla="*/ 157 h 369"/>
                <a:gd name="T112" fmla="*/ 67 w 371"/>
                <a:gd name="T113" fmla="*/ 159 h 369"/>
                <a:gd name="T114" fmla="*/ 34 w 371"/>
                <a:gd name="T115" fmla="*/ 19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1" h="369">
                  <a:moveTo>
                    <a:pt x="309" y="35"/>
                  </a:moveTo>
                  <a:cubicBezTo>
                    <a:pt x="316" y="35"/>
                    <a:pt x="324" y="37"/>
                    <a:pt x="330" y="42"/>
                  </a:cubicBezTo>
                  <a:cubicBezTo>
                    <a:pt x="341" y="32"/>
                    <a:pt x="341" y="32"/>
                    <a:pt x="341" y="32"/>
                  </a:cubicBezTo>
                  <a:cubicBezTo>
                    <a:pt x="340" y="29"/>
                    <a:pt x="340" y="26"/>
                    <a:pt x="342" y="24"/>
                  </a:cubicBezTo>
                  <a:cubicBezTo>
                    <a:pt x="345" y="22"/>
                    <a:pt x="350" y="22"/>
                    <a:pt x="352" y="24"/>
                  </a:cubicBezTo>
                  <a:cubicBezTo>
                    <a:pt x="355" y="27"/>
                    <a:pt x="355" y="32"/>
                    <a:pt x="352" y="34"/>
                  </a:cubicBezTo>
                  <a:cubicBezTo>
                    <a:pt x="350" y="36"/>
                    <a:pt x="347" y="37"/>
                    <a:pt x="344" y="35"/>
                  </a:cubicBezTo>
                  <a:cubicBezTo>
                    <a:pt x="333" y="46"/>
                    <a:pt x="333" y="46"/>
                    <a:pt x="333" y="46"/>
                  </a:cubicBezTo>
                  <a:cubicBezTo>
                    <a:pt x="343" y="58"/>
                    <a:pt x="342" y="76"/>
                    <a:pt x="331" y="86"/>
                  </a:cubicBezTo>
                  <a:cubicBezTo>
                    <a:pt x="316" y="101"/>
                    <a:pt x="316" y="101"/>
                    <a:pt x="316" y="101"/>
                  </a:cubicBezTo>
                  <a:cubicBezTo>
                    <a:pt x="371" y="158"/>
                    <a:pt x="371" y="158"/>
                    <a:pt x="371" y="158"/>
                  </a:cubicBezTo>
                  <a:cubicBezTo>
                    <a:pt x="350" y="178"/>
                    <a:pt x="350" y="178"/>
                    <a:pt x="350" y="178"/>
                  </a:cubicBezTo>
                  <a:cubicBezTo>
                    <a:pt x="362" y="191"/>
                    <a:pt x="362" y="191"/>
                    <a:pt x="362" y="191"/>
                  </a:cubicBezTo>
                  <a:cubicBezTo>
                    <a:pt x="309" y="242"/>
                    <a:pt x="309" y="242"/>
                    <a:pt x="309" y="242"/>
                  </a:cubicBezTo>
                  <a:cubicBezTo>
                    <a:pt x="309" y="203"/>
                    <a:pt x="309" y="203"/>
                    <a:pt x="309" y="203"/>
                  </a:cubicBezTo>
                  <a:cubicBezTo>
                    <a:pt x="327" y="186"/>
                    <a:pt x="327" y="186"/>
                    <a:pt x="327" y="186"/>
                  </a:cubicBezTo>
                  <a:cubicBezTo>
                    <a:pt x="323" y="181"/>
                    <a:pt x="318" y="176"/>
                    <a:pt x="314" y="171"/>
                  </a:cubicBezTo>
                  <a:cubicBezTo>
                    <a:pt x="309" y="175"/>
                    <a:pt x="309" y="175"/>
                    <a:pt x="309" y="175"/>
                  </a:cubicBezTo>
                  <a:cubicBezTo>
                    <a:pt x="309" y="84"/>
                    <a:pt x="309" y="84"/>
                    <a:pt x="309" y="84"/>
                  </a:cubicBezTo>
                  <a:cubicBezTo>
                    <a:pt x="319" y="74"/>
                    <a:pt x="319" y="74"/>
                    <a:pt x="319" y="74"/>
                  </a:cubicBezTo>
                  <a:cubicBezTo>
                    <a:pt x="324" y="69"/>
                    <a:pt x="325" y="61"/>
                    <a:pt x="320" y="56"/>
                  </a:cubicBezTo>
                  <a:cubicBezTo>
                    <a:pt x="317" y="53"/>
                    <a:pt x="313" y="51"/>
                    <a:pt x="309" y="52"/>
                  </a:cubicBezTo>
                  <a:lnTo>
                    <a:pt x="309" y="35"/>
                  </a:lnTo>
                  <a:close/>
                  <a:moveTo>
                    <a:pt x="292" y="41"/>
                  </a:moveTo>
                  <a:cubicBezTo>
                    <a:pt x="297" y="37"/>
                    <a:pt x="303" y="35"/>
                    <a:pt x="309" y="35"/>
                  </a:cubicBezTo>
                  <a:cubicBezTo>
                    <a:pt x="309" y="52"/>
                    <a:pt x="309" y="52"/>
                    <a:pt x="309" y="52"/>
                  </a:cubicBezTo>
                  <a:cubicBezTo>
                    <a:pt x="306" y="52"/>
                    <a:pt x="303" y="53"/>
                    <a:pt x="301" y="55"/>
                  </a:cubicBezTo>
                  <a:cubicBezTo>
                    <a:pt x="292" y="63"/>
                    <a:pt x="292" y="63"/>
                    <a:pt x="292" y="63"/>
                  </a:cubicBezTo>
                  <a:cubicBezTo>
                    <a:pt x="292" y="41"/>
                    <a:pt x="292" y="41"/>
                    <a:pt x="292" y="41"/>
                  </a:cubicBezTo>
                  <a:close/>
                  <a:moveTo>
                    <a:pt x="309" y="242"/>
                  </a:moveTo>
                  <a:cubicBezTo>
                    <a:pt x="292" y="258"/>
                    <a:pt x="292" y="258"/>
                    <a:pt x="292" y="258"/>
                  </a:cubicBezTo>
                  <a:cubicBezTo>
                    <a:pt x="292" y="219"/>
                    <a:pt x="292" y="219"/>
                    <a:pt x="292" y="219"/>
                  </a:cubicBezTo>
                  <a:cubicBezTo>
                    <a:pt x="294" y="217"/>
                    <a:pt x="294" y="217"/>
                    <a:pt x="294" y="217"/>
                  </a:cubicBezTo>
                  <a:cubicBezTo>
                    <a:pt x="292" y="215"/>
                    <a:pt x="292" y="215"/>
                    <a:pt x="292" y="215"/>
                  </a:cubicBezTo>
                  <a:cubicBezTo>
                    <a:pt x="292" y="195"/>
                    <a:pt x="292" y="195"/>
                    <a:pt x="292" y="195"/>
                  </a:cubicBezTo>
                  <a:cubicBezTo>
                    <a:pt x="304" y="208"/>
                    <a:pt x="304" y="208"/>
                    <a:pt x="304" y="208"/>
                  </a:cubicBezTo>
                  <a:cubicBezTo>
                    <a:pt x="309" y="203"/>
                    <a:pt x="309" y="203"/>
                    <a:pt x="309" y="203"/>
                  </a:cubicBezTo>
                  <a:cubicBezTo>
                    <a:pt x="309" y="242"/>
                    <a:pt x="309" y="242"/>
                    <a:pt x="309" y="242"/>
                  </a:cubicBezTo>
                  <a:close/>
                  <a:moveTo>
                    <a:pt x="309" y="84"/>
                  </a:moveTo>
                  <a:cubicBezTo>
                    <a:pt x="309" y="175"/>
                    <a:pt x="309" y="175"/>
                    <a:pt x="309" y="175"/>
                  </a:cubicBezTo>
                  <a:cubicBezTo>
                    <a:pt x="292" y="191"/>
                    <a:pt x="292" y="191"/>
                    <a:pt x="292" y="191"/>
                  </a:cubicBezTo>
                  <a:cubicBezTo>
                    <a:pt x="292" y="77"/>
                    <a:pt x="292" y="77"/>
                    <a:pt x="292" y="77"/>
                  </a:cubicBezTo>
                  <a:cubicBezTo>
                    <a:pt x="304" y="89"/>
                    <a:pt x="304" y="89"/>
                    <a:pt x="304" y="89"/>
                  </a:cubicBezTo>
                  <a:lnTo>
                    <a:pt x="309" y="84"/>
                  </a:lnTo>
                  <a:close/>
                  <a:moveTo>
                    <a:pt x="276" y="56"/>
                  </a:moveTo>
                  <a:cubicBezTo>
                    <a:pt x="289" y="43"/>
                    <a:pt x="289" y="43"/>
                    <a:pt x="289" y="43"/>
                  </a:cubicBezTo>
                  <a:cubicBezTo>
                    <a:pt x="290" y="42"/>
                    <a:pt x="291" y="41"/>
                    <a:pt x="292" y="41"/>
                  </a:cubicBezTo>
                  <a:cubicBezTo>
                    <a:pt x="292" y="63"/>
                    <a:pt x="292" y="63"/>
                    <a:pt x="292" y="63"/>
                  </a:cubicBezTo>
                  <a:cubicBezTo>
                    <a:pt x="286" y="70"/>
                    <a:pt x="286" y="70"/>
                    <a:pt x="286" y="70"/>
                  </a:cubicBezTo>
                  <a:cubicBezTo>
                    <a:pt x="292" y="77"/>
                    <a:pt x="292" y="77"/>
                    <a:pt x="292" y="77"/>
                  </a:cubicBezTo>
                  <a:cubicBezTo>
                    <a:pt x="292" y="191"/>
                    <a:pt x="292" y="191"/>
                    <a:pt x="292" y="191"/>
                  </a:cubicBezTo>
                  <a:cubicBezTo>
                    <a:pt x="290" y="193"/>
                    <a:pt x="290" y="193"/>
                    <a:pt x="290" y="193"/>
                  </a:cubicBezTo>
                  <a:cubicBezTo>
                    <a:pt x="292" y="195"/>
                    <a:pt x="292" y="195"/>
                    <a:pt x="292" y="195"/>
                  </a:cubicBezTo>
                  <a:cubicBezTo>
                    <a:pt x="292" y="215"/>
                    <a:pt x="292" y="215"/>
                    <a:pt x="292" y="215"/>
                  </a:cubicBezTo>
                  <a:cubicBezTo>
                    <a:pt x="280" y="203"/>
                    <a:pt x="280" y="203"/>
                    <a:pt x="280" y="203"/>
                  </a:cubicBezTo>
                  <a:cubicBezTo>
                    <a:pt x="276" y="207"/>
                    <a:pt x="276" y="207"/>
                    <a:pt x="276" y="207"/>
                  </a:cubicBezTo>
                  <a:cubicBezTo>
                    <a:pt x="276" y="56"/>
                    <a:pt x="276" y="56"/>
                    <a:pt x="276" y="56"/>
                  </a:cubicBezTo>
                  <a:close/>
                  <a:moveTo>
                    <a:pt x="292" y="258"/>
                  </a:moveTo>
                  <a:cubicBezTo>
                    <a:pt x="276" y="274"/>
                    <a:pt x="276" y="274"/>
                    <a:pt x="276" y="274"/>
                  </a:cubicBezTo>
                  <a:cubicBezTo>
                    <a:pt x="276" y="235"/>
                    <a:pt x="276" y="235"/>
                    <a:pt x="276" y="235"/>
                  </a:cubicBezTo>
                  <a:cubicBezTo>
                    <a:pt x="292" y="219"/>
                    <a:pt x="292" y="219"/>
                    <a:pt x="292" y="219"/>
                  </a:cubicBezTo>
                  <a:lnTo>
                    <a:pt x="292" y="258"/>
                  </a:lnTo>
                  <a:close/>
                  <a:moveTo>
                    <a:pt x="260" y="43"/>
                  </a:moveTo>
                  <a:cubicBezTo>
                    <a:pt x="274" y="58"/>
                    <a:pt x="274" y="58"/>
                    <a:pt x="274" y="58"/>
                  </a:cubicBezTo>
                  <a:cubicBezTo>
                    <a:pt x="276" y="56"/>
                    <a:pt x="276" y="56"/>
                    <a:pt x="276" y="56"/>
                  </a:cubicBezTo>
                  <a:cubicBezTo>
                    <a:pt x="276" y="207"/>
                    <a:pt x="276" y="207"/>
                    <a:pt x="276" y="207"/>
                  </a:cubicBezTo>
                  <a:cubicBezTo>
                    <a:pt x="260" y="222"/>
                    <a:pt x="260" y="222"/>
                    <a:pt x="260" y="222"/>
                  </a:cubicBezTo>
                  <a:cubicBezTo>
                    <a:pt x="260" y="188"/>
                    <a:pt x="260" y="188"/>
                    <a:pt x="260" y="188"/>
                  </a:cubicBezTo>
                  <a:cubicBezTo>
                    <a:pt x="264" y="185"/>
                    <a:pt x="264" y="185"/>
                    <a:pt x="264" y="185"/>
                  </a:cubicBezTo>
                  <a:cubicBezTo>
                    <a:pt x="260" y="182"/>
                    <a:pt x="260" y="182"/>
                    <a:pt x="260" y="182"/>
                  </a:cubicBezTo>
                  <a:cubicBezTo>
                    <a:pt x="260" y="126"/>
                    <a:pt x="260" y="126"/>
                    <a:pt x="260" y="126"/>
                  </a:cubicBezTo>
                  <a:cubicBezTo>
                    <a:pt x="266" y="121"/>
                    <a:pt x="266" y="121"/>
                    <a:pt x="266" y="121"/>
                  </a:cubicBezTo>
                  <a:cubicBezTo>
                    <a:pt x="260" y="116"/>
                    <a:pt x="260" y="116"/>
                    <a:pt x="260" y="116"/>
                  </a:cubicBezTo>
                  <a:cubicBezTo>
                    <a:pt x="260" y="43"/>
                    <a:pt x="260" y="43"/>
                    <a:pt x="260" y="43"/>
                  </a:cubicBezTo>
                  <a:close/>
                  <a:moveTo>
                    <a:pt x="276" y="274"/>
                  </a:moveTo>
                  <a:cubicBezTo>
                    <a:pt x="269" y="280"/>
                    <a:pt x="269" y="280"/>
                    <a:pt x="269" y="280"/>
                  </a:cubicBezTo>
                  <a:cubicBezTo>
                    <a:pt x="260" y="288"/>
                    <a:pt x="260" y="288"/>
                    <a:pt x="260" y="288"/>
                  </a:cubicBezTo>
                  <a:cubicBezTo>
                    <a:pt x="260" y="250"/>
                    <a:pt x="260" y="250"/>
                    <a:pt x="260" y="250"/>
                  </a:cubicBezTo>
                  <a:cubicBezTo>
                    <a:pt x="261" y="249"/>
                    <a:pt x="261" y="249"/>
                    <a:pt x="261" y="249"/>
                  </a:cubicBezTo>
                  <a:cubicBezTo>
                    <a:pt x="260" y="248"/>
                    <a:pt x="260" y="248"/>
                    <a:pt x="260" y="248"/>
                  </a:cubicBezTo>
                  <a:cubicBezTo>
                    <a:pt x="260" y="228"/>
                    <a:pt x="260" y="228"/>
                    <a:pt x="260" y="228"/>
                  </a:cubicBezTo>
                  <a:cubicBezTo>
                    <a:pt x="271" y="240"/>
                    <a:pt x="271" y="240"/>
                    <a:pt x="271" y="240"/>
                  </a:cubicBezTo>
                  <a:cubicBezTo>
                    <a:pt x="276" y="235"/>
                    <a:pt x="276" y="235"/>
                    <a:pt x="276" y="235"/>
                  </a:cubicBezTo>
                  <a:lnTo>
                    <a:pt x="276" y="274"/>
                  </a:lnTo>
                  <a:close/>
                  <a:moveTo>
                    <a:pt x="247" y="29"/>
                  </a:moveTo>
                  <a:cubicBezTo>
                    <a:pt x="260" y="43"/>
                    <a:pt x="260" y="43"/>
                    <a:pt x="260" y="43"/>
                  </a:cubicBezTo>
                  <a:cubicBezTo>
                    <a:pt x="260" y="116"/>
                    <a:pt x="260" y="116"/>
                    <a:pt x="260" y="116"/>
                  </a:cubicBezTo>
                  <a:cubicBezTo>
                    <a:pt x="252" y="107"/>
                    <a:pt x="252" y="107"/>
                    <a:pt x="252" y="107"/>
                  </a:cubicBezTo>
                  <a:cubicBezTo>
                    <a:pt x="247" y="111"/>
                    <a:pt x="247" y="111"/>
                    <a:pt x="247" y="111"/>
                  </a:cubicBezTo>
                  <a:cubicBezTo>
                    <a:pt x="247" y="29"/>
                    <a:pt x="247" y="29"/>
                    <a:pt x="247" y="29"/>
                  </a:cubicBezTo>
                  <a:close/>
                  <a:moveTo>
                    <a:pt x="260" y="288"/>
                  </a:moveTo>
                  <a:cubicBezTo>
                    <a:pt x="247" y="301"/>
                    <a:pt x="247" y="301"/>
                    <a:pt x="247" y="301"/>
                  </a:cubicBezTo>
                  <a:cubicBezTo>
                    <a:pt x="247" y="262"/>
                    <a:pt x="247" y="262"/>
                    <a:pt x="247" y="262"/>
                  </a:cubicBezTo>
                  <a:cubicBezTo>
                    <a:pt x="260" y="250"/>
                    <a:pt x="260" y="250"/>
                    <a:pt x="260" y="250"/>
                  </a:cubicBezTo>
                  <a:cubicBezTo>
                    <a:pt x="260" y="288"/>
                    <a:pt x="260" y="288"/>
                    <a:pt x="260" y="288"/>
                  </a:cubicBezTo>
                  <a:close/>
                  <a:moveTo>
                    <a:pt x="260" y="126"/>
                  </a:moveTo>
                  <a:cubicBezTo>
                    <a:pt x="260" y="182"/>
                    <a:pt x="260" y="182"/>
                    <a:pt x="260" y="182"/>
                  </a:cubicBezTo>
                  <a:cubicBezTo>
                    <a:pt x="249" y="171"/>
                    <a:pt x="249" y="171"/>
                    <a:pt x="249" y="171"/>
                  </a:cubicBezTo>
                  <a:cubicBezTo>
                    <a:pt x="247" y="173"/>
                    <a:pt x="247" y="173"/>
                    <a:pt x="247" y="173"/>
                  </a:cubicBezTo>
                  <a:cubicBezTo>
                    <a:pt x="247" y="139"/>
                    <a:pt x="247" y="139"/>
                    <a:pt x="247" y="139"/>
                  </a:cubicBezTo>
                  <a:cubicBezTo>
                    <a:pt x="260" y="126"/>
                    <a:pt x="260" y="126"/>
                    <a:pt x="260" y="126"/>
                  </a:cubicBezTo>
                  <a:close/>
                  <a:moveTo>
                    <a:pt x="260" y="188"/>
                  </a:moveTo>
                  <a:cubicBezTo>
                    <a:pt x="260" y="222"/>
                    <a:pt x="260" y="222"/>
                    <a:pt x="260" y="222"/>
                  </a:cubicBezTo>
                  <a:cubicBezTo>
                    <a:pt x="257" y="225"/>
                    <a:pt x="257" y="225"/>
                    <a:pt x="257" y="225"/>
                  </a:cubicBezTo>
                  <a:cubicBezTo>
                    <a:pt x="260" y="228"/>
                    <a:pt x="260" y="228"/>
                    <a:pt x="260" y="228"/>
                  </a:cubicBezTo>
                  <a:cubicBezTo>
                    <a:pt x="260" y="248"/>
                    <a:pt x="260" y="248"/>
                    <a:pt x="260" y="248"/>
                  </a:cubicBezTo>
                  <a:cubicBezTo>
                    <a:pt x="247" y="235"/>
                    <a:pt x="247" y="235"/>
                    <a:pt x="247" y="235"/>
                  </a:cubicBezTo>
                  <a:cubicBezTo>
                    <a:pt x="247" y="235"/>
                    <a:pt x="247" y="235"/>
                    <a:pt x="247" y="235"/>
                  </a:cubicBezTo>
                  <a:cubicBezTo>
                    <a:pt x="247" y="201"/>
                    <a:pt x="247" y="201"/>
                    <a:pt x="247" y="201"/>
                  </a:cubicBezTo>
                  <a:lnTo>
                    <a:pt x="260" y="188"/>
                  </a:lnTo>
                  <a:close/>
                  <a:moveTo>
                    <a:pt x="232" y="13"/>
                  </a:moveTo>
                  <a:cubicBezTo>
                    <a:pt x="247" y="29"/>
                    <a:pt x="247" y="29"/>
                    <a:pt x="247" y="29"/>
                  </a:cubicBezTo>
                  <a:cubicBezTo>
                    <a:pt x="247" y="111"/>
                    <a:pt x="247" y="111"/>
                    <a:pt x="247" y="111"/>
                  </a:cubicBezTo>
                  <a:cubicBezTo>
                    <a:pt x="232" y="126"/>
                    <a:pt x="232" y="126"/>
                    <a:pt x="232" y="126"/>
                  </a:cubicBezTo>
                  <a:cubicBezTo>
                    <a:pt x="232" y="92"/>
                    <a:pt x="232" y="92"/>
                    <a:pt x="232" y="92"/>
                  </a:cubicBezTo>
                  <a:cubicBezTo>
                    <a:pt x="235" y="89"/>
                    <a:pt x="235" y="89"/>
                    <a:pt x="235" y="89"/>
                  </a:cubicBezTo>
                  <a:cubicBezTo>
                    <a:pt x="232" y="86"/>
                    <a:pt x="232" y="86"/>
                    <a:pt x="232" y="86"/>
                  </a:cubicBezTo>
                  <a:cubicBezTo>
                    <a:pt x="232" y="13"/>
                    <a:pt x="232" y="13"/>
                    <a:pt x="232" y="13"/>
                  </a:cubicBezTo>
                  <a:close/>
                  <a:moveTo>
                    <a:pt x="247" y="301"/>
                  </a:moveTo>
                  <a:cubicBezTo>
                    <a:pt x="232" y="316"/>
                    <a:pt x="232" y="316"/>
                    <a:pt x="232" y="316"/>
                  </a:cubicBezTo>
                  <a:cubicBezTo>
                    <a:pt x="232" y="265"/>
                    <a:pt x="232" y="265"/>
                    <a:pt x="232" y="265"/>
                  </a:cubicBezTo>
                  <a:cubicBezTo>
                    <a:pt x="238" y="271"/>
                    <a:pt x="238" y="271"/>
                    <a:pt x="238" y="271"/>
                  </a:cubicBezTo>
                  <a:cubicBezTo>
                    <a:pt x="247" y="262"/>
                    <a:pt x="247" y="262"/>
                    <a:pt x="247" y="262"/>
                  </a:cubicBezTo>
                  <a:cubicBezTo>
                    <a:pt x="247" y="301"/>
                    <a:pt x="247" y="301"/>
                    <a:pt x="247" y="301"/>
                  </a:cubicBezTo>
                  <a:close/>
                  <a:moveTo>
                    <a:pt x="247" y="139"/>
                  </a:moveTo>
                  <a:cubicBezTo>
                    <a:pt x="247" y="173"/>
                    <a:pt x="247" y="173"/>
                    <a:pt x="247" y="173"/>
                  </a:cubicBezTo>
                  <a:cubicBezTo>
                    <a:pt x="232" y="187"/>
                    <a:pt x="232" y="187"/>
                    <a:pt x="232" y="187"/>
                  </a:cubicBezTo>
                  <a:cubicBezTo>
                    <a:pt x="232" y="154"/>
                    <a:pt x="232" y="154"/>
                    <a:pt x="232" y="154"/>
                  </a:cubicBezTo>
                  <a:cubicBezTo>
                    <a:pt x="233" y="153"/>
                    <a:pt x="233" y="153"/>
                    <a:pt x="233" y="153"/>
                  </a:cubicBezTo>
                  <a:cubicBezTo>
                    <a:pt x="232" y="152"/>
                    <a:pt x="232" y="152"/>
                    <a:pt x="232" y="152"/>
                  </a:cubicBezTo>
                  <a:cubicBezTo>
                    <a:pt x="232" y="132"/>
                    <a:pt x="232" y="132"/>
                    <a:pt x="232" y="132"/>
                  </a:cubicBezTo>
                  <a:cubicBezTo>
                    <a:pt x="243" y="143"/>
                    <a:pt x="243" y="143"/>
                    <a:pt x="243" y="143"/>
                  </a:cubicBezTo>
                  <a:cubicBezTo>
                    <a:pt x="247" y="139"/>
                    <a:pt x="247" y="139"/>
                    <a:pt x="247" y="139"/>
                  </a:cubicBezTo>
                  <a:close/>
                  <a:moveTo>
                    <a:pt x="247" y="201"/>
                  </a:moveTo>
                  <a:cubicBezTo>
                    <a:pt x="247" y="235"/>
                    <a:pt x="247" y="235"/>
                    <a:pt x="247" y="235"/>
                  </a:cubicBezTo>
                  <a:cubicBezTo>
                    <a:pt x="232" y="249"/>
                    <a:pt x="232" y="249"/>
                    <a:pt x="232" y="249"/>
                  </a:cubicBezTo>
                  <a:cubicBezTo>
                    <a:pt x="232" y="198"/>
                    <a:pt x="232" y="198"/>
                    <a:pt x="232" y="198"/>
                  </a:cubicBezTo>
                  <a:cubicBezTo>
                    <a:pt x="240" y="207"/>
                    <a:pt x="240" y="207"/>
                    <a:pt x="240" y="207"/>
                  </a:cubicBezTo>
                  <a:lnTo>
                    <a:pt x="247" y="201"/>
                  </a:lnTo>
                  <a:close/>
                  <a:moveTo>
                    <a:pt x="228" y="10"/>
                  </a:moveTo>
                  <a:cubicBezTo>
                    <a:pt x="232" y="13"/>
                    <a:pt x="232" y="13"/>
                    <a:pt x="232" y="13"/>
                  </a:cubicBezTo>
                  <a:cubicBezTo>
                    <a:pt x="232" y="86"/>
                    <a:pt x="232" y="86"/>
                    <a:pt x="232" y="86"/>
                  </a:cubicBezTo>
                  <a:cubicBezTo>
                    <a:pt x="228" y="82"/>
                    <a:pt x="228" y="82"/>
                    <a:pt x="228" y="82"/>
                  </a:cubicBezTo>
                  <a:cubicBezTo>
                    <a:pt x="228" y="10"/>
                    <a:pt x="228" y="10"/>
                    <a:pt x="228" y="10"/>
                  </a:cubicBezTo>
                  <a:close/>
                  <a:moveTo>
                    <a:pt x="232" y="316"/>
                  </a:moveTo>
                  <a:cubicBezTo>
                    <a:pt x="228" y="319"/>
                    <a:pt x="228" y="319"/>
                    <a:pt x="228" y="319"/>
                  </a:cubicBezTo>
                  <a:cubicBezTo>
                    <a:pt x="228" y="261"/>
                    <a:pt x="228" y="261"/>
                    <a:pt x="228" y="261"/>
                  </a:cubicBezTo>
                  <a:cubicBezTo>
                    <a:pt x="232" y="265"/>
                    <a:pt x="232" y="265"/>
                    <a:pt x="232" y="265"/>
                  </a:cubicBezTo>
                  <a:cubicBezTo>
                    <a:pt x="232" y="316"/>
                    <a:pt x="232" y="316"/>
                    <a:pt x="232" y="316"/>
                  </a:cubicBezTo>
                  <a:close/>
                  <a:moveTo>
                    <a:pt x="232" y="92"/>
                  </a:moveTo>
                  <a:cubicBezTo>
                    <a:pt x="232" y="126"/>
                    <a:pt x="232" y="126"/>
                    <a:pt x="232" y="126"/>
                  </a:cubicBezTo>
                  <a:cubicBezTo>
                    <a:pt x="229" y="129"/>
                    <a:pt x="229" y="129"/>
                    <a:pt x="229" y="129"/>
                  </a:cubicBezTo>
                  <a:cubicBezTo>
                    <a:pt x="232" y="132"/>
                    <a:pt x="232" y="132"/>
                    <a:pt x="232" y="132"/>
                  </a:cubicBezTo>
                  <a:cubicBezTo>
                    <a:pt x="232" y="152"/>
                    <a:pt x="232" y="152"/>
                    <a:pt x="232" y="152"/>
                  </a:cubicBezTo>
                  <a:cubicBezTo>
                    <a:pt x="228" y="148"/>
                    <a:pt x="228" y="148"/>
                    <a:pt x="228" y="148"/>
                  </a:cubicBezTo>
                  <a:cubicBezTo>
                    <a:pt x="228" y="95"/>
                    <a:pt x="228" y="95"/>
                    <a:pt x="228" y="95"/>
                  </a:cubicBezTo>
                  <a:cubicBezTo>
                    <a:pt x="232" y="92"/>
                    <a:pt x="232" y="92"/>
                    <a:pt x="232" y="92"/>
                  </a:cubicBezTo>
                  <a:close/>
                  <a:moveTo>
                    <a:pt x="232" y="154"/>
                  </a:moveTo>
                  <a:cubicBezTo>
                    <a:pt x="232" y="187"/>
                    <a:pt x="232" y="187"/>
                    <a:pt x="232" y="187"/>
                  </a:cubicBezTo>
                  <a:cubicBezTo>
                    <a:pt x="228" y="191"/>
                    <a:pt x="228" y="191"/>
                    <a:pt x="228" y="191"/>
                  </a:cubicBezTo>
                  <a:cubicBezTo>
                    <a:pt x="228" y="157"/>
                    <a:pt x="228" y="157"/>
                    <a:pt x="228" y="157"/>
                  </a:cubicBezTo>
                  <a:cubicBezTo>
                    <a:pt x="232" y="154"/>
                    <a:pt x="232" y="154"/>
                    <a:pt x="232" y="154"/>
                  </a:cubicBezTo>
                  <a:close/>
                  <a:moveTo>
                    <a:pt x="232" y="198"/>
                  </a:moveTo>
                  <a:cubicBezTo>
                    <a:pt x="232" y="249"/>
                    <a:pt x="232" y="249"/>
                    <a:pt x="232" y="249"/>
                  </a:cubicBezTo>
                  <a:cubicBezTo>
                    <a:pt x="228" y="253"/>
                    <a:pt x="228" y="253"/>
                    <a:pt x="228" y="253"/>
                  </a:cubicBezTo>
                  <a:cubicBezTo>
                    <a:pt x="228" y="219"/>
                    <a:pt x="228" y="219"/>
                    <a:pt x="228" y="219"/>
                  </a:cubicBezTo>
                  <a:cubicBezTo>
                    <a:pt x="230" y="217"/>
                    <a:pt x="230" y="217"/>
                    <a:pt x="230" y="217"/>
                  </a:cubicBezTo>
                  <a:cubicBezTo>
                    <a:pt x="228" y="215"/>
                    <a:pt x="228" y="215"/>
                    <a:pt x="228" y="215"/>
                  </a:cubicBezTo>
                  <a:cubicBezTo>
                    <a:pt x="228" y="195"/>
                    <a:pt x="228" y="195"/>
                    <a:pt x="228" y="195"/>
                  </a:cubicBezTo>
                  <a:lnTo>
                    <a:pt x="232" y="198"/>
                  </a:lnTo>
                  <a:close/>
                  <a:moveTo>
                    <a:pt x="226" y="7"/>
                  </a:moveTo>
                  <a:cubicBezTo>
                    <a:pt x="228" y="10"/>
                    <a:pt x="228" y="10"/>
                    <a:pt x="228" y="10"/>
                  </a:cubicBezTo>
                  <a:cubicBezTo>
                    <a:pt x="228" y="82"/>
                    <a:pt x="228" y="82"/>
                    <a:pt x="228" y="82"/>
                  </a:cubicBezTo>
                  <a:cubicBezTo>
                    <a:pt x="226" y="80"/>
                    <a:pt x="226" y="80"/>
                    <a:pt x="226" y="80"/>
                  </a:cubicBezTo>
                  <a:cubicBezTo>
                    <a:pt x="226" y="7"/>
                    <a:pt x="226" y="7"/>
                    <a:pt x="226" y="7"/>
                  </a:cubicBezTo>
                  <a:close/>
                  <a:moveTo>
                    <a:pt x="228" y="319"/>
                  </a:moveTo>
                  <a:cubicBezTo>
                    <a:pt x="226" y="321"/>
                    <a:pt x="226" y="321"/>
                    <a:pt x="226" y="321"/>
                  </a:cubicBezTo>
                  <a:cubicBezTo>
                    <a:pt x="226" y="283"/>
                    <a:pt x="226" y="283"/>
                    <a:pt x="226" y="283"/>
                  </a:cubicBezTo>
                  <a:cubicBezTo>
                    <a:pt x="228" y="281"/>
                    <a:pt x="228" y="281"/>
                    <a:pt x="228" y="281"/>
                  </a:cubicBezTo>
                  <a:cubicBezTo>
                    <a:pt x="226" y="279"/>
                    <a:pt x="226" y="279"/>
                    <a:pt x="226" y="279"/>
                  </a:cubicBezTo>
                  <a:cubicBezTo>
                    <a:pt x="226" y="259"/>
                    <a:pt x="226" y="259"/>
                    <a:pt x="226" y="259"/>
                  </a:cubicBezTo>
                  <a:cubicBezTo>
                    <a:pt x="228" y="261"/>
                    <a:pt x="228" y="261"/>
                    <a:pt x="228" y="261"/>
                  </a:cubicBezTo>
                  <a:cubicBezTo>
                    <a:pt x="228" y="319"/>
                    <a:pt x="228" y="319"/>
                    <a:pt x="228" y="319"/>
                  </a:cubicBezTo>
                  <a:close/>
                  <a:moveTo>
                    <a:pt x="228" y="95"/>
                  </a:moveTo>
                  <a:cubicBezTo>
                    <a:pt x="228" y="148"/>
                    <a:pt x="228" y="148"/>
                    <a:pt x="228" y="148"/>
                  </a:cubicBezTo>
                  <a:cubicBezTo>
                    <a:pt x="226" y="146"/>
                    <a:pt x="226" y="146"/>
                    <a:pt x="226" y="146"/>
                  </a:cubicBezTo>
                  <a:cubicBezTo>
                    <a:pt x="226" y="97"/>
                    <a:pt x="226" y="97"/>
                    <a:pt x="226" y="97"/>
                  </a:cubicBezTo>
                  <a:cubicBezTo>
                    <a:pt x="228" y="95"/>
                    <a:pt x="228" y="95"/>
                    <a:pt x="228" y="95"/>
                  </a:cubicBezTo>
                  <a:close/>
                  <a:moveTo>
                    <a:pt x="228" y="157"/>
                  </a:moveTo>
                  <a:cubicBezTo>
                    <a:pt x="228" y="191"/>
                    <a:pt x="228" y="191"/>
                    <a:pt x="228" y="191"/>
                  </a:cubicBezTo>
                  <a:cubicBezTo>
                    <a:pt x="226" y="193"/>
                    <a:pt x="226" y="193"/>
                    <a:pt x="226" y="193"/>
                  </a:cubicBezTo>
                  <a:cubicBezTo>
                    <a:pt x="228" y="195"/>
                    <a:pt x="228" y="195"/>
                    <a:pt x="228" y="195"/>
                  </a:cubicBezTo>
                  <a:cubicBezTo>
                    <a:pt x="228" y="215"/>
                    <a:pt x="228" y="215"/>
                    <a:pt x="228" y="215"/>
                  </a:cubicBezTo>
                  <a:cubicBezTo>
                    <a:pt x="226" y="212"/>
                    <a:pt x="226" y="212"/>
                    <a:pt x="226" y="212"/>
                  </a:cubicBezTo>
                  <a:cubicBezTo>
                    <a:pt x="226" y="159"/>
                    <a:pt x="226" y="159"/>
                    <a:pt x="226" y="159"/>
                  </a:cubicBezTo>
                  <a:cubicBezTo>
                    <a:pt x="228" y="157"/>
                    <a:pt x="228" y="157"/>
                    <a:pt x="228" y="157"/>
                  </a:cubicBezTo>
                  <a:close/>
                  <a:moveTo>
                    <a:pt x="228" y="219"/>
                  </a:moveTo>
                  <a:cubicBezTo>
                    <a:pt x="228" y="253"/>
                    <a:pt x="228" y="253"/>
                    <a:pt x="228" y="253"/>
                  </a:cubicBezTo>
                  <a:cubicBezTo>
                    <a:pt x="226" y="255"/>
                    <a:pt x="226" y="255"/>
                    <a:pt x="226" y="255"/>
                  </a:cubicBezTo>
                  <a:cubicBezTo>
                    <a:pt x="226" y="221"/>
                    <a:pt x="226" y="221"/>
                    <a:pt x="226" y="221"/>
                  </a:cubicBezTo>
                  <a:lnTo>
                    <a:pt x="228" y="219"/>
                  </a:lnTo>
                  <a:close/>
                  <a:moveTo>
                    <a:pt x="216" y="3"/>
                  </a:moveTo>
                  <a:cubicBezTo>
                    <a:pt x="219" y="0"/>
                    <a:pt x="219" y="0"/>
                    <a:pt x="219" y="0"/>
                  </a:cubicBezTo>
                  <a:cubicBezTo>
                    <a:pt x="226" y="7"/>
                    <a:pt x="226" y="7"/>
                    <a:pt x="226" y="7"/>
                  </a:cubicBezTo>
                  <a:cubicBezTo>
                    <a:pt x="226" y="80"/>
                    <a:pt x="226" y="80"/>
                    <a:pt x="226" y="80"/>
                  </a:cubicBezTo>
                  <a:cubicBezTo>
                    <a:pt x="221" y="74"/>
                    <a:pt x="221" y="74"/>
                    <a:pt x="221" y="74"/>
                  </a:cubicBezTo>
                  <a:cubicBezTo>
                    <a:pt x="216" y="79"/>
                    <a:pt x="216" y="79"/>
                    <a:pt x="216" y="79"/>
                  </a:cubicBezTo>
                  <a:cubicBezTo>
                    <a:pt x="216" y="3"/>
                    <a:pt x="216" y="3"/>
                    <a:pt x="216" y="3"/>
                  </a:cubicBezTo>
                  <a:close/>
                  <a:moveTo>
                    <a:pt x="226" y="321"/>
                  </a:moveTo>
                  <a:cubicBezTo>
                    <a:pt x="216" y="331"/>
                    <a:pt x="216" y="331"/>
                    <a:pt x="216" y="331"/>
                  </a:cubicBezTo>
                  <a:cubicBezTo>
                    <a:pt x="216" y="292"/>
                    <a:pt x="216" y="292"/>
                    <a:pt x="216" y="292"/>
                  </a:cubicBezTo>
                  <a:cubicBezTo>
                    <a:pt x="226" y="283"/>
                    <a:pt x="226" y="283"/>
                    <a:pt x="226" y="283"/>
                  </a:cubicBezTo>
                  <a:cubicBezTo>
                    <a:pt x="226" y="321"/>
                    <a:pt x="226" y="321"/>
                    <a:pt x="226" y="321"/>
                  </a:cubicBezTo>
                  <a:close/>
                  <a:moveTo>
                    <a:pt x="226" y="97"/>
                  </a:moveTo>
                  <a:cubicBezTo>
                    <a:pt x="226" y="146"/>
                    <a:pt x="226" y="146"/>
                    <a:pt x="226" y="146"/>
                  </a:cubicBezTo>
                  <a:cubicBezTo>
                    <a:pt x="219" y="138"/>
                    <a:pt x="219" y="138"/>
                    <a:pt x="219" y="138"/>
                  </a:cubicBezTo>
                  <a:cubicBezTo>
                    <a:pt x="216" y="141"/>
                    <a:pt x="216" y="141"/>
                    <a:pt x="216" y="141"/>
                  </a:cubicBezTo>
                  <a:cubicBezTo>
                    <a:pt x="216" y="107"/>
                    <a:pt x="216" y="107"/>
                    <a:pt x="216" y="107"/>
                  </a:cubicBezTo>
                  <a:cubicBezTo>
                    <a:pt x="226" y="97"/>
                    <a:pt x="226" y="97"/>
                    <a:pt x="226" y="97"/>
                  </a:cubicBezTo>
                  <a:close/>
                  <a:moveTo>
                    <a:pt x="226" y="159"/>
                  </a:moveTo>
                  <a:cubicBezTo>
                    <a:pt x="226" y="212"/>
                    <a:pt x="226" y="212"/>
                    <a:pt x="226" y="212"/>
                  </a:cubicBezTo>
                  <a:cubicBezTo>
                    <a:pt x="216" y="202"/>
                    <a:pt x="216" y="202"/>
                    <a:pt x="216" y="202"/>
                  </a:cubicBezTo>
                  <a:cubicBezTo>
                    <a:pt x="216" y="168"/>
                    <a:pt x="216" y="168"/>
                    <a:pt x="216" y="168"/>
                  </a:cubicBezTo>
                  <a:cubicBezTo>
                    <a:pt x="226" y="159"/>
                    <a:pt x="226" y="159"/>
                    <a:pt x="226" y="159"/>
                  </a:cubicBezTo>
                  <a:close/>
                  <a:moveTo>
                    <a:pt x="226" y="221"/>
                  </a:moveTo>
                  <a:cubicBezTo>
                    <a:pt x="226" y="255"/>
                    <a:pt x="226" y="255"/>
                    <a:pt x="226" y="255"/>
                  </a:cubicBezTo>
                  <a:cubicBezTo>
                    <a:pt x="224" y="257"/>
                    <a:pt x="224" y="257"/>
                    <a:pt x="224" y="257"/>
                  </a:cubicBezTo>
                  <a:cubicBezTo>
                    <a:pt x="226" y="259"/>
                    <a:pt x="226" y="259"/>
                    <a:pt x="226" y="259"/>
                  </a:cubicBezTo>
                  <a:cubicBezTo>
                    <a:pt x="226" y="279"/>
                    <a:pt x="226" y="279"/>
                    <a:pt x="226" y="279"/>
                  </a:cubicBezTo>
                  <a:cubicBezTo>
                    <a:pt x="216" y="269"/>
                    <a:pt x="216" y="269"/>
                    <a:pt x="216" y="269"/>
                  </a:cubicBezTo>
                  <a:cubicBezTo>
                    <a:pt x="216" y="230"/>
                    <a:pt x="216" y="230"/>
                    <a:pt x="216" y="230"/>
                  </a:cubicBezTo>
                  <a:lnTo>
                    <a:pt x="226" y="221"/>
                  </a:lnTo>
                  <a:close/>
                  <a:moveTo>
                    <a:pt x="200" y="19"/>
                  </a:moveTo>
                  <a:cubicBezTo>
                    <a:pt x="216" y="3"/>
                    <a:pt x="216" y="3"/>
                    <a:pt x="216" y="3"/>
                  </a:cubicBezTo>
                  <a:cubicBezTo>
                    <a:pt x="216" y="79"/>
                    <a:pt x="216" y="79"/>
                    <a:pt x="216" y="79"/>
                  </a:cubicBezTo>
                  <a:cubicBezTo>
                    <a:pt x="200" y="94"/>
                    <a:pt x="200" y="94"/>
                    <a:pt x="200" y="94"/>
                  </a:cubicBezTo>
                  <a:cubicBezTo>
                    <a:pt x="200" y="19"/>
                    <a:pt x="200" y="19"/>
                    <a:pt x="200" y="19"/>
                  </a:cubicBezTo>
                  <a:close/>
                  <a:moveTo>
                    <a:pt x="216" y="331"/>
                  </a:moveTo>
                  <a:cubicBezTo>
                    <a:pt x="200" y="347"/>
                    <a:pt x="200" y="347"/>
                    <a:pt x="200" y="347"/>
                  </a:cubicBezTo>
                  <a:cubicBezTo>
                    <a:pt x="200" y="298"/>
                    <a:pt x="200" y="298"/>
                    <a:pt x="200" y="298"/>
                  </a:cubicBezTo>
                  <a:cubicBezTo>
                    <a:pt x="205" y="303"/>
                    <a:pt x="205" y="303"/>
                    <a:pt x="205" y="303"/>
                  </a:cubicBezTo>
                  <a:cubicBezTo>
                    <a:pt x="216" y="292"/>
                    <a:pt x="216" y="292"/>
                    <a:pt x="216" y="292"/>
                  </a:cubicBezTo>
                  <a:cubicBezTo>
                    <a:pt x="216" y="331"/>
                    <a:pt x="216" y="331"/>
                    <a:pt x="216" y="331"/>
                  </a:cubicBezTo>
                  <a:close/>
                  <a:moveTo>
                    <a:pt x="216" y="107"/>
                  </a:moveTo>
                  <a:cubicBezTo>
                    <a:pt x="216" y="141"/>
                    <a:pt x="216" y="141"/>
                    <a:pt x="216" y="141"/>
                  </a:cubicBezTo>
                  <a:cubicBezTo>
                    <a:pt x="200" y="156"/>
                    <a:pt x="200" y="156"/>
                    <a:pt x="200" y="156"/>
                  </a:cubicBezTo>
                  <a:cubicBezTo>
                    <a:pt x="200" y="123"/>
                    <a:pt x="200" y="123"/>
                    <a:pt x="200" y="123"/>
                  </a:cubicBezTo>
                  <a:cubicBezTo>
                    <a:pt x="202" y="121"/>
                    <a:pt x="202" y="121"/>
                    <a:pt x="202" y="121"/>
                  </a:cubicBezTo>
                  <a:cubicBezTo>
                    <a:pt x="200" y="119"/>
                    <a:pt x="200" y="119"/>
                    <a:pt x="200" y="119"/>
                  </a:cubicBezTo>
                  <a:cubicBezTo>
                    <a:pt x="200" y="98"/>
                    <a:pt x="200" y="98"/>
                    <a:pt x="200" y="98"/>
                  </a:cubicBezTo>
                  <a:cubicBezTo>
                    <a:pt x="212" y="111"/>
                    <a:pt x="212" y="111"/>
                    <a:pt x="212" y="111"/>
                  </a:cubicBezTo>
                  <a:cubicBezTo>
                    <a:pt x="216" y="107"/>
                    <a:pt x="216" y="107"/>
                    <a:pt x="216" y="107"/>
                  </a:cubicBezTo>
                  <a:close/>
                  <a:moveTo>
                    <a:pt x="216" y="168"/>
                  </a:moveTo>
                  <a:cubicBezTo>
                    <a:pt x="216" y="202"/>
                    <a:pt x="216" y="202"/>
                    <a:pt x="216" y="202"/>
                  </a:cubicBezTo>
                  <a:cubicBezTo>
                    <a:pt x="216" y="202"/>
                    <a:pt x="216" y="202"/>
                    <a:pt x="216" y="202"/>
                  </a:cubicBezTo>
                  <a:cubicBezTo>
                    <a:pt x="200" y="218"/>
                    <a:pt x="200" y="218"/>
                    <a:pt x="200" y="218"/>
                  </a:cubicBezTo>
                  <a:cubicBezTo>
                    <a:pt x="200" y="165"/>
                    <a:pt x="200" y="165"/>
                    <a:pt x="200" y="165"/>
                  </a:cubicBezTo>
                  <a:cubicBezTo>
                    <a:pt x="209" y="175"/>
                    <a:pt x="209" y="175"/>
                    <a:pt x="209" y="175"/>
                  </a:cubicBezTo>
                  <a:cubicBezTo>
                    <a:pt x="216" y="168"/>
                    <a:pt x="216" y="168"/>
                    <a:pt x="216" y="168"/>
                  </a:cubicBezTo>
                  <a:close/>
                  <a:moveTo>
                    <a:pt x="216" y="230"/>
                  </a:moveTo>
                  <a:cubicBezTo>
                    <a:pt x="216" y="269"/>
                    <a:pt x="216" y="269"/>
                    <a:pt x="216" y="269"/>
                  </a:cubicBezTo>
                  <a:cubicBezTo>
                    <a:pt x="214" y="266"/>
                    <a:pt x="214" y="266"/>
                    <a:pt x="214" y="266"/>
                  </a:cubicBezTo>
                  <a:cubicBezTo>
                    <a:pt x="200" y="280"/>
                    <a:pt x="200" y="280"/>
                    <a:pt x="200" y="280"/>
                  </a:cubicBezTo>
                  <a:cubicBezTo>
                    <a:pt x="200" y="231"/>
                    <a:pt x="200" y="231"/>
                    <a:pt x="200" y="231"/>
                  </a:cubicBezTo>
                  <a:cubicBezTo>
                    <a:pt x="207" y="239"/>
                    <a:pt x="207" y="239"/>
                    <a:pt x="207" y="239"/>
                  </a:cubicBezTo>
                  <a:lnTo>
                    <a:pt x="216" y="230"/>
                  </a:lnTo>
                  <a:close/>
                  <a:moveTo>
                    <a:pt x="197" y="19"/>
                  </a:moveTo>
                  <a:cubicBezTo>
                    <a:pt x="198" y="20"/>
                    <a:pt x="198" y="20"/>
                    <a:pt x="198" y="20"/>
                  </a:cubicBezTo>
                  <a:cubicBezTo>
                    <a:pt x="200" y="19"/>
                    <a:pt x="200" y="19"/>
                    <a:pt x="200" y="19"/>
                  </a:cubicBezTo>
                  <a:cubicBezTo>
                    <a:pt x="200" y="94"/>
                    <a:pt x="200" y="94"/>
                    <a:pt x="200" y="94"/>
                  </a:cubicBezTo>
                  <a:cubicBezTo>
                    <a:pt x="198" y="96"/>
                    <a:pt x="198" y="96"/>
                    <a:pt x="198" y="96"/>
                  </a:cubicBezTo>
                  <a:cubicBezTo>
                    <a:pt x="200" y="98"/>
                    <a:pt x="200" y="98"/>
                    <a:pt x="200" y="98"/>
                  </a:cubicBezTo>
                  <a:cubicBezTo>
                    <a:pt x="200" y="119"/>
                    <a:pt x="200" y="119"/>
                    <a:pt x="200" y="119"/>
                  </a:cubicBezTo>
                  <a:cubicBezTo>
                    <a:pt x="197" y="116"/>
                    <a:pt x="197" y="116"/>
                    <a:pt x="197" y="116"/>
                  </a:cubicBezTo>
                  <a:cubicBezTo>
                    <a:pt x="197" y="19"/>
                    <a:pt x="197" y="19"/>
                    <a:pt x="197" y="19"/>
                  </a:cubicBezTo>
                  <a:close/>
                  <a:moveTo>
                    <a:pt x="200" y="347"/>
                  </a:moveTo>
                  <a:cubicBezTo>
                    <a:pt x="197" y="349"/>
                    <a:pt x="197" y="349"/>
                    <a:pt x="197" y="349"/>
                  </a:cubicBezTo>
                  <a:cubicBezTo>
                    <a:pt x="197" y="295"/>
                    <a:pt x="197" y="295"/>
                    <a:pt x="197" y="295"/>
                  </a:cubicBezTo>
                  <a:cubicBezTo>
                    <a:pt x="200" y="298"/>
                    <a:pt x="200" y="298"/>
                    <a:pt x="200" y="298"/>
                  </a:cubicBezTo>
                  <a:cubicBezTo>
                    <a:pt x="200" y="347"/>
                    <a:pt x="200" y="347"/>
                    <a:pt x="200" y="347"/>
                  </a:cubicBezTo>
                  <a:close/>
                  <a:moveTo>
                    <a:pt x="200" y="123"/>
                  </a:moveTo>
                  <a:cubicBezTo>
                    <a:pt x="200" y="156"/>
                    <a:pt x="200" y="156"/>
                    <a:pt x="200" y="156"/>
                  </a:cubicBezTo>
                  <a:cubicBezTo>
                    <a:pt x="197" y="159"/>
                    <a:pt x="197" y="159"/>
                    <a:pt x="197" y="159"/>
                  </a:cubicBezTo>
                  <a:cubicBezTo>
                    <a:pt x="197" y="125"/>
                    <a:pt x="197" y="125"/>
                    <a:pt x="197" y="125"/>
                  </a:cubicBezTo>
                  <a:cubicBezTo>
                    <a:pt x="200" y="123"/>
                    <a:pt x="200" y="123"/>
                    <a:pt x="200" y="123"/>
                  </a:cubicBezTo>
                  <a:close/>
                  <a:moveTo>
                    <a:pt x="200" y="165"/>
                  </a:moveTo>
                  <a:cubicBezTo>
                    <a:pt x="200" y="218"/>
                    <a:pt x="200" y="218"/>
                    <a:pt x="200" y="218"/>
                  </a:cubicBezTo>
                  <a:cubicBezTo>
                    <a:pt x="197" y="220"/>
                    <a:pt x="197" y="220"/>
                    <a:pt x="197" y="220"/>
                  </a:cubicBezTo>
                  <a:cubicBezTo>
                    <a:pt x="197" y="186"/>
                    <a:pt x="197" y="186"/>
                    <a:pt x="197" y="186"/>
                  </a:cubicBezTo>
                  <a:cubicBezTo>
                    <a:pt x="199" y="185"/>
                    <a:pt x="199" y="185"/>
                    <a:pt x="199" y="185"/>
                  </a:cubicBezTo>
                  <a:cubicBezTo>
                    <a:pt x="197" y="183"/>
                    <a:pt x="197" y="183"/>
                    <a:pt x="197" y="183"/>
                  </a:cubicBezTo>
                  <a:cubicBezTo>
                    <a:pt x="197" y="163"/>
                    <a:pt x="197" y="163"/>
                    <a:pt x="197" y="163"/>
                  </a:cubicBezTo>
                  <a:cubicBezTo>
                    <a:pt x="200" y="165"/>
                    <a:pt x="200" y="165"/>
                    <a:pt x="200" y="165"/>
                  </a:cubicBezTo>
                  <a:close/>
                  <a:moveTo>
                    <a:pt x="200" y="231"/>
                  </a:moveTo>
                  <a:cubicBezTo>
                    <a:pt x="200" y="280"/>
                    <a:pt x="200" y="280"/>
                    <a:pt x="200" y="280"/>
                  </a:cubicBezTo>
                  <a:cubicBezTo>
                    <a:pt x="197" y="282"/>
                    <a:pt x="197" y="282"/>
                    <a:pt x="197" y="282"/>
                  </a:cubicBezTo>
                  <a:cubicBezTo>
                    <a:pt x="197" y="229"/>
                    <a:pt x="197" y="229"/>
                    <a:pt x="197" y="229"/>
                  </a:cubicBezTo>
                  <a:lnTo>
                    <a:pt x="200" y="231"/>
                  </a:lnTo>
                  <a:close/>
                  <a:moveTo>
                    <a:pt x="193" y="14"/>
                  </a:moveTo>
                  <a:cubicBezTo>
                    <a:pt x="197" y="19"/>
                    <a:pt x="197" y="19"/>
                    <a:pt x="197" y="19"/>
                  </a:cubicBezTo>
                  <a:cubicBezTo>
                    <a:pt x="197" y="116"/>
                    <a:pt x="197" y="116"/>
                    <a:pt x="197" y="116"/>
                  </a:cubicBezTo>
                  <a:cubicBezTo>
                    <a:pt x="193" y="111"/>
                    <a:pt x="193" y="111"/>
                    <a:pt x="193" y="111"/>
                  </a:cubicBezTo>
                  <a:cubicBezTo>
                    <a:pt x="193" y="14"/>
                    <a:pt x="193" y="14"/>
                    <a:pt x="193" y="14"/>
                  </a:cubicBezTo>
                  <a:close/>
                  <a:moveTo>
                    <a:pt x="197" y="349"/>
                  </a:moveTo>
                  <a:cubicBezTo>
                    <a:pt x="193" y="353"/>
                    <a:pt x="193" y="353"/>
                    <a:pt x="193" y="353"/>
                  </a:cubicBezTo>
                  <a:cubicBezTo>
                    <a:pt x="193" y="314"/>
                    <a:pt x="193" y="314"/>
                    <a:pt x="193" y="314"/>
                  </a:cubicBezTo>
                  <a:cubicBezTo>
                    <a:pt x="195" y="313"/>
                    <a:pt x="195" y="313"/>
                    <a:pt x="195" y="313"/>
                  </a:cubicBezTo>
                  <a:cubicBezTo>
                    <a:pt x="193" y="311"/>
                    <a:pt x="193" y="311"/>
                    <a:pt x="193" y="311"/>
                  </a:cubicBezTo>
                  <a:cubicBezTo>
                    <a:pt x="193" y="290"/>
                    <a:pt x="193" y="290"/>
                    <a:pt x="193" y="290"/>
                  </a:cubicBezTo>
                  <a:cubicBezTo>
                    <a:pt x="197" y="295"/>
                    <a:pt x="197" y="295"/>
                    <a:pt x="197" y="295"/>
                  </a:cubicBezTo>
                  <a:cubicBezTo>
                    <a:pt x="197" y="349"/>
                    <a:pt x="197" y="349"/>
                    <a:pt x="197" y="349"/>
                  </a:cubicBezTo>
                  <a:close/>
                  <a:moveTo>
                    <a:pt x="197" y="125"/>
                  </a:moveTo>
                  <a:cubicBezTo>
                    <a:pt x="197" y="159"/>
                    <a:pt x="197" y="159"/>
                    <a:pt x="197" y="159"/>
                  </a:cubicBezTo>
                  <a:cubicBezTo>
                    <a:pt x="196" y="161"/>
                    <a:pt x="196" y="161"/>
                    <a:pt x="196" y="161"/>
                  </a:cubicBezTo>
                  <a:cubicBezTo>
                    <a:pt x="197" y="163"/>
                    <a:pt x="197" y="163"/>
                    <a:pt x="197" y="163"/>
                  </a:cubicBezTo>
                  <a:cubicBezTo>
                    <a:pt x="197" y="183"/>
                    <a:pt x="197" y="183"/>
                    <a:pt x="197" y="183"/>
                  </a:cubicBezTo>
                  <a:cubicBezTo>
                    <a:pt x="193" y="178"/>
                    <a:pt x="193" y="178"/>
                    <a:pt x="193" y="178"/>
                  </a:cubicBezTo>
                  <a:cubicBezTo>
                    <a:pt x="193" y="129"/>
                    <a:pt x="193" y="129"/>
                    <a:pt x="193" y="129"/>
                  </a:cubicBezTo>
                  <a:cubicBezTo>
                    <a:pt x="197" y="125"/>
                    <a:pt x="197" y="125"/>
                    <a:pt x="197" y="125"/>
                  </a:cubicBezTo>
                  <a:close/>
                  <a:moveTo>
                    <a:pt x="197" y="186"/>
                  </a:moveTo>
                  <a:cubicBezTo>
                    <a:pt x="197" y="220"/>
                    <a:pt x="197" y="220"/>
                    <a:pt x="197" y="220"/>
                  </a:cubicBezTo>
                  <a:cubicBezTo>
                    <a:pt x="193" y="224"/>
                    <a:pt x="193" y="224"/>
                    <a:pt x="193" y="224"/>
                  </a:cubicBezTo>
                  <a:cubicBezTo>
                    <a:pt x="197" y="229"/>
                    <a:pt x="197" y="229"/>
                    <a:pt x="197" y="229"/>
                  </a:cubicBezTo>
                  <a:cubicBezTo>
                    <a:pt x="197" y="282"/>
                    <a:pt x="197" y="282"/>
                    <a:pt x="197" y="282"/>
                  </a:cubicBezTo>
                  <a:cubicBezTo>
                    <a:pt x="193" y="287"/>
                    <a:pt x="193" y="287"/>
                    <a:pt x="193" y="287"/>
                  </a:cubicBezTo>
                  <a:cubicBezTo>
                    <a:pt x="193" y="191"/>
                    <a:pt x="193" y="191"/>
                    <a:pt x="193" y="191"/>
                  </a:cubicBezTo>
                  <a:lnTo>
                    <a:pt x="197" y="186"/>
                  </a:lnTo>
                  <a:close/>
                  <a:moveTo>
                    <a:pt x="186" y="7"/>
                  </a:moveTo>
                  <a:cubicBezTo>
                    <a:pt x="193" y="14"/>
                    <a:pt x="193" y="14"/>
                    <a:pt x="193" y="14"/>
                  </a:cubicBezTo>
                  <a:cubicBezTo>
                    <a:pt x="193" y="111"/>
                    <a:pt x="193" y="111"/>
                    <a:pt x="193" y="111"/>
                  </a:cubicBezTo>
                  <a:cubicBezTo>
                    <a:pt x="188" y="106"/>
                    <a:pt x="188" y="106"/>
                    <a:pt x="188" y="106"/>
                  </a:cubicBezTo>
                  <a:cubicBezTo>
                    <a:pt x="183" y="110"/>
                    <a:pt x="183" y="110"/>
                    <a:pt x="183" y="110"/>
                  </a:cubicBezTo>
                  <a:cubicBezTo>
                    <a:pt x="183" y="10"/>
                    <a:pt x="183" y="10"/>
                    <a:pt x="183" y="10"/>
                  </a:cubicBezTo>
                  <a:cubicBezTo>
                    <a:pt x="186" y="7"/>
                    <a:pt x="186" y="7"/>
                    <a:pt x="186" y="7"/>
                  </a:cubicBezTo>
                  <a:close/>
                  <a:moveTo>
                    <a:pt x="193" y="353"/>
                  </a:moveTo>
                  <a:cubicBezTo>
                    <a:pt x="183" y="362"/>
                    <a:pt x="183" y="362"/>
                    <a:pt x="183" y="362"/>
                  </a:cubicBezTo>
                  <a:cubicBezTo>
                    <a:pt x="183" y="324"/>
                    <a:pt x="183" y="324"/>
                    <a:pt x="183" y="324"/>
                  </a:cubicBezTo>
                  <a:cubicBezTo>
                    <a:pt x="193" y="314"/>
                    <a:pt x="193" y="314"/>
                    <a:pt x="193" y="314"/>
                  </a:cubicBezTo>
                  <a:cubicBezTo>
                    <a:pt x="193" y="353"/>
                    <a:pt x="193" y="353"/>
                    <a:pt x="193" y="353"/>
                  </a:cubicBezTo>
                  <a:close/>
                  <a:moveTo>
                    <a:pt x="193" y="129"/>
                  </a:moveTo>
                  <a:cubicBezTo>
                    <a:pt x="193" y="178"/>
                    <a:pt x="193" y="178"/>
                    <a:pt x="193" y="178"/>
                  </a:cubicBezTo>
                  <a:cubicBezTo>
                    <a:pt x="185" y="170"/>
                    <a:pt x="185" y="170"/>
                    <a:pt x="185" y="170"/>
                  </a:cubicBezTo>
                  <a:cubicBezTo>
                    <a:pt x="183" y="172"/>
                    <a:pt x="183" y="172"/>
                    <a:pt x="183" y="172"/>
                  </a:cubicBezTo>
                  <a:cubicBezTo>
                    <a:pt x="183" y="139"/>
                    <a:pt x="183" y="139"/>
                    <a:pt x="183" y="139"/>
                  </a:cubicBezTo>
                  <a:cubicBezTo>
                    <a:pt x="193" y="129"/>
                    <a:pt x="193" y="129"/>
                    <a:pt x="193" y="129"/>
                  </a:cubicBezTo>
                  <a:close/>
                  <a:moveTo>
                    <a:pt x="193" y="191"/>
                  </a:moveTo>
                  <a:cubicBezTo>
                    <a:pt x="193" y="287"/>
                    <a:pt x="193" y="287"/>
                    <a:pt x="193" y="287"/>
                  </a:cubicBezTo>
                  <a:cubicBezTo>
                    <a:pt x="191" y="288"/>
                    <a:pt x="191" y="288"/>
                    <a:pt x="191" y="288"/>
                  </a:cubicBezTo>
                  <a:cubicBezTo>
                    <a:pt x="193" y="290"/>
                    <a:pt x="193" y="290"/>
                    <a:pt x="193" y="290"/>
                  </a:cubicBezTo>
                  <a:cubicBezTo>
                    <a:pt x="193" y="311"/>
                    <a:pt x="193" y="311"/>
                    <a:pt x="193" y="311"/>
                  </a:cubicBezTo>
                  <a:cubicBezTo>
                    <a:pt x="183" y="301"/>
                    <a:pt x="183" y="301"/>
                    <a:pt x="183" y="301"/>
                  </a:cubicBezTo>
                  <a:cubicBezTo>
                    <a:pt x="183" y="200"/>
                    <a:pt x="183" y="200"/>
                    <a:pt x="183" y="200"/>
                  </a:cubicBezTo>
                  <a:lnTo>
                    <a:pt x="193" y="191"/>
                  </a:lnTo>
                  <a:close/>
                  <a:moveTo>
                    <a:pt x="183" y="362"/>
                  </a:moveTo>
                  <a:cubicBezTo>
                    <a:pt x="176" y="369"/>
                    <a:pt x="176" y="369"/>
                    <a:pt x="176" y="369"/>
                  </a:cubicBezTo>
                  <a:cubicBezTo>
                    <a:pt x="168" y="360"/>
                    <a:pt x="168" y="360"/>
                    <a:pt x="168" y="360"/>
                  </a:cubicBezTo>
                  <a:cubicBezTo>
                    <a:pt x="168" y="331"/>
                    <a:pt x="168" y="331"/>
                    <a:pt x="168" y="331"/>
                  </a:cubicBezTo>
                  <a:cubicBezTo>
                    <a:pt x="172" y="335"/>
                    <a:pt x="172" y="335"/>
                    <a:pt x="172" y="335"/>
                  </a:cubicBezTo>
                  <a:cubicBezTo>
                    <a:pt x="183" y="324"/>
                    <a:pt x="183" y="324"/>
                    <a:pt x="183" y="324"/>
                  </a:cubicBezTo>
                  <a:cubicBezTo>
                    <a:pt x="183" y="362"/>
                    <a:pt x="183" y="362"/>
                    <a:pt x="183" y="362"/>
                  </a:cubicBezTo>
                  <a:close/>
                  <a:moveTo>
                    <a:pt x="168" y="25"/>
                  </a:moveTo>
                  <a:cubicBezTo>
                    <a:pt x="183" y="10"/>
                    <a:pt x="183" y="10"/>
                    <a:pt x="183" y="10"/>
                  </a:cubicBezTo>
                  <a:cubicBezTo>
                    <a:pt x="183" y="110"/>
                    <a:pt x="183" y="110"/>
                    <a:pt x="183" y="110"/>
                  </a:cubicBezTo>
                  <a:cubicBezTo>
                    <a:pt x="168" y="125"/>
                    <a:pt x="168" y="125"/>
                    <a:pt x="168" y="125"/>
                  </a:cubicBezTo>
                  <a:cubicBezTo>
                    <a:pt x="168" y="91"/>
                    <a:pt x="168" y="91"/>
                    <a:pt x="168" y="91"/>
                  </a:cubicBezTo>
                  <a:cubicBezTo>
                    <a:pt x="171" y="88"/>
                    <a:pt x="171" y="88"/>
                    <a:pt x="171" y="88"/>
                  </a:cubicBezTo>
                  <a:cubicBezTo>
                    <a:pt x="168" y="85"/>
                    <a:pt x="168" y="85"/>
                    <a:pt x="168" y="85"/>
                  </a:cubicBezTo>
                  <a:cubicBezTo>
                    <a:pt x="168" y="25"/>
                    <a:pt x="168" y="25"/>
                    <a:pt x="168" y="25"/>
                  </a:cubicBezTo>
                  <a:close/>
                  <a:moveTo>
                    <a:pt x="183" y="139"/>
                  </a:moveTo>
                  <a:cubicBezTo>
                    <a:pt x="183" y="172"/>
                    <a:pt x="183" y="172"/>
                    <a:pt x="183" y="172"/>
                  </a:cubicBezTo>
                  <a:cubicBezTo>
                    <a:pt x="168" y="187"/>
                    <a:pt x="168" y="187"/>
                    <a:pt x="168" y="187"/>
                  </a:cubicBezTo>
                  <a:cubicBezTo>
                    <a:pt x="168" y="131"/>
                    <a:pt x="168" y="131"/>
                    <a:pt x="168" y="131"/>
                  </a:cubicBezTo>
                  <a:cubicBezTo>
                    <a:pt x="179" y="143"/>
                    <a:pt x="179" y="143"/>
                    <a:pt x="179" y="143"/>
                  </a:cubicBezTo>
                  <a:cubicBezTo>
                    <a:pt x="183" y="139"/>
                    <a:pt x="183" y="139"/>
                    <a:pt x="183" y="139"/>
                  </a:cubicBezTo>
                  <a:close/>
                  <a:moveTo>
                    <a:pt x="183" y="200"/>
                  </a:moveTo>
                  <a:cubicBezTo>
                    <a:pt x="183" y="301"/>
                    <a:pt x="183" y="301"/>
                    <a:pt x="183" y="301"/>
                  </a:cubicBezTo>
                  <a:cubicBezTo>
                    <a:pt x="181" y="298"/>
                    <a:pt x="181" y="298"/>
                    <a:pt x="181" y="298"/>
                  </a:cubicBezTo>
                  <a:cubicBezTo>
                    <a:pt x="168" y="311"/>
                    <a:pt x="168" y="311"/>
                    <a:pt x="168" y="311"/>
                  </a:cubicBezTo>
                  <a:cubicBezTo>
                    <a:pt x="168" y="198"/>
                    <a:pt x="168" y="198"/>
                    <a:pt x="168" y="198"/>
                  </a:cubicBezTo>
                  <a:cubicBezTo>
                    <a:pt x="176" y="207"/>
                    <a:pt x="176" y="207"/>
                    <a:pt x="176" y="207"/>
                  </a:cubicBezTo>
                  <a:lnTo>
                    <a:pt x="183" y="200"/>
                  </a:lnTo>
                  <a:close/>
                  <a:moveTo>
                    <a:pt x="168" y="360"/>
                  </a:moveTo>
                  <a:cubicBezTo>
                    <a:pt x="164" y="356"/>
                    <a:pt x="164" y="356"/>
                    <a:pt x="164" y="356"/>
                  </a:cubicBezTo>
                  <a:cubicBezTo>
                    <a:pt x="164" y="327"/>
                    <a:pt x="164" y="327"/>
                    <a:pt x="164" y="327"/>
                  </a:cubicBezTo>
                  <a:cubicBezTo>
                    <a:pt x="168" y="331"/>
                    <a:pt x="168" y="331"/>
                    <a:pt x="168" y="331"/>
                  </a:cubicBezTo>
                  <a:cubicBezTo>
                    <a:pt x="168" y="360"/>
                    <a:pt x="168" y="360"/>
                    <a:pt x="168" y="360"/>
                  </a:cubicBezTo>
                  <a:close/>
                  <a:moveTo>
                    <a:pt x="164" y="28"/>
                  </a:moveTo>
                  <a:cubicBezTo>
                    <a:pt x="168" y="25"/>
                    <a:pt x="168" y="25"/>
                    <a:pt x="168" y="25"/>
                  </a:cubicBezTo>
                  <a:cubicBezTo>
                    <a:pt x="168" y="85"/>
                    <a:pt x="168" y="85"/>
                    <a:pt x="168" y="85"/>
                  </a:cubicBezTo>
                  <a:cubicBezTo>
                    <a:pt x="164" y="82"/>
                    <a:pt x="164" y="82"/>
                    <a:pt x="164" y="82"/>
                  </a:cubicBezTo>
                  <a:cubicBezTo>
                    <a:pt x="164" y="28"/>
                    <a:pt x="164" y="28"/>
                    <a:pt x="164" y="28"/>
                  </a:cubicBezTo>
                  <a:close/>
                  <a:moveTo>
                    <a:pt x="168" y="91"/>
                  </a:moveTo>
                  <a:cubicBezTo>
                    <a:pt x="168" y="125"/>
                    <a:pt x="168" y="125"/>
                    <a:pt x="168" y="125"/>
                  </a:cubicBezTo>
                  <a:cubicBezTo>
                    <a:pt x="165" y="128"/>
                    <a:pt x="165" y="128"/>
                    <a:pt x="165" y="128"/>
                  </a:cubicBezTo>
                  <a:cubicBezTo>
                    <a:pt x="168" y="131"/>
                    <a:pt x="168" y="131"/>
                    <a:pt x="168" y="131"/>
                  </a:cubicBezTo>
                  <a:cubicBezTo>
                    <a:pt x="168" y="187"/>
                    <a:pt x="168" y="187"/>
                    <a:pt x="168" y="187"/>
                  </a:cubicBezTo>
                  <a:cubicBezTo>
                    <a:pt x="164" y="190"/>
                    <a:pt x="164" y="190"/>
                    <a:pt x="164" y="190"/>
                  </a:cubicBezTo>
                  <a:cubicBezTo>
                    <a:pt x="164" y="95"/>
                    <a:pt x="164" y="95"/>
                    <a:pt x="164" y="95"/>
                  </a:cubicBezTo>
                  <a:cubicBezTo>
                    <a:pt x="168" y="91"/>
                    <a:pt x="168" y="91"/>
                    <a:pt x="168" y="91"/>
                  </a:cubicBezTo>
                  <a:close/>
                  <a:moveTo>
                    <a:pt x="168" y="198"/>
                  </a:moveTo>
                  <a:cubicBezTo>
                    <a:pt x="168" y="311"/>
                    <a:pt x="168" y="311"/>
                    <a:pt x="168" y="311"/>
                  </a:cubicBezTo>
                  <a:cubicBezTo>
                    <a:pt x="164" y="314"/>
                    <a:pt x="164" y="314"/>
                    <a:pt x="164" y="314"/>
                  </a:cubicBezTo>
                  <a:cubicBezTo>
                    <a:pt x="164" y="218"/>
                    <a:pt x="164" y="218"/>
                    <a:pt x="164" y="218"/>
                  </a:cubicBezTo>
                  <a:cubicBezTo>
                    <a:pt x="166" y="216"/>
                    <a:pt x="166" y="216"/>
                    <a:pt x="166" y="216"/>
                  </a:cubicBezTo>
                  <a:cubicBezTo>
                    <a:pt x="164" y="214"/>
                    <a:pt x="164" y="214"/>
                    <a:pt x="164" y="214"/>
                  </a:cubicBezTo>
                  <a:cubicBezTo>
                    <a:pt x="164" y="194"/>
                    <a:pt x="164" y="194"/>
                    <a:pt x="164" y="194"/>
                  </a:cubicBezTo>
                  <a:lnTo>
                    <a:pt x="168" y="198"/>
                  </a:lnTo>
                  <a:close/>
                  <a:moveTo>
                    <a:pt x="164" y="356"/>
                  </a:moveTo>
                  <a:cubicBezTo>
                    <a:pt x="161" y="353"/>
                    <a:pt x="161" y="353"/>
                    <a:pt x="161" y="353"/>
                  </a:cubicBezTo>
                  <a:cubicBezTo>
                    <a:pt x="161" y="323"/>
                    <a:pt x="161" y="323"/>
                    <a:pt x="161" y="323"/>
                  </a:cubicBezTo>
                  <a:cubicBezTo>
                    <a:pt x="164" y="327"/>
                    <a:pt x="164" y="327"/>
                    <a:pt x="164" y="327"/>
                  </a:cubicBezTo>
                  <a:cubicBezTo>
                    <a:pt x="164" y="356"/>
                    <a:pt x="164" y="356"/>
                    <a:pt x="164" y="356"/>
                  </a:cubicBezTo>
                  <a:close/>
                  <a:moveTo>
                    <a:pt x="161" y="31"/>
                  </a:moveTo>
                  <a:cubicBezTo>
                    <a:pt x="164" y="28"/>
                    <a:pt x="164" y="28"/>
                    <a:pt x="164" y="28"/>
                  </a:cubicBezTo>
                  <a:cubicBezTo>
                    <a:pt x="164" y="82"/>
                    <a:pt x="164" y="82"/>
                    <a:pt x="164" y="82"/>
                  </a:cubicBezTo>
                  <a:cubicBezTo>
                    <a:pt x="161" y="78"/>
                    <a:pt x="161" y="78"/>
                    <a:pt x="161" y="78"/>
                  </a:cubicBezTo>
                  <a:cubicBezTo>
                    <a:pt x="161" y="31"/>
                    <a:pt x="161" y="31"/>
                    <a:pt x="161" y="31"/>
                  </a:cubicBezTo>
                  <a:close/>
                  <a:moveTo>
                    <a:pt x="164" y="95"/>
                  </a:moveTo>
                  <a:cubicBezTo>
                    <a:pt x="164" y="190"/>
                    <a:pt x="164" y="190"/>
                    <a:pt x="164" y="190"/>
                  </a:cubicBezTo>
                  <a:cubicBezTo>
                    <a:pt x="162" y="192"/>
                    <a:pt x="162" y="192"/>
                    <a:pt x="162" y="192"/>
                  </a:cubicBezTo>
                  <a:cubicBezTo>
                    <a:pt x="164" y="194"/>
                    <a:pt x="164" y="194"/>
                    <a:pt x="164" y="194"/>
                  </a:cubicBezTo>
                  <a:cubicBezTo>
                    <a:pt x="164" y="214"/>
                    <a:pt x="164" y="214"/>
                    <a:pt x="164" y="214"/>
                  </a:cubicBezTo>
                  <a:cubicBezTo>
                    <a:pt x="161" y="211"/>
                    <a:pt x="161" y="211"/>
                    <a:pt x="161" y="211"/>
                  </a:cubicBezTo>
                  <a:cubicBezTo>
                    <a:pt x="161" y="98"/>
                    <a:pt x="161" y="98"/>
                    <a:pt x="161" y="98"/>
                  </a:cubicBezTo>
                  <a:cubicBezTo>
                    <a:pt x="164" y="95"/>
                    <a:pt x="164" y="95"/>
                    <a:pt x="164" y="95"/>
                  </a:cubicBezTo>
                  <a:close/>
                  <a:moveTo>
                    <a:pt x="164" y="218"/>
                  </a:moveTo>
                  <a:cubicBezTo>
                    <a:pt x="164" y="314"/>
                    <a:pt x="164" y="314"/>
                    <a:pt x="164" y="314"/>
                  </a:cubicBezTo>
                  <a:cubicBezTo>
                    <a:pt x="161" y="317"/>
                    <a:pt x="161" y="317"/>
                    <a:pt x="161" y="317"/>
                  </a:cubicBezTo>
                  <a:cubicBezTo>
                    <a:pt x="161" y="283"/>
                    <a:pt x="161" y="283"/>
                    <a:pt x="161" y="283"/>
                  </a:cubicBezTo>
                  <a:cubicBezTo>
                    <a:pt x="164" y="280"/>
                    <a:pt x="164" y="280"/>
                    <a:pt x="164" y="280"/>
                  </a:cubicBezTo>
                  <a:cubicBezTo>
                    <a:pt x="161" y="277"/>
                    <a:pt x="161" y="277"/>
                    <a:pt x="161" y="277"/>
                  </a:cubicBezTo>
                  <a:cubicBezTo>
                    <a:pt x="161" y="222"/>
                    <a:pt x="161" y="222"/>
                    <a:pt x="161" y="222"/>
                  </a:cubicBezTo>
                  <a:lnTo>
                    <a:pt x="164" y="218"/>
                  </a:lnTo>
                  <a:close/>
                  <a:moveTo>
                    <a:pt x="161" y="353"/>
                  </a:moveTo>
                  <a:cubicBezTo>
                    <a:pt x="152" y="344"/>
                    <a:pt x="152" y="344"/>
                    <a:pt x="152" y="344"/>
                  </a:cubicBezTo>
                  <a:cubicBezTo>
                    <a:pt x="152" y="292"/>
                    <a:pt x="152" y="292"/>
                    <a:pt x="152" y="292"/>
                  </a:cubicBezTo>
                  <a:cubicBezTo>
                    <a:pt x="161" y="283"/>
                    <a:pt x="161" y="283"/>
                    <a:pt x="161" y="283"/>
                  </a:cubicBezTo>
                  <a:cubicBezTo>
                    <a:pt x="161" y="317"/>
                    <a:pt x="161" y="317"/>
                    <a:pt x="161" y="317"/>
                  </a:cubicBezTo>
                  <a:cubicBezTo>
                    <a:pt x="158" y="320"/>
                    <a:pt x="158" y="320"/>
                    <a:pt x="158" y="320"/>
                  </a:cubicBezTo>
                  <a:cubicBezTo>
                    <a:pt x="161" y="323"/>
                    <a:pt x="161" y="323"/>
                    <a:pt x="161" y="323"/>
                  </a:cubicBezTo>
                  <a:cubicBezTo>
                    <a:pt x="161" y="353"/>
                    <a:pt x="161" y="353"/>
                    <a:pt x="161" y="353"/>
                  </a:cubicBezTo>
                  <a:close/>
                  <a:moveTo>
                    <a:pt x="152" y="40"/>
                  </a:moveTo>
                  <a:cubicBezTo>
                    <a:pt x="161" y="31"/>
                    <a:pt x="161" y="31"/>
                    <a:pt x="161" y="31"/>
                  </a:cubicBezTo>
                  <a:cubicBezTo>
                    <a:pt x="161" y="78"/>
                    <a:pt x="161" y="78"/>
                    <a:pt x="161" y="78"/>
                  </a:cubicBezTo>
                  <a:cubicBezTo>
                    <a:pt x="157" y="74"/>
                    <a:pt x="157" y="74"/>
                    <a:pt x="157" y="74"/>
                  </a:cubicBezTo>
                  <a:cubicBezTo>
                    <a:pt x="152" y="78"/>
                    <a:pt x="152" y="78"/>
                    <a:pt x="152" y="78"/>
                  </a:cubicBezTo>
                  <a:cubicBezTo>
                    <a:pt x="152" y="40"/>
                    <a:pt x="152" y="40"/>
                    <a:pt x="152" y="40"/>
                  </a:cubicBezTo>
                  <a:close/>
                  <a:moveTo>
                    <a:pt x="161" y="98"/>
                  </a:moveTo>
                  <a:cubicBezTo>
                    <a:pt x="161" y="211"/>
                    <a:pt x="161" y="211"/>
                    <a:pt x="161" y="211"/>
                  </a:cubicBezTo>
                  <a:cubicBezTo>
                    <a:pt x="152" y="202"/>
                    <a:pt x="152" y="202"/>
                    <a:pt x="152" y="202"/>
                  </a:cubicBezTo>
                  <a:cubicBezTo>
                    <a:pt x="152" y="202"/>
                    <a:pt x="152" y="202"/>
                    <a:pt x="152" y="202"/>
                  </a:cubicBezTo>
                  <a:cubicBezTo>
                    <a:pt x="152" y="106"/>
                    <a:pt x="152" y="106"/>
                    <a:pt x="152" y="106"/>
                  </a:cubicBezTo>
                  <a:cubicBezTo>
                    <a:pt x="161" y="98"/>
                    <a:pt x="161" y="98"/>
                    <a:pt x="161" y="98"/>
                  </a:cubicBezTo>
                  <a:close/>
                  <a:moveTo>
                    <a:pt x="161" y="222"/>
                  </a:moveTo>
                  <a:cubicBezTo>
                    <a:pt x="161" y="277"/>
                    <a:pt x="161" y="277"/>
                    <a:pt x="161" y="277"/>
                  </a:cubicBezTo>
                  <a:cubicBezTo>
                    <a:pt x="152" y="268"/>
                    <a:pt x="152" y="268"/>
                    <a:pt x="152" y="268"/>
                  </a:cubicBezTo>
                  <a:cubicBezTo>
                    <a:pt x="152" y="230"/>
                    <a:pt x="152" y="230"/>
                    <a:pt x="152" y="230"/>
                  </a:cubicBezTo>
                  <a:lnTo>
                    <a:pt x="161" y="222"/>
                  </a:lnTo>
                  <a:close/>
                  <a:moveTo>
                    <a:pt x="152" y="344"/>
                  </a:moveTo>
                  <a:cubicBezTo>
                    <a:pt x="132" y="323"/>
                    <a:pt x="132" y="323"/>
                    <a:pt x="132" y="323"/>
                  </a:cubicBezTo>
                  <a:cubicBezTo>
                    <a:pt x="132" y="294"/>
                    <a:pt x="132" y="294"/>
                    <a:pt x="132" y="294"/>
                  </a:cubicBezTo>
                  <a:cubicBezTo>
                    <a:pt x="141" y="303"/>
                    <a:pt x="141" y="303"/>
                    <a:pt x="141" y="303"/>
                  </a:cubicBezTo>
                  <a:cubicBezTo>
                    <a:pt x="152" y="292"/>
                    <a:pt x="152" y="292"/>
                    <a:pt x="152" y="292"/>
                  </a:cubicBezTo>
                  <a:cubicBezTo>
                    <a:pt x="152" y="344"/>
                    <a:pt x="152" y="344"/>
                    <a:pt x="152" y="344"/>
                  </a:cubicBezTo>
                  <a:close/>
                  <a:moveTo>
                    <a:pt x="132" y="59"/>
                  </a:moveTo>
                  <a:cubicBezTo>
                    <a:pt x="152" y="40"/>
                    <a:pt x="152" y="40"/>
                    <a:pt x="152" y="40"/>
                  </a:cubicBezTo>
                  <a:cubicBezTo>
                    <a:pt x="152" y="78"/>
                    <a:pt x="152" y="78"/>
                    <a:pt x="152" y="78"/>
                  </a:cubicBezTo>
                  <a:cubicBezTo>
                    <a:pt x="134" y="96"/>
                    <a:pt x="134" y="96"/>
                    <a:pt x="134" y="96"/>
                  </a:cubicBezTo>
                  <a:cubicBezTo>
                    <a:pt x="138" y="101"/>
                    <a:pt x="143" y="106"/>
                    <a:pt x="148" y="111"/>
                  </a:cubicBezTo>
                  <a:cubicBezTo>
                    <a:pt x="152" y="106"/>
                    <a:pt x="152" y="106"/>
                    <a:pt x="152" y="106"/>
                  </a:cubicBezTo>
                  <a:cubicBezTo>
                    <a:pt x="152" y="202"/>
                    <a:pt x="152" y="202"/>
                    <a:pt x="152" y="202"/>
                  </a:cubicBezTo>
                  <a:cubicBezTo>
                    <a:pt x="132" y="221"/>
                    <a:pt x="132" y="221"/>
                    <a:pt x="132" y="221"/>
                  </a:cubicBezTo>
                  <a:cubicBezTo>
                    <a:pt x="132" y="187"/>
                    <a:pt x="132" y="187"/>
                    <a:pt x="132" y="187"/>
                  </a:cubicBezTo>
                  <a:cubicBezTo>
                    <a:pt x="135" y="184"/>
                    <a:pt x="135" y="184"/>
                    <a:pt x="135" y="184"/>
                  </a:cubicBezTo>
                  <a:cubicBezTo>
                    <a:pt x="132" y="181"/>
                    <a:pt x="132" y="181"/>
                    <a:pt x="132" y="181"/>
                  </a:cubicBezTo>
                  <a:cubicBezTo>
                    <a:pt x="132" y="59"/>
                    <a:pt x="132" y="59"/>
                    <a:pt x="132" y="59"/>
                  </a:cubicBezTo>
                  <a:close/>
                  <a:moveTo>
                    <a:pt x="152" y="230"/>
                  </a:moveTo>
                  <a:cubicBezTo>
                    <a:pt x="152" y="268"/>
                    <a:pt x="152" y="268"/>
                    <a:pt x="152" y="268"/>
                  </a:cubicBezTo>
                  <a:cubicBezTo>
                    <a:pt x="150" y="266"/>
                    <a:pt x="150" y="266"/>
                    <a:pt x="150" y="266"/>
                  </a:cubicBezTo>
                  <a:cubicBezTo>
                    <a:pt x="132" y="283"/>
                    <a:pt x="132" y="283"/>
                    <a:pt x="132" y="283"/>
                  </a:cubicBezTo>
                  <a:cubicBezTo>
                    <a:pt x="132" y="249"/>
                    <a:pt x="132" y="249"/>
                    <a:pt x="132" y="249"/>
                  </a:cubicBezTo>
                  <a:cubicBezTo>
                    <a:pt x="133" y="248"/>
                    <a:pt x="133" y="248"/>
                    <a:pt x="133" y="248"/>
                  </a:cubicBezTo>
                  <a:cubicBezTo>
                    <a:pt x="132" y="247"/>
                    <a:pt x="132" y="247"/>
                    <a:pt x="132" y="247"/>
                  </a:cubicBezTo>
                  <a:cubicBezTo>
                    <a:pt x="132" y="227"/>
                    <a:pt x="132" y="227"/>
                    <a:pt x="132" y="227"/>
                  </a:cubicBezTo>
                  <a:cubicBezTo>
                    <a:pt x="143" y="239"/>
                    <a:pt x="143" y="239"/>
                    <a:pt x="143" y="239"/>
                  </a:cubicBezTo>
                  <a:lnTo>
                    <a:pt x="152" y="230"/>
                  </a:lnTo>
                  <a:close/>
                  <a:moveTo>
                    <a:pt x="132" y="323"/>
                  </a:moveTo>
                  <a:cubicBezTo>
                    <a:pt x="117" y="307"/>
                    <a:pt x="117" y="307"/>
                    <a:pt x="117" y="307"/>
                  </a:cubicBezTo>
                  <a:cubicBezTo>
                    <a:pt x="117" y="264"/>
                    <a:pt x="117" y="264"/>
                    <a:pt x="117" y="264"/>
                  </a:cubicBezTo>
                  <a:cubicBezTo>
                    <a:pt x="132" y="249"/>
                    <a:pt x="132" y="249"/>
                    <a:pt x="132" y="249"/>
                  </a:cubicBezTo>
                  <a:cubicBezTo>
                    <a:pt x="132" y="283"/>
                    <a:pt x="132" y="283"/>
                    <a:pt x="132" y="283"/>
                  </a:cubicBezTo>
                  <a:cubicBezTo>
                    <a:pt x="127" y="288"/>
                    <a:pt x="127" y="288"/>
                    <a:pt x="127" y="288"/>
                  </a:cubicBezTo>
                  <a:cubicBezTo>
                    <a:pt x="132" y="294"/>
                    <a:pt x="132" y="294"/>
                    <a:pt x="132" y="294"/>
                  </a:cubicBezTo>
                  <a:cubicBezTo>
                    <a:pt x="132" y="323"/>
                    <a:pt x="132" y="323"/>
                    <a:pt x="132" y="323"/>
                  </a:cubicBezTo>
                  <a:close/>
                  <a:moveTo>
                    <a:pt x="117" y="74"/>
                  </a:moveTo>
                  <a:cubicBezTo>
                    <a:pt x="132" y="59"/>
                    <a:pt x="132" y="59"/>
                    <a:pt x="132" y="59"/>
                  </a:cubicBezTo>
                  <a:cubicBezTo>
                    <a:pt x="132" y="181"/>
                    <a:pt x="132" y="181"/>
                    <a:pt x="132" y="181"/>
                  </a:cubicBezTo>
                  <a:cubicBezTo>
                    <a:pt x="121" y="170"/>
                    <a:pt x="121" y="170"/>
                    <a:pt x="121" y="170"/>
                  </a:cubicBezTo>
                  <a:cubicBezTo>
                    <a:pt x="117" y="174"/>
                    <a:pt x="117" y="174"/>
                    <a:pt x="117" y="174"/>
                  </a:cubicBezTo>
                  <a:cubicBezTo>
                    <a:pt x="117" y="74"/>
                    <a:pt x="117" y="74"/>
                    <a:pt x="117" y="74"/>
                  </a:cubicBezTo>
                  <a:close/>
                  <a:moveTo>
                    <a:pt x="132" y="187"/>
                  </a:moveTo>
                  <a:cubicBezTo>
                    <a:pt x="132" y="221"/>
                    <a:pt x="132" y="221"/>
                    <a:pt x="132" y="221"/>
                  </a:cubicBezTo>
                  <a:cubicBezTo>
                    <a:pt x="129" y="224"/>
                    <a:pt x="129" y="224"/>
                    <a:pt x="129" y="224"/>
                  </a:cubicBezTo>
                  <a:cubicBezTo>
                    <a:pt x="132" y="227"/>
                    <a:pt x="132" y="227"/>
                    <a:pt x="132" y="227"/>
                  </a:cubicBezTo>
                  <a:cubicBezTo>
                    <a:pt x="132" y="247"/>
                    <a:pt x="132" y="247"/>
                    <a:pt x="132" y="247"/>
                  </a:cubicBezTo>
                  <a:cubicBezTo>
                    <a:pt x="119" y="234"/>
                    <a:pt x="119" y="234"/>
                    <a:pt x="119" y="234"/>
                  </a:cubicBezTo>
                  <a:cubicBezTo>
                    <a:pt x="117" y="236"/>
                    <a:pt x="117" y="236"/>
                    <a:pt x="117" y="236"/>
                  </a:cubicBezTo>
                  <a:cubicBezTo>
                    <a:pt x="117" y="202"/>
                    <a:pt x="117" y="202"/>
                    <a:pt x="117" y="202"/>
                  </a:cubicBezTo>
                  <a:lnTo>
                    <a:pt x="132" y="187"/>
                  </a:lnTo>
                  <a:close/>
                  <a:moveTo>
                    <a:pt x="117" y="307"/>
                  </a:moveTo>
                  <a:cubicBezTo>
                    <a:pt x="101" y="290"/>
                    <a:pt x="101" y="290"/>
                    <a:pt x="101" y="290"/>
                  </a:cubicBezTo>
                  <a:cubicBezTo>
                    <a:pt x="101" y="261"/>
                    <a:pt x="101" y="261"/>
                    <a:pt x="101" y="261"/>
                  </a:cubicBezTo>
                  <a:cubicBezTo>
                    <a:pt x="110" y="270"/>
                    <a:pt x="110" y="270"/>
                    <a:pt x="110" y="270"/>
                  </a:cubicBezTo>
                  <a:cubicBezTo>
                    <a:pt x="117" y="264"/>
                    <a:pt x="117" y="264"/>
                    <a:pt x="117" y="264"/>
                  </a:cubicBezTo>
                  <a:cubicBezTo>
                    <a:pt x="117" y="307"/>
                    <a:pt x="117" y="307"/>
                    <a:pt x="117" y="307"/>
                  </a:cubicBezTo>
                  <a:close/>
                  <a:moveTo>
                    <a:pt x="101" y="88"/>
                  </a:moveTo>
                  <a:cubicBezTo>
                    <a:pt x="117" y="74"/>
                    <a:pt x="117" y="74"/>
                    <a:pt x="117" y="74"/>
                  </a:cubicBezTo>
                  <a:cubicBezTo>
                    <a:pt x="117" y="174"/>
                    <a:pt x="117" y="174"/>
                    <a:pt x="117" y="174"/>
                  </a:cubicBezTo>
                  <a:cubicBezTo>
                    <a:pt x="101" y="189"/>
                    <a:pt x="101" y="189"/>
                    <a:pt x="101" y="189"/>
                  </a:cubicBezTo>
                  <a:cubicBezTo>
                    <a:pt x="101" y="155"/>
                    <a:pt x="101" y="155"/>
                    <a:pt x="101" y="155"/>
                  </a:cubicBezTo>
                  <a:cubicBezTo>
                    <a:pt x="104" y="152"/>
                    <a:pt x="104" y="152"/>
                    <a:pt x="104" y="152"/>
                  </a:cubicBezTo>
                  <a:cubicBezTo>
                    <a:pt x="101" y="149"/>
                    <a:pt x="101" y="149"/>
                    <a:pt x="101" y="149"/>
                  </a:cubicBezTo>
                  <a:cubicBezTo>
                    <a:pt x="101" y="88"/>
                    <a:pt x="101" y="88"/>
                    <a:pt x="101" y="88"/>
                  </a:cubicBezTo>
                  <a:close/>
                  <a:moveTo>
                    <a:pt x="117" y="202"/>
                  </a:moveTo>
                  <a:cubicBezTo>
                    <a:pt x="117" y="236"/>
                    <a:pt x="117" y="236"/>
                    <a:pt x="117" y="236"/>
                  </a:cubicBezTo>
                  <a:cubicBezTo>
                    <a:pt x="101" y="251"/>
                    <a:pt x="101" y="251"/>
                    <a:pt x="101" y="251"/>
                  </a:cubicBezTo>
                  <a:cubicBezTo>
                    <a:pt x="101" y="195"/>
                    <a:pt x="101" y="195"/>
                    <a:pt x="101" y="195"/>
                  </a:cubicBezTo>
                  <a:cubicBezTo>
                    <a:pt x="112" y="206"/>
                    <a:pt x="112" y="206"/>
                    <a:pt x="112" y="206"/>
                  </a:cubicBezTo>
                  <a:lnTo>
                    <a:pt x="117" y="202"/>
                  </a:lnTo>
                  <a:close/>
                  <a:moveTo>
                    <a:pt x="101" y="290"/>
                  </a:moveTo>
                  <a:cubicBezTo>
                    <a:pt x="86" y="274"/>
                    <a:pt x="86" y="274"/>
                    <a:pt x="86" y="274"/>
                  </a:cubicBezTo>
                  <a:cubicBezTo>
                    <a:pt x="86" y="170"/>
                    <a:pt x="86" y="170"/>
                    <a:pt x="86" y="170"/>
                  </a:cubicBezTo>
                  <a:cubicBezTo>
                    <a:pt x="101" y="155"/>
                    <a:pt x="101" y="155"/>
                    <a:pt x="101" y="155"/>
                  </a:cubicBezTo>
                  <a:cubicBezTo>
                    <a:pt x="101" y="189"/>
                    <a:pt x="101" y="189"/>
                    <a:pt x="101" y="189"/>
                  </a:cubicBezTo>
                  <a:cubicBezTo>
                    <a:pt x="98" y="192"/>
                    <a:pt x="98" y="192"/>
                    <a:pt x="98" y="192"/>
                  </a:cubicBezTo>
                  <a:cubicBezTo>
                    <a:pt x="101" y="195"/>
                    <a:pt x="101" y="195"/>
                    <a:pt x="101" y="195"/>
                  </a:cubicBezTo>
                  <a:cubicBezTo>
                    <a:pt x="101" y="251"/>
                    <a:pt x="101" y="251"/>
                    <a:pt x="101" y="251"/>
                  </a:cubicBezTo>
                  <a:cubicBezTo>
                    <a:pt x="96" y="256"/>
                    <a:pt x="96" y="256"/>
                    <a:pt x="96" y="256"/>
                  </a:cubicBezTo>
                  <a:cubicBezTo>
                    <a:pt x="101" y="261"/>
                    <a:pt x="101" y="261"/>
                    <a:pt x="101" y="261"/>
                  </a:cubicBezTo>
                  <a:cubicBezTo>
                    <a:pt x="101" y="290"/>
                    <a:pt x="101" y="290"/>
                    <a:pt x="101" y="290"/>
                  </a:cubicBezTo>
                  <a:close/>
                  <a:moveTo>
                    <a:pt x="86" y="103"/>
                  </a:moveTo>
                  <a:cubicBezTo>
                    <a:pt x="93" y="96"/>
                    <a:pt x="93" y="96"/>
                    <a:pt x="93" y="96"/>
                  </a:cubicBezTo>
                  <a:cubicBezTo>
                    <a:pt x="101" y="88"/>
                    <a:pt x="101" y="88"/>
                    <a:pt x="101" y="88"/>
                  </a:cubicBezTo>
                  <a:cubicBezTo>
                    <a:pt x="101" y="149"/>
                    <a:pt x="101" y="149"/>
                    <a:pt x="101" y="149"/>
                  </a:cubicBezTo>
                  <a:cubicBezTo>
                    <a:pt x="90" y="137"/>
                    <a:pt x="90" y="137"/>
                    <a:pt x="90" y="137"/>
                  </a:cubicBezTo>
                  <a:cubicBezTo>
                    <a:pt x="86" y="142"/>
                    <a:pt x="86" y="142"/>
                    <a:pt x="86" y="142"/>
                  </a:cubicBezTo>
                  <a:lnTo>
                    <a:pt x="86" y="103"/>
                  </a:lnTo>
                  <a:close/>
                  <a:moveTo>
                    <a:pt x="86" y="274"/>
                  </a:moveTo>
                  <a:cubicBezTo>
                    <a:pt x="69" y="257"/>
                    <a:pt x="69" y="257"/>
                    <a:pt x="69" y="257"/>
                  </a:cubicBezTo>
                  <a:cubicBezTo>
                    <a:pt x="69" y="186"/>
                    <a:pt x="69" y="186"/>
                    <a:pt x="69" y="186"/>
                  </a:cubicBezTo>
                  <a:cubicBezTo>
                    <a:pt x="71" y="184"/>
                    <a:pt x="71" y="184"/>
                    <a:pt x="71" y="184"/>
                  </a:cubicBezTo>
                  <a:cubicBezTo>
                    <a:pt x="69" y="182"/>
                    <a:pt x="69" y="182"/>
                    <a:pt x="69" y="182"/>
                  </a:cubicBezTo>
                  <a:cubicBezTo>
                    <a:pt x="69" y="161"/>
                    <a:pt x="69" y="161"/>
                    <a:pt x="69" y="161"/>
                  </a:cubicBezTo>
                  <a:cubicBezTo>
                    <a:pt x="81" y="174"/>
                    <a:pt x="81" y="174"/>
                    <a:pt x="81" y="174"/>
                  </a:cubicBezTo>
                  <a:cubicBezTo>
                    <a:pt x="86" y="170"/>
                    <a:pt x="86" y="170"/>
                    <a:pt x="86" y="170"/>
                  </a:cubicBezTo>
                  <a:cubicBezTo>
                    <a:pt x="86" y="274"/>
                    <a:pt x="86" y="274"/>
                    <a:pt x="86" y="274"/>
                  </a:cubicBezTo>
                  <a:close/>
                  <a:moveTo>
                    <a:pt x="69" y="119"/>
                  </a:moveTo>
                  <a:cubicBezTo>
                    <a:pt x="86" y="103"/>
                    <a:pt x="86" y="103"/>
                    <a:pt x="86" y="103"/>
                  </a:cubicBezTo>
                  <a:cubicBezTo>
                    <a:pt x="86" y="142"/>
                    <a:pt x="86" y="142"/>
                    <a:pt x="86" y="142"/>
                  </a:cubicBezTo>
                  <a:cubicBezTo>
                    <a:pt x="69" y="157"/>
                    <a:pt x="69" y="157"/>
                    <a:pt x="69" y="157"/>
                  </a:cubicBezTo>
                  <a:lnTo>
                    <a:pt x="69" y="119"/>
                  </a:lnTo>
                  <a:close/>
                  <a:moveTo>
                    <a:pt x="69" y="257"/>
                  </a:moveTo>
                  <a:cubicBezTo>
                    <a:pt x="53" y="240"/>
                    <a:pt x="53" y="240"/>
                    <a:pt x="53" y="240"/>
                  </a:cubicBezTo>
                  <a:cubicBezTo>
                    <a:pt x="53" y="201"/>
                    <a:pt x="53" y="201"/>
                    <a:pt x="53" y="201"/>
                  </a:cubicBezTo>
                  <a:cubicBezTo>
                    <a:pt x="69" y="186"/>
                    <a:pt x="69" y="186"/>
                    <a:pt x="69" y="186"/>
                  </a:cubicBezTo>
                  <a:cubicBezTo>
                    <a:pt x="69" y="257"/>
                    <a:pt x="69" y="257"/>
                    <a:pt x="69" y="257"/>
                  </a:cubicBezTo>
                  <a:close/>
                  <a:moveTo>
                    <a:pt x="53" y="135"/>
                  </a:moveTo>
                  <a:cubicBezTo>
                    <a:pt x="69" y="119"/>
                    <a:pt x="69" y="119"/>
                    <a:pt x="69" y="119"/>
                  </a:cubicBezTo>
                  <a:cubicBezTo>
                    <a:pt x="69" y="157"/>
                    <a:pt x="69" y="157"/>
                    <a:pt x="69" y="157"/>
                  </a:cubicBezTo>
                  <a:cubicBezTo>
                    <a:pt x="67" y="159"/>
                    <a:pt x="67" y="159"/>
                    <a:pt x="67" y="159"/>
                  </a:cubicBezTo>
                  <a:cubicBezTo>
                    <a:pt x="69" y="161"/>
                    <a:pt x="69" y="161"/>
                    <a:pt x="69" y="161"/>
                  </a:cubicBezTo>
                  <a:cubicBezTo>
                    <a:pt x="69" y="182"/>
                    <a:pt x="69" y="182"/>
                    <a:pt x="69" y="182"/>
                  </a:cubicBezTo>
                  <a:cubicBezTo>
                    <a:pt x="57" y="169"/>
                    <a:pt x="57" y="169"/>
                    <a:pt x="57" y="169"/>
                  </a:cubicBezTo>
                  <a:cubicBezTo>
                    <a:pt x="53" y="173"/>
                    <a:pt x="53" y="173"/>
                    <a:pt x="53" y="173"/>
                  </a:cubicBezTo>
                  <a:lnTo>
                    <a:pt x="53" y="135"/>
                  </a:lnTo>
                  <a:close/>
                  <a:moveTo>
                    <a:pt x="53" y="240"/>
                  </a:moveTo>
                  <a:cubicBezTo>
                    <a:pt x="0" y="185"/>
                    <a:pt x="0" y="185"/>
                    <a:pt x="0" y="185"/>
                  </a:cubicBezTo>
                  <a:cubicBezTo>
                    <a:pt x="53" y="135"/>
                    <a:pt x="53" y="135"/>
                    <a:pt x="53" y="135"/>
                  </a:cubicBezTo>
                  <a:cubicBezTo>
                    <a:pt x="53" y="173"/>
                    <a:pt x="53" y="173"/>
                    <a:pt x="53" y="173"/>
                  </a:cubicBezTo>
                  <a:cubicBezTo>
                    <a:pt x="34" y="191"/>
                    <a:pt x="34" y="191"/>
                    <a:pt x="34" y="191"/>
                  </a:cubicBezTo>
                  <a:cubicBezTo>
                    <a:pt x="39" y="196"/>
                    <a:pt x="44" y="201"/>
                    <a:pt x="48" y="206"/>
                  </a:cubicBezTo>
                  <a:cubicBezTo>
                    <a:pt x="53" y="201"/>
                    <a:pt x="53" y="201"/>
                    <a:pt x="53" y="201"/>
                  </a:cubicBezTo>
                  <a:lnTo>
                    <a:pt x="53" y="24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ïṩliďè">
              <a:extLst>
                <a:ext uri="{FF2B5EF4-FFF2-40B4-BE49-F238E27FC236}">
                  <a16:creationId xmlns:a16="http://schemas.microsoft.com/office/drawing/2014/main" id="{6252BD86-A9B0-4D76-A50B-E133FFCBA066}"/>
                </a:ext>
              </a:extLst>
            </p:cNvPr>
            <p:cNvSpPr/>
            <p:nvPr/>
          </p:nvSpPr>
          <p:spPr bwMode="auto">
            <a:xfrm flipH="1">
              <a:off x="1676277" y="3034973"/>
              <a:ext cx="625279" cy="530990"/>
            </a:xfrm>
            <a:custGeom>
              <a:avLst/>
              <a:gdLst>
                <a:gd name="T0" fmla="*/ 305 w 374"/>
                <a:gd name="T1" fmla="*/ 174 h 325"/>
                <a:gd name="T2" fmla="*/ 331 w 374"/>
                <a:gd name="T3" fmla="*/ 121 h 325"/>
                <a:gd name="T4" fmla="*/ 307 w 374"/>
                <a:gd name="T5" fmla="*/ 81 h 325"/>
                <a:gd name="T6" fmla="*/ 296 w 374"/>
                <a:gd name="T7" fmla="*/ 27 h 325"/>
                <a:gd name="T8" fmla="*/ 263 w 374"/>
                <a:gd name="T9" fmla="*/ 71 h 325"/>
                <a:gd name="T10" fmla="*/ 263 w 374"/>
                <a:gd name="T11" fmla="*/ 11 h 325"/>
                <a:gd name="T12" fmla="*/ 267 w 374"/>
                <a:gd name="T13" fmla="*/ 180 h 325"/>
                <a:gd name="T14" fmla="*/ 296 w 374"/>
                <a:gd name="T15" fmla="*/ 105 h 325"/>
                <a:gd name="T16" fmla="*/ 268 w 374"/>
                <a:gd name="T17" fmla="*/ 85 h 325"/>
                <a:gd name="T18" fmla="*/ 263 w 374"/>
                <a:gd name="T19" fmla="*/ 125 h 325"/>
                <a:gd name="T20" fmla="*/ 237 w 374"/>
                <a:gd name="T21" fmla="*/ 215 h 325"/>
                <a:gd name="T22" fmla="*/ 245 w 374"/>
                <a:gd name="T23" fmla="*/ 173 h 325"/>
                <a:gd name="T24" fmla="*/ 263 w 374"/>
                <a:gd name="T25" fmla="*/ 125 h 325"/>
                <a:gd name="T26" fmla="*/ 244 w 374"/>
                <a:gd name="T27" fmla="*/ 45 h 325"/>
                <a:gd name="T28" fmla="*/ 263 w 374"/>
                <a:gd name="T29" fmla="*/ 76 h 325"/>
                <a:gd name="T30" fmla="*/ 248 w 374"/>
                <a:gd name="T31" fmla="*/ 80 h 325"/>
                <a:gd name="T32" fmla="*/ 210 w 374"/>
                <a:gd name="T33" fmla="*/ 255 h 325"/>
                <a:gd name="T34" fmla="*/ 210 w 374"/>
                <a:gd name="T35" fmla="*/ 183 h 325"/>
                <a:gd name="T36" fmla="*/ 232 w 374"/>
                <a:gd name="T37" fmla="*/ 218 h 325"/>
                <a:gd name="T38" fmla="*/ 237 w 374"/>
                <a:gd name="T39" fmla="*/ 87 h 325"/>
                <a:gd name="T40" fmla="*/ 234 w 374"/>
                <a:gd name="T41" fmla="*/ 125 h 325"/>
                <a:gd name="T42" fmla="*/ 229 w 374"/>
                <a:gd name="T43" fmla="*/ 146 h 325"/>
                <a:gd name="T44" fmla="*/ 210 w 374"/>
                <a:gd name="T45" fmla="*/ 115 h 325"/>
                <a:gd name="T46" fmla="*/ 210 w 374"/>
                <a:gd name="T47" fmla="*/ 231 h 325"/>
                <a:gd name="T48" fmla="*/ 205 w 374"/>
                <a:gd name="T49" fmla="*/ 106 h 325"/>
                <a:gd name="T50" fmla="*/ 192 w 374"/>
                <a:gd name="T51" fmla="*/ 54 h 325"/>
                <a:gd name="T52" fmla="*/ 210 w 374"/>
                <a:gd name="T53" fmla="*/ 120 h 325"/>
                <a:gd name="T54" fmla="*/ 210 w 374"/>
                <a:gd name="T55" fmla="*/ 215 h 325"/>
                <a:gd name="T56" fmla="*/ 192 w 374"/>
                <a:gd name="T57" fmla="*/ 189 h 325"/>
                <a:gd name="T58" fmla="*/ 177 w 374"/>
                <a:gd name="T59" fmla="*/ 275 h 325"/>
                <a:gd name="T60" fmla="*/ 188 w 374"/>
                <a:gd name="T61" fmla="*/ 244 h 325"/>
                <a:gd name="T62" fmla="*/ 192 w 374"/>
                <a:gd name="T63" fmla="*/ 84 h 325"/>
                <a:gd name="T64" fmla="*/ 192 w 374"/>
                <a:gd name="T65" fmla="*/ 114 h 325"/>
                <a:gd name="T66" fmla="*/ 192 w 374"/>
                <a:gd name="T67" fmla="*/ 151 h 325"/>
                <a:gd name="T68" fmla="*/ 177 w 374"/>
                <a:gd name="T69" fmla="*/ 177 h 325"/>
                <a:gd name="T70" fmla="*/ 182 w 374"/>
                <a:gd name="T71" fmla="*/ 137 h 325"/>
                <a:gd name="T72" fmla="*/ 132 w 374"/>
                <a:gd name="T73" fmla="*/ 278 h 325"/>
                <a:gd name="T74" fmla="*/ 159 w 374"/>
                <a:gd name="T75" fmla="*/ 225 h 325"/>
                <a:gd name="T76" fmla="*/ 135 w 374"/>
                <a:gd name="T77" fmla="*/ 185 h 325"/>
                <a:gd name="T78" fmla="*/ 177 w 374"/>
                <a:gd name="T79" fmla="*/ 86 h 325"/>
                <a:gd name="T80" fmla="*/ 175 w 374"/>
                <a:gd name="T81" fmla="*/ 124 h 325"/>
                <a:gd name="T82" fmla="*/ 177 w 374"/>
                <a:gd name="T83" fmla="*/ 177 h 325"/>
                <a:gd name="T84" fmla="*/ 177 w 374"/>
                <a:gd name="T85" fmla="*/ 275 h 325"/>
                <a:gd name="T86" fmla="*/ 124 w 374"/>
                <a:gd name="T87" fmla="*/ 307 h 325"/>
                <a:gd name="T88" fmla="*/ 105 w 374"/>
                <a:gd name="T89" fmla="*/ 146 h 325"/>
                <a:gd name="T90" fmla="*/ 124 w 374"/>
                <a:gd name="T91" fmla="*/ 230 h 325"/>
                <a:gd name="T92" fmla="*/ 105 w 374"/>
                <a:gd name="T93" fmla="*/ 257 h 325"/>
                <a:gd name="T94" fmla="*/ 112 w 374"/>
                <a:gd name="T95" fmla="*/ 216 h 325"/>
                <a:gd name="T96" fmla="*/ 91 w 374"/>
                <a:gd name="T97" fmla="*/ 266 h 325"/>
                <a:gd name="T98" fmla="*/ 105 w 374"/>
                <a:gd name="T99" fmla="*/ 294 h 325"/>
                <a:gd name="T100" fmla="*/ 102 w 374"/>
                <a:gd name="T101" fmla="*/ 131 h 325"/>
                <a:gd name="T102" fmla="*/ 105 w 374"/>
                <a:gd name="T103" fmla="*/ 204 h 325"/>
                <a:gd name="T104" fmla="*/ 99 w 374"/>
                <a:gd name="T105" fmla="*/ 224 h 325"/>
                <a:gd name="T106" fmla="*/ 91 w 374"/>
                <a:gd name="T107" fmla="*/ 320 h 325"/>
                <a:gd name="T108" fmla="*/ 48 w 374"/>
                <a:gd name="T109" fmla="*/ 164 h 325"/>
                <a:gd name="T110" fmla="*/ 80 w 374"/>
                <a:gd name="T111" fmla="*/ 161 h 325"/>
                <a:gd name="T112" fmla="*/ 91 w 374"/>
                <a:gd name="T113" fmla="*/ 229 h 325"/>
                <a:gd name="T114" fmla="*/ 91 w 374"/>
                <a:gd name="T115" fmla="*/ 320 h 325"/>
                <a:gd name="T116" fmla="*/ 29 w 374"/>
                <a:gd name="T117" fmla="*/ 1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4" h="325">
                  <a:moveTo>
                    <a:pt x="296" y="27"/>
                  </a:moveTo>
                  <a:cubicBezTo>
                    <a:pt x="374" y="156"/>
                    <a:pt x="374" y="156"/>
                    <a:pt x="374" y="156"/>
                  </a:cubicBezTo>
                  <a:cubicBezTo>
                    <a:pt x="296" y="203"/>
                    <a:pt x="296" y="203"/>
                    <a:pt x="296" y="203"/>
                  </a:cubicBezTo>
                  <a:cubicBezTo>
                    <a:pt x="296" y="179"/>
                    <a:pt x="296" y="179"/>
                    <a:pt x="296" y="179"/>
                  </a:cubicBezTo>
                  <a:cubicBezTo>
                    <a:pt x="305" y="174"/>
                    <a:pt x="305" y="174"/>
                    <a:pt x="305" y="174"/>
                  </a:cubicBezTo>
                  <a:cubicBezTo>
                    <a:pt x="302" y="170"/>
                    <a:pt x="300" y="166"/>
                    <a:pt x="297" y="162"/>
                  </a:cubicBezTo>
                  <a:cubicBezTo>
                    <a:pt x="296" y="163"/>
                    <a:pt x="296" y="163"/>
                    <a:pt x="296" y="163"/>
                  </a:cubicBezTo>
                  <a:cubicBezTo>
                    <a:pt x="296" y="131"/>
                    <a:pt x="296" y="131"/>
                    <a:pt x="296" y="131"/>
                  </a:cubicBezTo>
                  <a:cubicBezTo>
                    <a:pt x="301" y="139"/>
                    <a:pt x="301" y="139"/>
                    <a:pt x="301" y="139"/>
                  </a:cubicBezTo>
                  <a:cubicBezTo>
                    <a:pt x="311" y="133"/>
                    <a:pt x="321" y="127"/>
                    <a:pt x="331" y="121"/>
                  </a:cubicBezTo>
                  <a:cubicBezTo>
                    <a:pt x="329" y="117"/>
                    <a:pt x="326" y="113"/>
                    <a:pt x="324" y="109"/>
                  </a:cubicBezTo>
                  <a:cubicBezTo>
                    <a:pt x="296" y="126"/>
                    <a:pt x="296" y="126"/>
                    <a:pt x="296" y="126"/>
                  </a:cubicBezTo>
                  <a:cubicBezTo>
                    <a:pt x="296" y="105"/>
                    <a:pt x="296" y="105"/>
                    <a:pt x="296" y="105"/>
                  </a:cubicBezTo>
                  <a:cubicBezTo>
                    <a:pt x="315" y="94"/>
                    <a:pt x="315" y="94"/>
                    <a:pt x="315" y="94"/>
                  </a:cubicBezTo>
                  <a:cubicBezTo>
                    <a:pt x="312" y="89"/>
                    <a:pt x="310" y="85"/>
                    <a:pt x="307" y="81"/>
                  </a:cubicBezTo>
                  <a:cubicBezTo>
                    <a:pt x="296" y="88"/>
                    <a:pt x="296" y="88"/>
                    <a:pt x="296" y="88"/>
                  </a:cubicBezTo>
                  <a:cubicBezTo>
                    <a:pt x="296" y="68"/>
                    <a:pt x="296" y="68"/>
                    <a:pt x="296" y="68"/>
                  </a:cubicBezTo>
                  <a:cubicBezTo>
                    <a:pt x="298" y="67"/>
                    <a:pt x="298" y="67"/>
                    <a:pt x="298" y="67"/>
                  </a:cubicBezTo>
                  <a:cubicBezTo>
                    <a:pt x="296" y="63"/>
                    <a:pt x="296" y="63"/>
                    <a:pt x="296" y="63"/>
                  </a:cubicBezTo>
                  <a:lnTo>
                    <a:pt x="296" y="27"/>
                  </a:lnTo>
                  <a:close/>
                  <a:moveTo>
                    <a:pt x="280" y="0"/>
                  </a:moveTo>
                  <a:cubicBezTo>
                    <a:pt x="296" y="27"/>
                    <a:pt x="296" y="27"/>
                    <a:pt x="296" y="27"/>
                  </a:cubicBezTo>
                  <a:cubicBezTo>
                    <a:pt x="296" y="63"/>
                    <a:pt x="296" y="63"/>
                    <a:pt x="296" y="63"/>
                  </a:cubicBezTo>
                  <a:cubicBezTo>
                    <a:pt x="291" y="54"/>
                    <a:pt x="291" y="54"/>
                    <a:pt x="291" y="54"/>
                  </a:cubicBezTo>
                  <a:cubicBezTo>
                    <a:pt x="263" y="71"/>
                    <a:pt x="263" y="71"/>
                    <a:pt x="263" y="71"/>
                  </a:cubicBezTo>
                  <a:cubicBezTo>
                    <a:pt x="263" y="50"/>
                    <a:pt x="263" y="50"/>
                    <a:pt x="263" y="50"/>
                  </a:cubicBezTo>
                  <a:cubicBezTo>
                    <a:pt x="282" y="39"/>
                    <a:pt x="282" y="39"/>
                    <a:pt x="282" y="39"/>
                  </a:cubicBezTo>
                  <a:cubicBezTo>
                    <a:pt x="279" y="35"/>
                    <a:pt x="277" y="31"/>
                    <a:pt x="274" y="27"/>
                  </a:cubicBezTo>
                  <a:cubicBezTo>
                    <a:pt x="263" y="34"/>
                    <a:pt x="263" y="34"/>
                    <a:pt x="263" y="34"/>
                  </a:cubicBezTo>
                  <a:cubicBezTo>
                    <a:pt x="263" y="11"/>
                    <a:pt x="263" y="11"/>
                    <a:pt x="263" y="11"/>
                  </a:cubicBezTo>
                  <a:cubicBezTo>
                    <a:pt x="280" y="0"/>
                    <a:pt x="280" y="0"/>
                    <a:pt x="280" y="0"/>
                  </a:cubicBezTo>
                  <a:close/>
                  <a:moveTo>
                    <a:pt x="296" y="203"/>
                  </a:moveTo>
                  <a:cubicBezTo>
                    <a:pt x="296" y="179"/>
                    <a:pt x="296" y="179"/>
                    <a:pt x="296" y="179"/>
                  </a:cubicBezTo>
                  <a:cubicBezTo>
                    <a:pt x="275" y="192"/>
                    <a:pt x="275" y="192"/>
                    <a:pt x="275" y="192"/>
                  </a:cubicBezTo>
                  <a:cubicBezTo>
                    <a:pt x="272" y="188"/>
                    <a:pt x="270" y="184"/>
                    <a:pt x="267" y="180"/>
                  </a:cubicBezTo>
                  <a:cubicBezTo>
                    <a:pt x="296" y="163"/>
                    <a:pt x="296" y="163"/>
                    <a:pt x="296" y="163"/>
                  </a:cubicBezTo>
                  <a:cubicBezTo>
                    <a:pt x="296" y="131"/>
                    <a:pt x="296" y="131"/>
                    <a:pt x="296" y="131"/>
                  </a:cubicBezTo>
                  <a:cubicBezTo>
                    <a:pt x="294" y="127"/>
                    <a:pt x="294" y="127"/>
                    <a:pt x="294" y="127"/>
                  </a:cubicBezTo>
                  <a:cubicBezTo>
                    <a:pt x="296" y="126"/>
                    <a:pt x="296" y="126"/>
                    <a:pt x="296" y="126"/>
                  </a:cubicBezTo>
                  <a:cubicBezTo>
                    <a:pt x="296" y="105"/>
                    <a:pt x="296" y="105"/>
                    <a:pt x="296" y="105"/>
                  </a:cubicBezTo>
                  <a:cubicBezTo>
                    <a:pt x="285" y="112"/>
                    <a:pt x="285" y="112"/>
                    <a:pt x="285" y="112"/>
                  </a:cubicBezTo>
                  <a:cubicBezTo>
                    <a:pt x="282" y="108"/>
                    <a:pt x="280" y="104"/>
                    <a:pt x="277" y="99"/>
                  </a:cubicBezTo>
                  <a:cubicBezTo>
                    <a:pt x="296" y="88"/>
                    <a:pt x="296" y="88"/>
                    <a:pt x="296" y="88"/>
                  </a:cubicBezTo>
                  <a:cubicBezTo>
                    <a:pt x="296" y="68"/>
                    <a:pt x="296" y="68"/>
                    <a:pt x="296" y="68"/>
                  </a:cubicBezTo>
                  <a:cubicBezTo>
                    <a:pt x="268" y="85"/>
                    <a:pt x="268" y="85"/>
                    <a:pt x="268" y="85"/>
                  </a:cubicBezTo>
                  <a:cubicBezTo>
                    <a:pt x="263" y="76"/>
                    <a:pt x="263" y="76"/>
                    <a:pt x="263" y="76"/>
                  </a:cubicBezTo>
                  <a:cubicBezTo>
                    <a:pt x="263" y="108"/>
                    <a:pt x="263" y="108"/>
                    <a:pt x="263" y="108"/>
                  </a:cubicBezTo>
                  <a:cubicBezTo>
                    <a:pt x="264" y="107"/>
                    <a:pt x="264" y="107"/>
                    <a:pt x="264" y="107"/>
                  </a:cubicBezTo>
                  <a:cubicBezTo>
                    <a:pt x="267" y="111"/>
                    <a:pt x="269" y="115"/>
                    <a:pt x="272" y="120"/>
                  </a:cubicBezTo>
                  <a:cubicBezTo>
                    <a:pt x="263" y="125"/>
                    <a:pt x="263" y="125"/>
                    <a:pt x="263" y="125"/>
                  </a:cubicBezTo>
                  <a:cubicBezTo>
                    <a:pt x="263" y="223"/>
                    <a:pt x="263" y="223"/>
                    <a:pt x="263" y="223"/>
                  </a:cubicBezTo>
                  <a:lnTo>
                    <a:pt x="296" y="203"/>
                  </a:lnTo>
                  <a:close/>
                  <a:moveTo>
                    <a:pt x="263" y="223"/>
                  </a:moveTo>
                  <a:cubicBezTo>
                    <a:pt x="237" y="239"/>
                    <a:pt x="237" y="239"/>
                    <a:pt x="237" y="239"/>
                  </a:cubicBezTo>
                  <a:cubicBezTo>
                    <a:pt x="237" y="215"/>
                    <a:pt x="237" y="215"/>
                    <a:pt x="237" y="215"/>
                  </a:cubicBezTo>
                  <a:cubicBezTo>
                    <a:pt x="262" y="200"/>
                    <a:pt x="262" y="200"/>
                    <a:pt x="262" y="200"/>
                  </a:cubicBezTo>
                  <a:cubicBezTo>
                    <a:pt x="259" y="196"/>
                    <a:pt x="257" y="192"/>
                    <a:pt x="254" y="188"/>
                  </a:cubicBezTo>
                  <a:cubicBezTo>
                    <a:pt x="237" y="198"/>
                    <a:pt x="237" y="198"/>
                    <a:pt x="237" y="198"/>
                  </a:cubicBezTo>
                  <a:cubicBezTo>
                    <a:pt x="237" y="178"/>
                    <a:pt x="237" y="178"/>
                    <a:pt x="237" y="178"/>
                  </a:cubicBezTo>
                  <a:cubicBezTo>
                    <a:pt x="245" y="173"/>
                    <a:pt x="245" y="173"/>
                    <a:pt x="245" y="173"/>
                  </a:cubicBezTo>
                  <a:cubicBezTo>
                    <a:pt x="243" y="169"/>
                    <a:pt x="240" y="165"/>
                    <a:pt x="238" y="161"/>
                  </a:cubicBezTo>
                  <a:cubicBezTo>
                    <a:pt x="237" y="161"/>
                    <a:pt x="237" y="161"/>
                    <a:pt x="237" y="161"/>
                  </a:cubicBezTo>
                  <a:cubicBezTo>
                    <a:pt x="237" y="129"/>
                    <a:pt x="237" y="129"/>
                    <a:pt x="237" y="129"/>
                  </a:cubicBezTo>
                  <a:cubicBezTo>
                    <a:pt x="242" y="138"/>
                    <a:pt x="242" y="138"/>
                    <a:pt x="242" y="138"/>
                  </a:cubicBezTo>
                  <a:cubicBezTo>
                    <a:pt x="263" y="125"/>
                    <a:pt x="263" y="125"/>
                    <a:pt x="263" y="125"/>
                  </a:cubicBezTo>
                  <a:cubicBezTo>
                    <a:pt x="263" y="223"/>
                    <a:pt x="263" y="223"/>
                    <a:pt x="263" y="223"/>
                  </a:cubicBezTo>
                  <a:close/>
                  <a:moveTo>
                    <a:pt x="237" y="27"/>
                  </a:moveTo>
                  <a:cubicBezTo>
                    <a:pt x="263" y="11"/>
                    <a:pt x="263" y="11"/>
                    <a:pt x="263" y="11"/>
                  </a:cubicBezTo>
                  <a:cubicBezTo>
                    <a:pt x="263" y="34"/>
                    <a:pt x="263" y="34"/>
                    <a:pt x="263" y="34"/>
                  </a:cubicBezTo>
                  <a:cubicBezTo>
                    <a:pt x="244" y="45"/>
                    <a:pt x="244" y="45"/>
                    <a:pt x="244" y="45"/>
                  </a:cubicBezTo>
                  <a:cubicBezTo>
                    <a:pt x="247" y="49"/>
                    <a:pt x="249" y="53"/>
                    <a:pt x="252" y="57"/>
                  </a:cubicBezTo>
                  <a:cubicBezTo>
                    <a:pt x="263" y="50"/>
                    <a:pt x="263" y="50"/>
                    <a:pt x="263" y="50"/>
                  </a:cubicBezTo>
                  <a:cubicBezTo>
                    <a:pt x="263" y="71"/>
                    <a:pt x="263" y="71"/>
                    <a:pt x="263" y="71"/>
                  </a:cubicBezTo>
                  <a:cubicBezTo>
                    <a:pt x="261" y="72"/>
                    <a:pt x="261" y="72"/>
                    <a:pt x="261" y="72"/>
                  </a:cubicBezTo>
                  <a:cubicBezTo>
                    <a:pt x="263" y="76"/>
                    <a:pt x="263" y="76"/>
                    <a:pt x="263" y="76"/>
                  </a:cubicBezTo>
                  <a:cubicBezTo>
                    <a:pt x="263" y="108"/>
                    <a:pt x="263" y="108"/>
                    <a:pt x="263" y="108"/>
                  </a:cubicBezTo>
                  <a:cubicBezTo>
                    <a:pt x="237" y="124"/>
                    <a:pt x="237" y="124"/>
                    <a:pt x="237" y="124"/>
                  </a:cubicBezTo>
                  <a:cubicBezTo>
                    <a:pt x="237" y="104"/>
                    <a:pt x="237" y="104"/>
                    <a:pt x="237" y="104"/>
                  </a:cubicBezTo>
                  <a:cubicBezTo>
                    <a:pt x="255" y="93"/>
                    <a:pt x="255" y="93"/>
                    <a:pt x="255" y="93"/>
                  </a:cubicBezTo>
                  <a:cubicBezTo>
                    <a:pt x="253" y="88"/>
                    <a:pt x="250" y="84"/>
                    <a:pt x="248" y="80"/>
                  </a:cubicBezTo>
                  <a:cubicBezTo>
                    <a:pt x="237" y="87"/>
                    <a:pt x="237" y="87"/>
                    <a:pt x="237" y="87"/>
                  </a:cubicBezTo>
                  <a:lnTo>
                    <a:pt x="237" y="27"/>
                  </a:lnTo>
                  <a:close/>
                  <a:moveTo>
                    <a:pt x="237" y="239"/>
                  </a:moveTo>
                  <a:cubicBezTo>
                    <a:pt x="234" y="240"/>
                    <a:pt x="234" y="240"/>
                    <a:pt x="234" y="240"/>
                  </a:cubicBezTo>
                  <a:cubicBezTo>
                    <a:pt x="210" y="255"/>
                    <a:pt x="210" y="255"/>
                    <a:pt x="210" y="255"/>
                  </a:cubicBezTo>
                  <a:cubicBezTo>
                    <a:pt x="210" y="231"/>
                    <a:pt x="210" y="231"/>
                    <a:pt x="210" y="231"/>
                  </a:cubicBezTo>
                  <a:cubicBezTo>
                    <a:pt x="218" y="226"/>
                    <a:pt x="218" y="226"/>
                    <a:pt x="218" y="226"/>
                  </a:cubicBezTo>
                  <a:cubicBezTo>
                    <a:pt x="216" y="222"/>
                    <a:pt x="213" y="218"/>
                    <a:pt x="211" y="214"/>
                  </a:cubicBezTo>
                  <a:cubicBezTo>
                    <a:pt x="210" y="215"/>
                    <a:pt x="210" y="215"/>
                    <a:pt x="210" y="215"/>
                  </a:cubicBezTo>
                  <a:cubicBezTo>
                    <a:pt x="210" y="183"/>
                    <a:pt x="210" y="183"/>
                    <a:pt x="210" y="183"/>
                  </a:cubicBezTo>
                  <a:cubicBezTo>
                    <a:pt x="215" y="191"/>
                    <a:pt x="215" y="191"/>
                    <a:pt x="215" y="191"/>
                  </a:cubicBezTo>
                  <a:cubicBezTo>
                    <a:pt x="237" y="178"/>
                    <a:pt x="237" y="178"/>
                    <a:pt x="237" y="178"/>
                  </a:cubicBezTo>
                  <a:cubicBezTo>
                    <a:pt x="237" y="198"/>
                    <a:pt x="237" y="198"/>
                    <a:pt x="237" y="198"/>
                  </a:cubicBezTo>
                  <a:cubicBezTo>
                    <a:pt x="224" y="206"/>
                    <a:pt x="224" y="206"/>
                    <a:pt x="224" y="206"/>
                  </a:cubicBezTo>
                  <a:cubicBezTo>
                    <a:pt x="226" y="210"/>
                    <a:pt x="229" y="214"/>
                    <a:pt x="232" y="218"/>
                  </a:cubicBezTo>
                  <a:cubicBezTo>
                    <a:pt x="237" y="215"/>
                    <a:pt x="237" y="215"/>
                    <a:pt x="237" y="215"/>
                  </a:cubicBezTo>
                  <a:cubicBezTo>
                    <a:pt x="237" y="239"/>
                    <a:pt x="237" y="239"/>
                    <a:pt x="237" y="239"/>
                  </a:cubicBezTo>
                  <a:close/>
                  <a:moveTo>
                    <a:pt x="210" y="43"/>
                  </a:moveTo>
                  <a:cubicBezTo>
                    <a:pt x="237" y="27"/>
                    <a:pt x="237" y="27"/>
                    <a:pt x="237" y="27"/>
                  </a:cubicBezTo>
                  <a:cubicBezTo>
                    <a:pt x="237" y="87"/>
                    <a:pt x="237" y="87"/>
                    <a:pt x="237" y="87"/>
                  </a:cubicBezTo>
                  <a:cubicBezTo>
                    <a:pt x="218" y="98"/>
                    <a:pt x="218" y="98"/>
                    <a:pt x="218" y="98"/>
                  </a:cubicBezTo>
                  <a:cubicBezTo>
                    <a:pt x="220" y="102"/>
                    <a:pt x="223" y="106"/>
                    <a:pt x="225" y="111"/>
                  </a:cubicBezTo>
                  <a:cubicBezTo>
                    <a:pt x="237" y="104"/>
                    <a:pt x="237" y="104"/>
                    <a:pt x="237" y="104"/>
                  </a:cubicBezTo>
                  <a:cubicBezTo>
                    <a:pt x="237" y="124"/>
                    <a:pt x="237" y="124"/>
                    <a:pt x="237" y="124"/>
                  </a:cubicBezTo>
                  <a:cubicBezTo>
                    <a:pt x="234" y="125"/>
                    <a:pt x="234" y="125"/>
                    <a:pt x="234" y="125"/>
                  </a:cubicBezTo>
                  <a:cubicBezTo>
                    <a:pt x="237" y="129"/>
                    <a:pt x="237" y="129"/>
                    <a:pt x="237" y="129"/>
                  </a:cubicBezTo>
                  <a:cubicBezTo>
                    <a:pt x="237" y="161"/>
                    <a:pt x="237" y="161"/>
                    <a:pt x="237" y="161"/>
                  </a:cubicBezTo>
                  <a:cubicBezTo>
                    <a:pt x="210" y="178"/>
                    <a:pt x="210" y="178"/>
                    <a:pt x="210" y="178"/>
                  </a:cubicBezTo>
                  <a:cubicBezTo>
                    <a:pt x="210" y="157"/>
                    <a:pt x="210" y="157"/>
                    <a:pt x="210" y="157"/>
                  </a:cubicBezTo>
                  <a:cubicBezTo>
                    <a:pt x="229" y="146"/>
                    <a:pt x="229" y="146"/>
                    <a:pt x="229" y="146"/>
                  </a:cubicBezTo>
                  <a:cubicBezTo>
                    <a:pt x="226" y="141"/>
                    <a:pt x="224" y="137"/>
                    <a:pt x="221" y="133"/>
                  </a:cubicBezTo>
                  <a:cubicBezTo>
                    <a:pt x="210" y="140"/>
                    <a:pt x="210" y="140"/>
                    <a:pt x="210" y="140"/>
                  </a:cubicBezTo>
                  <a:cubicBezTo>
                    <a:pt x="210" y="120"/>
                    <a:pt x="210" y="120"/>
                    <a:pt x="210" y="120"/>
                  </a:cubicBezTo>
                  <a:cubicBezTo>
                    <a:pt x="212" y="119"/>
                    <a:pt x="212" y="119"/>
                    <a:pt x="212" y="119"/>
                  </a:cubicBezTo>
                  <a:cubicBezTo>
                    <a:pt x="210" y="115"/>
                    <a:pt x="210" y="115"/>
                    <a:pt x="210" y="115"/>
                  </a:cubicBezTo>
                  <a:lnTo>
                    <a:pt x="210" y="43"/>
                  </a:lnTo>
                  <a:close/>
                  <a:moveTo>
                    <a:pt x="210" y="255"/>
                  </a:moveTo>
                  <a:cubicBezTo>
                    <a:pt x="192" y="266"/>
                    <a:pt x="192" y="266"/>
                    <a:pt x="192" y="266"/>
                  </a:cubicBezTo>
                  <a:cubicBezTo>
                    <a:pt x="192" y="242"/>
                    <a:pt x="192" y="242"/>
                    <a:pt x="192" y="242"/>
                  </a:cubicBezTo>
                  <a:cubicBezTo>
                    <a:pt x="210" y="231"/>
                    <a:pt x="210" y="231"/>
                    <a:pt x="210" y="231"/>
                  </a:cubicBezTo>
                  <a:cubicBezTo>
                    <a:pt x="210" y="255"/>
                    <a:pt x="210" y="255"/>
                    <a:pt x="210" y="255"/>
                  </a:cubicBezTo>
                  <a:close/>
                  <a:moveTo>
                    <a:pt x="192" y="54"/>
                  </a:moveTo>
                  <a:cubicBezTo>
                    <a:pt x="210" y="43"/>
                    <a:pt x="210" y="43"/>
                    <a:pt x="210" y="43"/>
                  </a:cubicBezTo>
                  <a:cubicBezTo>
                    <a:pt x="210" y="115"/>
                    <a:pt x="210" y="115"/>
                    <a:pt x="210" y="115"/>
                  </a:cubicBezTo>
                  <a:cubicBezTo>
                    <a:pt x="205" y="106"/>
                    <a:pt x="205" y="106"/>
                    <a:pt x="205" y="106"/>
                  </a:cubicBezTo>
                  <a:cubicBezTo>
                    <a:pt x="192" y="114"/>
                    <a:pt x="192" y="114"/>
                    <a:pt x="192" y="114"/>
                  </a:cubicBezTo>
                  <a:cubicBezTo>
                    <a:pt x="192" y="94"/>
                    <a:pt x="192" y="94"/>
                    <a:pt x="192" y="94"/>
                  </a:cubicBezTo>
                  <a:cubicBezTo>
                    <a:pt x="196" y="91"/>
                    <a:pt x="196" y="91"/>
                    <a:pt x="196" y="91"/>
                  </a:cubicBezTo>
                  <a:cubicBezTo>
                    <a:pt x="192" y="84"/>
                    <a:pt x="192" y="84"/>
                    <a:pt x="192" y="84"/>
                  </a:cubicBezTo>
                  <a:cubicBezTo>
                    <a:pt x="192" y="54"/>
                    <a:pt x="192" y="54"/>
                    <a:pt x="192" y="54"/>
                  </a:cubicBezTo>
                  <a:close/>
                  <a:moveTo>
                    <a:pt x="210" y="120"/>
                  </a:moveTo>
                  <a:cubicBezTo>
                    <a:pt x="210" y="140"/>
                    <a:pt x="210" y="140"/>
                    <a:pt x="210" y="140"/>
                  </a:cubicBezTo>
                  <a:cubicBezTo>
                    <a:pt x="192" y="151"/>
                    <a:pt x="192" y="151"/>
                    <a:pt x="192" y="151"/>
                  </a:cubicBezTo>
                  <a:cubicBezTo>
                    <a:pt x="192" y="131"/>
                    <a:pt x="192" y="131"/>
                    <a:pt x="192" y="131"/>
                  </a:cubicBezTo>
                  <a:cubicBezTo>
                    <a:pt x="210" y="120"/>
                    <a:pt x="210" y="120"/>
                    <a:pt x="210" y="120"/>
                  </a:cubicBezTo>
                  <a:close/>
                  <a:moveTo>
                    <a:pt x="210" y="157"/>
                  </a:moveTo>
                  <a:cubicBezTo>
                    <a:pt x="210" y="178"/>
                    <a:pt x="210" y="178"/>
                    <a:pt x="210" y="178"/>
                  </a:cubicBezTo>
                  <a:cubicBezTo>
                    <a:pt x="208" y="179"/>
                    <a:pt x="208" y="179"/>
                    <a:pt x="208" y="179"/>
                  </a:cubicBezTo>
                  <a:cubicBezTo>
                    <a:pt x="210" y="183"/>
                    <a:pt x="210" y="183"/>
                    <a:pt x="210" y="183"/>
                  </a:cubicBezTo>
                  <a:cubicBezTo>
                    <a:pt x="210" y="215"/>
                    <a:pt x="210" y="215"/>
                    <a:pt x="210" y="215"/>
                  </a:cubicBezTo>
                  <a:cubicBezTo>
                    <a:pt x="192" y="226"/>
                    <a:pt x="192" y="226"/>
                    <a:pt x="192" y="226"/>
                  </a:cubicBezTo>
                  <a:cubicBezTo>
                    <a:pt x="192" y="205"/>
                    <a:pt x="192" y="205"/>
                    <a:pt x="192" y="205"/>
                  </a:cubicBezTo>
                  <a:cubicBezTo>
                    <a:pt x="202" y="199"/>
                    <a:pt x="202" y="199"/>
                    <a:pt x="202" y="199"/>
                  </a:cubicBezTo>
                  <a:cubicBezTo>
                    <a:pt x="199" y="195"/>
                    <a:pt x="197" y="191"/>
                    <a:pt x="195" y="187"/>
                  </a:cubicBezTo>
                  <a:cubicBezTo>
                    <a:pt x="192" y="189"/>
                    <a:pt x="192" y="189"/>
                    <a:pt x="192" y="189"/>
                  </a:cubicBezTo>
                  <a:cubicBezTo>
                    <a:pt x="192" y="152"/>
                    <a:pt x="192" y="152"/>
                    <a:pt x="192" y="152"/>
                  </a:cubicBezTo>
                  <a:cubicBezTo>
                    <a:pt x="199" y="164"/>
                    <a:pt x="199" y="164"/>
                    <a:pt x="199" y="164"/>
                  </a:cubicBezTo>
                  <a:lnTo>
                    <a:pt x="210" y="157"/>
                  </a:lnTo>
                  <a:close/>
                  <a:moveTo>
                    <a:pt x="192" y="266"/>
                  </a:moveTo>
                  <a:cubicBezTo>
                    <a:pt x="177" y="275"/>
                    <a:pt x="177" y="275"/>
                    <a:pt x="177" y="275"/>
                  </a:cubicBezTo>
                  <a:cubicBezTo>
                    <a:pt x="177" y="214"/>
                    <a:pt x="177" y="214"/>
                    <a:pt x="177" y="214"/>
                  </a:cubicBezTo>
                  <a:cubicBezTo>
                    <a:pt x="192" y="205"/>
                    <a:pt x="192" y="205"/>
                    <a:pt x="192" y="205"/>
                  </a:cubicBezTo>
                  <a:cubicBezTo>
                    <a:pt x="192" y="226"/>
                    <a:pt x="192" y="226"/>
                    <a:pt x="192" y="226"/>
                  </a:cubicBezTo>
                  <a:cubicBezTo>
                    <a:pt x="181" y="232"/>
                    <a:pt x="181" y="232"/>
                    <a:pt x="181" y="232"/>
                  </a:cubicBezTo>
                  <a:cubicBezTo>
                    <a:pt x="183" y="236"/>
                    <a:pt x="186" y="240"/>
                    <a:pt x="188" y="244"/>
                  </a:cubicBezTo>
                  <a:cubicBezTo>
                    <a:pt x="192" y="242"/>
                    <a:pt x="192" y="242"/>
                    <a:pt x="192" y="242"/>
                  </a:cubicBezTo>
                  <a:cubicBezTo>
                    <a:pt x="192" y="266"/>
                    <a:pt x="192" y="266"/>
                    <a:pt x="192" y="266"/>
                  </a:cubicBezTo>
                  <a:close/>
                  <a:moveTo>
                    <a:pt x="177" y="63"/>
                  </a:moveTo>
                  <a:cubicBezTo>
                    <a:pt x="192" y="54"/>
                    <a:pt x="192" y="54"/>
                    <a:pt x="192" y="54"/>
                  </a:cubicBezTo>
                  <a:cubicBezTo>
                    <a:pt x="192" y="84"/>
                    <a:pt x="192" y="84"/>
                    <a:pt x="192" y="84"/>
                  </a:cubicBezTo>
                  <a:cubicBezTo>
                    <a:pt x="188" y="79"/>
                    <a:pt x="188" y="79"/>
                    <a:pt x="188" y="79"/>
                  </a:cubicBezTo>
                  <a:cubicBezTo>
                    <a:pt x="177" y="86"/>
                    <a:pt x="177" y="86"/>
                    <a:pt x="177" y="86"/>
                  </a:cubicBezTo>
                  <a:cubicBezTo>
                    <a:pt x="177" y="63"/>
                    <a:pt x="177" y="63"/>
                    <a:pt x="177" y="63"/>
                  </a:cubicBezTo>
                  <a:close/>
                  <a:moveTo>
                    <a:pt x="192" y="94"/>
                  </a:moveTo>
                  <a:cubicBezTo>
                    <a:pt x="192" y="114"/>
                    <a:pt x="192" y="114"/>
                    <a:pt x="192" y="114"/>
                  </a:cubicBezTo>
                  <a:cubicBezTo>
                    <a:pt x="177" y="123"/>
                    <a:pt x="177" y="123"/>
                    <a:pt x="177" y="123"/>
                  </a:cubicBezTo>
                  <a:cubicBezTo>
                    <a:pt x="177" y="103"/>
                    <a:pt x="177" y="103"/>
                    <a:pt x="177" y="103"/>
                  </a:cubicBezTo>
                  <a:cubicBezTo>
                    <a:pt x="192" y="94"/>
                    <a:pt x="192" y="94"/>
                    <a:pt x="192" y="94"/>
                  </a:cubicBezTo>
                  <a:close/>
                  <a:moveTo>
                    <a:pt x="192" y="131"/>
                  </a:moveTo>
                  <a:cubicBezTo>
                    <a:pt x="192" y="151"/>
                    <a:pt x="192" y="151"/>
                    <a:pt x="192" y="151"/>
                  </a:cubicBezTo>
                  <a:cubicBezTo>
                    <a:pt x="191" y="152"/>
                    <a:pt x="191" y="152"/>
                    <a:pt x="191" y="152"/>
                  </a:cubicBezTo>
                  <a:cubicBezTo>
                    <a:pt x="192" y="152"/>
                    <a:pt x="192" y="152"/>
                    <a:pt x="192" y="152"/>
                  </a:cubicBezTo>
                  <a:cubicBezTo>
                    <a:pt x="192" y="189"/>
                    <a:pt x="192" y="189"/>
                    <a:pt x="192" y="189"/>
                  </a:cubicBezTo>
                  <a:cubicBezTo>
                    <a:pt x="177" y="197"/>
                    <a:pt x="177" y="197"/>
                    <a:pt x="177" y="197"/>
                  </a:cubicBezTo>
                  <a:cubicBezTo>
                    <a:pt x="177" y="177"/>
                    <a:pt x="177" y="177"/>
                    <a:pt x="177" y="177"/>
                  </a:cubicBezTo>
                  <a:cubicBezTo>
                    <a:pt x="186" y="172"/>
                    <a:pt x="186" y="172"/>
                    <a:pt x="186" y="172"/>
                  </a:cubicBezTo>
                  <a:cubicBezTo>
                    <a:pt x="183" y="167"/>
                    <a:pt x="181" y="163"/>
                    <a:pt x="178" y="159"/>
                  </a:cubicBezTo>
                  <a:cubicBezTo>
                    <a:pt x="177" y="160"/>
                    <a:pt x="177" y="160"/>
                    <a:pt x="177" y="160"/>
                  </a:cubicBezTo>
                  <a:cubicBezTo>
                    <a:pt x="177" y="128"/>
                    <a:pt x="177" y="128"/>
                    <a:pt x="177" y="128"/>
                  </a:cubicBezTo>
                  <a:cubicBezTo>
                    <a:pt x="182" y="137"/>
                    <a:pt x="182" y="137"/>
                    <a:pt x="182" y="137"/>
                  </a:cubicBezTo>
                  <a:lnTo>
                    <a:pt x="192" y="131"/>
                  </a:lnTo>
                  <a:close/>
                  <a:moveTo>
                    <a:pt x="177" y="275"/>
                  </a:moveTo>
                  <a:cubicBezTo>
                    <a:pt x="124" y="307"/>
                    <a:pt x="124" y="307"/>
                    <a:pt x="124" y="307"/>
                  </a:cubicBezTo>
                  <a:cubicBezTo>
                    <a:pt x="124" y="283"/>
                    <a:pt x="124" y="283"/>
                    <a:pt x="124" y="283"/>
                  </a:cubicBezTo>
                  <a:cubicBezTo>
                    <a:pt x="132" y="278"/>
                    <a:pt x="132" y="278"/>
                    <a:pt x="132" y="278"/>
                  </a:cubicBezTo>
                  <a:cubicBezTo>
                    <a:pt x="130" y="274"/>
                    <a:pt x="127" y="270"/>
                    <a:pt x="125" y="266"/>
                  </a:cubicBezTo>
                  <a:cubicBezTo>
                    <a:pt x="124" y="267"/>
                    <a:pt x="124" y="267"/>
                    <a:pt x="124" y="267"/>
                  </a:cubicBezTo>
                  <a:cubicBezTo>
                    <a:pt x="124" y="235"/>
                    <a:pt x="124" y="235"/>
                    <a:pt x="124" y="235"/>
                  </a:cubicBezTo>
                  <a:cubicBezTo>
                    <a:pt x="129" y="243"/>
                    <a:pt x="129" y="243"/>
                    <a:pt x="129" y="243"/>
                  </a:cubicBezTo>
                  <a:cubicBezTo>
                    <a:pt x="139" y="237"/>
                    <a:pt x="149" y="231"/>
                    <a:pt x="159" y="225"/>
                  </a:cubicBezTo>
                  <a:cubicBezTo>
                    <a:pt x="156" y="221"/>
                    <a:pt x="154" y="217"/>
                    <a:pt x="152" y="213"/>
                  </a:cubicBezTo>
                  <a:cubicBezTo>
                    <a:pt x="124" y="230"/>
                    <a:pt x="124" y="230"/>
                    <a:pt x="124" y="230"/>
                  </a:cubicBezTo>
                  <a:cubicBezTo>
                    <a:pt x="124" y="209"/>
                    <a:pt x="124" y="209"/>
                    <a:pt x="124" y="209"/>
                  </a:cubicBezTo>
                  <a:cubicBezTo>
                    <a:pt x="142" y="198"/>
                    <a:pt x="142" y="198"/>
                    <a:pt x="142" y="198"/>
                  </a:cubicBezTo>
                  <a:cubicBezTo>
                    <a:pt x="140" y="193"/>
                    <a:pt x="137" y="189"/>
                    <a:pt x="135" y="185"/>
                  </a:cubicBezTo>
                  <a:cubicBezTo>
                    <a:pt x="124" y="192"/>
                    <a:pt x="124" y="192"/>
                    <a:pt x="124" y="192"/>
                  </a:cubicBezTo>
                  <a:cubicBezTo>
                    <a:pt x="124" y="95"/>
                    <a:pt x="124" y="95"/>
                    <a:pt x="124" y="95"/>
                  </a:cubicBezTo>
                  <a:cubicBezTo>
                    <a:pt x="140" y="85"/>
                    <a:pt x="140" y="85"/>
                    <a:pt x="140" y="85"/>
                  </a:cubicBezTo>
                  <a:cubicBezTo>
                    <a:pt x="177" y="63"/>
                    <a:pt x="177" y="63"/>
                    <a:pt x="177" y="63"/>
                  </a:cubicBezTo>
                  <a:cubicBezTo>
                    <a:pt x="177" y="86"/>
                    <a:pt x="177" y="86"/>
                    <a:pt x="177" y="86"/>
                  </a:cubicBezTo>
                  <a:cubicBezTo>
                    <a:pt x="158" y="97"/>
                    <a:pt x="158" y="97"/>
                    <a:pt x="158" y="97"/>
                  </a:cubicBezTo>
                  <a:cubicBezTo>
                    <a:pt x="161" y="101"/>
                    <a:pt x="163" y="105"/>
                    <a:pt x="166" y="109"/>
                  </a:cubicBezTo>
                  <a:cubicBezTo>
                    <a:pt x="177" y="103"/>
                    <a:pt x="177" y="103"/>
                    <a:pt x="177" y="103"/>
                  </a:cubicBezTo>
                  <a:cubicBezTo>
                    <a:pt x="177" y="123"/>
                    <a:pt x="177" y="123"/>
                    <a:pt x="177" y="123"/>
                  </a:cubicBezTo>
                  <a:cubicBezTo>
                    <a:pt x="175" y="124"/>
                    <a:pt x="175" y="124"/>
                    <a:pt x="175" y="124"/>
                  </a:cubicBezTo>
                  <a:cubicBezTo>
                    <a:pt x="177" y="128"/>
                    <a:pt x="177" y="128"/>
                    <a:pt x="177" y="128"/>
                  </a:cubicBezTo>
                  <a:cubicBezTo>
                    <a:pt x="177" y="160"/>
                    <a:pt x="177" y="160"/>
                    <a:pt x="177" y="160"/>
                  </a:cubicBezTo>
                  <a:cubicBezTo>
                    <a:pt x="148" y="178"/>
                    <a:pt x="148" y="178"/>
                    <a:pt x="148" y="178"/>
                  </a:cubicBezTo>
                  <a:cubicBezTo>
                    <a:pt x="151" y="182"/>
                    <a:pt x="153" y="186"/>
                    <a:pt x="156" y="190"/>
                  </a:cubicBezTo>
                  <a:cubicBezTo>
                    <a:pt x="177" y="177"/>
                    <a:pt x="177" y="177"/>
                    <a:pt x="177" y="177"/>
                  </a:cubicBezTo>
                  <a:cubicBezTo>
                    <a:pt x="177" y="197"/>
                    <a:pt x="177" y="197"/>
                    <a:pt x="177" y="197"/>
                  </a:cubicBezTo>
                  <a:cubicBezTo>
                    <a:pt x="165" y="205"/>
                    <a:pt x="165" y="205"/>
                    <a:pt x="165" y="205"/>
                  </a:cubicBezTo>
                  <a:cubicBezTo>
                    <a:pt x="167" y="209"/>
                    <a:pt x="169" y="213"/>
                    <a:pt x="172" y="217"/>
                  </a:cubicBezTo>
                  <a:cubicBezTo>
                    <a:pt x="177" y="214"/>
                    <a:pt x="177" y="214"/>
                    <a:pt x="177" y="214"/>
                  </a:cubicBezTo>
                  <a:lnTo>
                    <a:pt x="177" y="275"/>
                  </a:lnTo>
                  <a:close/>
                  <a:moveTo>
                    <a:pt x="124" y="307"/>
                  </a:moveTo>
                  <a:cubicBezTo>
                    <a:pt x="105" y="318"/>
                    <a:pt x="105" y="318"/>
                    <a:pt x="105" y="318"/>
                  </a:cubicBezTo>
                  <a:cubicBezTo>
                    <a:pt x="105" y="294"/>
                    <a:pt x="105" y="294"/>
                    <a:pt x="105" y="294"/>
                  </a:cubicBezTo>
                  <a:cubicBezTo>
                    <a:pt x="124" y="283"/>
                    <a:pt x="124" y="283"/>
                    <a:pt x="124" y="283"/>
                  </a:cubicBezTo>
                  <a:cubicBezTo>
                    <a:pt x="124" y="307"/>
                    <a:pt x="124" y="307"/>
                    <a:pt x="124" y="307"/>
                  </a:cubicBezTo>
                  <a:close/>
                  <a:moveTo>
                    <a:pt x="105" y="106"/>
                  </a:moveTo>
                  <a:cubicBezTo>
                    <a:pt x="124" y="95"/>
                    <a:pt x="124" y="95"/>
                    <a:pt x="124" y="95"/>
                  </a:cubicBezTo>
                  <a:cubicBezTo>
                    <a:pt x="124" y="192"/>
                    <a:pt x="124" y="192"/>
                    <a:pt x="124" y="192"/>
                  </a:cubicBezTo>
                  <a:cubicBezTo>
                    <a:pt x="105" y="203"/>
                    <a:pt x="105" y="203"/>
                    <a:pt x="105" y="203"/>
                  </a:cubicBezTo>
                  <a:cubicBezTo>
                    <a:pt x="105" y="146"/>
                    <a:pt x="105" y="146"/>
                    <a:pt x="105" y="146"/>
                  </a:cubicBezTo>
                  <a:cubicBezTo>
                    <a:pt x="110" y="143"/>
                    <a:pt x="110" y="143"/>
                    <a:pt x="110" y="143"/>
                  </a:cubicBezTo>
                  <a:cubicBezTo>
                    <a:pt x="105" y="136"/>
                    <a:pt x="105" y="136"/>
                    <a:pt x="105" y="136"/>
                  </a:cubicBezTo>
                  <a:cubicBezTo>
                    <a:pt x="105" y="106"/>
                    <a:pt x="105" y="106"/>
                    <a:pt x="105" y="106"/>
                  </a:cubicBezTo>
                  <a:close/>
                  <a:moveTo>
                    <a:pt x="124" y="209"/>
                  </a:moveTo>
                  <a:cubicBezTo>
                    <a:pt x="124" y="230"/>
                    <a:pt x="124" y="230"/>
                    <a:pt x="124" y="230"/>
                  </a:cubicBezTo>
                  <a:cubicBezTo>
                    <a:pt x="122" y="231"/>
                    <a:pt x="122" y="231"/>
                    <a:pt x="122" y="231"/>
                  </a:cubicBezTo>
                  <a:cubicBezTo>
                    <a:pt x="124" y="235"/>
                    <a:pt x="124" y="235"/>
                    <a:pt x="124" y="235"/>
                  </a:cubicBezTo>
                  <a:cubicBezTo>
                    <a:pt x="124" y="267"/>
                    <a:pt x="124" y="267"/>
                    <a:pt x="124" y="267"/>
                  </a:cubicBezTo>
                  <a:cubicBezTo>
                    <a:pt x="105" y="278"/>
                    <a:pt x="105" y="278"/>
                    <a:pt x="105" y="278"/>
                  </a:cubicBezTo>
                  <a:cubicBezTo>
                    <a:pt x="105" y="257"/>
                    <a:pt x="105" y="257"/>
                    <a:pt x="105" y="257"/>
                  </a:cubicBezTo>
                  <a:cubicBezTo>
                    <a:pt x="116" y="251"/>
                    <a:pt x="116" y="251"/>
                    <a:pt x="116" y="251"/>
                  </a:cubicBezTo>
                  <a:cubicBezTo>
                    <a:pt x="113" y="247"/>
                    <a:pt x="111" y="243"/>
                    <a:pt x="108" y="239"/>
                  </a:cubicBezTo>
                  <a:cubicBezTo>
                    <a:pt x="105" y="241"/>
                    <a:pt x="105" y="241"/>
                    <a:pt x="105" y="241"/>
                  </a:cubicBezTo>
                  <a:cubicBezTo>
                    <a:pt x="105" y="204"/>
                    <a:pt x="105" y="204"/>
                    <a:pt x="105" y="204"/>
                  </a:cubicBezTo>
                  <a:cubicBezTo>
                    <a:pt x="112" y="216"/>
                    <a:pt x="112" y="216"/>
                    <a:pt x="112" y="216"/>
                  </a:cubicBezTo>
                  <a:lnTo>
                    <a:pt x="124" y="209"/>
                  </a:lnTo>
                  <a:close/>
                  <a:moveTo>
                    <a:pt x="105" y="318"/>
                  </a:moveTo>
                  <a:cubicBezTo>
                    <a:pt x="94" y="325"/>
                    <a:pt x="94" y="325"/>
                    <a:pt x="94" y="325"/>
                  </a:cubicBezTo>
                  <a:cubicBezTo>
                    <a:pt x="91" y="320"/>
                    <a:pt x="91" y="320"/>
                    <a:pt x="91" y="320"/>
                  </a:cubicBezTo>
                  <a:cubicBezTo>
                    <a:pt x="91" y="266"/>
                    <a:pt x="91" y="266"/>
                    <a:pt x="91" y="266"/>
                  </a:cubicBezTo>
                  <a:cubicBezTo>
                    <a:pt x="105" y="257"/>
                    <a:pt x="105" y="257"/>
                    <a:pt x="105" y="257"/>
                  </a:cubicBezTo>
                  <a:cubicBezTo>
                    <a:pt x="105" y="278"/>
                    <a:pt x="105" y="278"/>
                    <a:pt x="105" y="278"/>
                  </a:cubicBezTo>
                  <a:cubicBezTo>
                    <a:pt x="95" y="284"/>
                    <a:pt x="95" y="284"/>
                    <a:pt x="95" y="284"/>
                  </a:cubicBezTo>
                  <a:cubicBezTo>
                    <a:pt x="97" y="288"/>
                    <a:pt x="100" y="292"/>
                    <a:pt x="102" y="296"/>
                  </a:cubicBezTo>
                  <a:cubicBezTo>
                    <a:pt x="105" y="294"/>
                    <a:pt x="105" y="294"/>
                    <a:pt x="105" y="294"/>
                  </a:cubicBezTo>
                  <a:cubicBezTo>
                    <a:pt x="105" y="318"/>
                    <a:pt x="105" y="318"/>
                    <a:pt x="105" y="318"/>
                  </a:cubicBezTo>
                  <a:close/>
                  <a:moveTo>
                    <a:pt x="91" y="115"/>
                  </a:moveTo>
                  <a:cubicBezTo>
                    <a:pt x="105" y="106"/>
                    <a:pt x="105" y="106"/>
                    <a:pt x="105" y="106"/>
                  </a:cubicBezTo>
                  <a:cubicBezTo>
                    <a:pt x="105" y="136"/>
                    <a:pt x="105" y="136"/>
                    <a:pt x="105" y="136"/>
                  </a:cubicBezTo>
                  <a:cubicBezTo>
                    <a:pt x="102" y="131"/>
                    <a:pt x="102" y="131"/>
                    <a:pt x="102" y="131"/>
                  </a:cubicBezTo>
                  <a:cubicBezTo>
                    <a:pt x="91" y="138"/>
                    <a:pt x="91" y="138"/>
                    <a:pt x="91" y="138"/>
                  </a:cubicBezTo>
                  <a:cubicBezTo>
                    <a:pt x="91" y="115"/>
                    <a:pt x="91" y="115"/>
                    <a:pt x="91" y="115"/>
                  </a:cubicBezTo>
                  <a:close/>
                  <a:moveTo>
                    <a:pt x="105" y="146"/>
                  </a:moveTo>
                  <a:cubicBezTo>
                    <a:pt x="105" y="203"/>
                    <a:pt x="105" y="203"/>
                    <a:pt x="105" y="203"/>
                  </a:cubicBezTo>
                  <a:cubicBezTo>
                    <a:pt x="105" y="204"/>
                    <a:pt x="105" y="204"/>
                    <a:pt x="105" y="204"/>
                  </a:cubicBezTo>
                  <a:cubicBezTo>
                    <a:pt x="105" y="204"/>
                    <a:pt x="105" y="204"/>
                    <a:pt x="105" y="204"/>
                  </a:cubicBezTo>
                  <a:cubicBezTo>
                    <a:pt x="105" y="241"/>
                    <a:pt x="105" y="241"/>
                    <a:pt x="105" y="241"/>
                  </a:cubicBezTo>
                  <a:cubicBezTo>
                    <a:pt x="91" y="249"/>
                    <a:pt x="91" y="249"/>
                    <a:pt x="91" y="249"/>
                  </a:cubicBezTo>
                  <a:cubicBezTo>
                    <a:pt x="91" y="229"/>
                    <a:pt x="91" y="229"/>
                    <a:pt x="91" y="229"/>
                  </a:cubicBezTo>
                  <a:cubicBezTo>
                    <a:pt x="99" y="224"/>
                    <a:pt x="99" y="224"/>
                    <a:pt x="99" y="224"/>
                  </a:cubicBezTo>
                  <a:cubicBezTo>
                    <a:pt x="97" y="220"/>
                    <a:pt x="94" y="215"/>
                    <a:pt x="92" y="211"/>
                  </a:cubicBezTo>
                  <a:cubicBezTo>
                    <a:pt x="91" y="212"/>
                    <a:pt x="91" y="212"/>
                    <a:pt x="91" y="212"/>
                  </a:cubicBezTo>
                  <a:cubicBezTo>
                    <a:pt x="91" y="155"/>
                    <a:pt x="91" y="155"/>
                    <a:pt x="91" y="155"/>
                  </a:cubicBezTo>
                  <a:lnTo>
                    <a:pt x="105" y="146"/>
                  </a:lnTo>
                  <a:close/>
                  <a:moveTo>
                    <a:pt x="91" y="320"/>
                  </a:moveTo>
                  <a:cubicBezTo>
                    <a:pt x="48" y="249"/>
                    <a:pt x="48" y="249"/>
                    <a:pt x="48" y="249"/>
                  </a:cubicBezTo>
                  <a:cubicBezTo>
                    <a:pt x="48" y="181"/>
                    <a:pt x="48" y="181"/>
                    <a:pt x="48" y="181"/>
                  </a:cubicBezTo>
                  <a:cubicBezTo>
                    <a:pt x="66" y="169"/>
                    <a:pt x="66" y="169"/>
                    <a:pt x="66" y="169"/>
                  </a:cubicBezTo>
                  <a:cubicBezTo>
                    <a:pt x="64" y="165"/>
                    <a:pt x="61" y="161"/>
                    <a:pt x="59" y="157"/>
                  </a:cubicBezTo>
                  <a:cubicBezTo>
                    <a:pt x="48" y="164"/>
                    <a:pt x="48" y="164"/>
                    <a:pt x="48" y="164"/>
                  </a:cubicBezTo>
                  <a:cubicBezTo>
                    <a:pt x="48" y="141"/>
                    <a:pt x="48" y="141"/>
                    <a:pt x="48" y="141"/>
                  </a:cubicBezTo>
                  <a:cubicBezTo>
                    <a:pt x="91" y="115"/>
                    <a:pt x="91" y="115"/>
                    <a:pt x="91" y="115"/>
                  </a:cubicBezTo>
                  <a:cubicBezTo>
                    <a:pt x="91" y="138"/>
                    <a:pt x="91" y="138"/>
                    <a:pt x="91" y="138"/>
                  </a:cubicBezTo>
                  <a:cubicBezTo>
                    <a:pt x="72" y="149"/>
                    <a:pt x="72" y="149"/>
                    <a:pt x="72" y="149"/>
                  </a:cubicBezTo>
                  <a:cubicBezTo>
                    <a:pt x="75" y="153"/>
                    <a:pt x="77" y="157"/>
                    <a:pt x="80" y="161"/>
                  </a:cubicBezTo>
                  <a:cubicBezTo>
                    <a:pt x="91" y="155"/>
                    <a:pt x="91" y="155"/>
                    <a:pt x="91" y="155"/>
                  </a:cubicBezTo>
                  <a:cubicBezTo>
                    <a:pt x="91" y="212"/>
                    <a:pt x="91" y="212"/>
                    <a:pt x="91" y="212"/>
                  </a:cubicBezTo>
                  <a:cubicBezTo>
                    <a:pt x="62" y="230"/>
                    <a:pt x="62" y="230"/>
                    <a:pt x="62" y="230"/>
                  </a:cubicBezTo>
                  <a:cubicBezTo>
                    <a:pt x="64" y="234"/>
                    <a:pt x="67" y="238"/>
                    <a:pt x="69" y="242"/>
                  </a:cubicBezTo>
                  <a:cubicBezTo>
                    <a:pt x="91" y="229"/>
                    <a:pt x="91" y="229"/>
                    <a:pt x="91" y="229"/>
                  </a:cubicBezTo>
                  <a:cubicBezTo>
                    <a:pt x="91" y="249"/>
                    <a:pt x="91" y="249"/>
                    <a:pt x="91" y="249"/>
                  </a:cubicBezTo>
                  <a:cubicBezTo>
                    <a:pt x="78" y="257"/>
                    <a:pt x="78" y="257"/>
                    <a:pt x="78" y="257"/>
                  </a:cubicBezTo>
                  <a:cubicBezTo>
                    <a:pt x="81" y="261"/>
                    <a:pt x="83" y="265"/>
                    <a:pt x="86" y="269"/>
                  </a:cubicBezTo>
                  <a:cubicBezTo>
                    <a:pt x="91" y="266"/>
                    <a:pt x="91" y="266"/>
                    <a:pt x="91" y="266"/>
                  </a:cubicBezTo>
                  <a:lnTo>
                    <a:pt x="91" y="320"/>
                  </a:lnTo>
                  <a:close/>
                  <a:moveTo>
                    <a:pt x="48" y="249"/>
                  </a:moveTo>
                  <a:cubicBezTo>
                    <a:pt x="0" y="169"/>
                    <a:pt x="0" y="169"/>
                    <a:pt x="0" y="169"/>
                  </a:cubicBezTo>
                  <a:cubicBezTo>
                    <a:pt x="48" y="141"/>
                    <a:pt x="48" y="141"/>
                    <a:pt x="48" y="141"/>
                  </a:cubicBezTo>
                  <a:cubicBezTo>
                    <a:pt x="48" y="164"/>
                    <a:pt x="48" y="164"/>
                    <a:pt x="48" y="164"/>
                  </a:cubicBezTo>
                  <a:cubicBezTo>
                    <a:pt x="29" y="175"/>
                    <a:pt x="29" y="175"/>
                    <a:pt x="29" y="175"/>
                  </a:cubicBezTo>
                  <a:cubicBezTo>
                    <a:pt x="31" y="179"/>
                    <a:pt x="34" y="183"/>
                    <a:pt x="36" y="187"/>
                  </a:cubicBezTo>
                  <a:cubicBezTo>
                    <a:pt x="48" y="181"/>
                    <a:pt x="48" y="181"/>
                    <a:pt x="48" y="181"/>
                  </a:cubicBezTo>
                  <a:lnTo>
                    <a:pt x="48" y="249"/>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6" name="i$1îḍê">
              <a:extLst>
                <a:ext uri="{FF2B5EF4-FFF2-40B4-BE49-F238E27FC236}">
                  <a16:creationId xmlns:a16="http://schemas.microsoft.com/office/drawing/2014/main" id="{F952D3B4-C35F-40E5-97CF-9B6D09E072E5}"/>
                </a:ext>
              </a:extLst>
            </p:cNvPr>
            <p:cNvSpPr/>
            <p:nvPr/>
          </p:nvSpPr>
          <p:spPr bwMode="auto">
            <a:xfrm flipH="1">
              <a:off x="4153465" y="2419713"/>
              <a:ext cx="508755" cy="530990"/>
            </a:xfrm>
            <a:custGeom>
              <a:avLst/>
              <a:gdLst>
                <a:gd name="T0" fmla="*/ 263 w 304"/>
                <a:gd name="T1" fmla="*/ 163 h 325"/>
                <a:gd name="T2" fmla="*/ 250 w 304"/>
                <a:gd name="T3" fmla="*/ 236 h 325"/>
                <a:gd name="T4" fmla="*/ 239 w 304"/>
                <a:gd name="T5" fmla="*/ 129 h 325"/>
                <a:gd name="T6" fmla="*/ 250 w 304"/>
                <a:gd name="T7" fmla="*/ 204 h 325"/>
                <a:gd name="T8" fmla="*/ 237 w 304"/>
                <a:gd name="T9" fmla="*/ 160 h 325"/>
                <a:gd name="T10" fmla="*/ 239 w 304"/>
                <a:gd name="T11" fmla="*/ 266 h 325"/>
                <a:gd name="T12" fmla="*/ 224 w 304"/>
                <a:gd name="T13" fmla="*/ 142 h 325"/>
                <a:gd name="T14" fmla="*/ 223 w 304"/>
                <a:gd name="T15" fmla="*/ 220 h 325"/>
                <a:gd name="T16" fmla="*/ 213 w 304"/>
                <a:gd name="T17" fmla="*/ 126 h 325"/>
                <a:gd name="T18" fmla="*/ 215 w 304"/>
                <a:gd name="T19" fmla="*/ 261 h 325"/>
                <a:gd name="T20" fmla="*/ 215 w 304"/>
                <a:gd name="T21" fmla="*/ 154 h 325"/>
                <a:gd name="T22" fmla="*/ 198 w 304"/>
                <a:gd name="T23" fmla="*/ 270 h 325"/>
                <a:gd name="T24" fmla="*/ 198 w 304"/>
                <a:gd name="T25" fmla="*/ 121 h 325"/>
                <a:gd name="T26" fmla="*/ 191 w 304"/>
                <a:gd name="T27" fmla="*/ 61 h 325"/>
                <a:gd name="T28" fmla="*/ 198 w 304"/>
                <a:gd name="T29" fmla="*/ 121 h 325"/>
                <a:gd name="T30" fmla="*/ 192 w 304"/>
                <a:gd name="T31" fmla="*/ 176 h 325"/>
                <a:gd name="T32" fmla="*/ 178 w 304"/>
                <a:gd name="T33" fmla="*/ 42 h 325"/>
                <a:gd name="T34" fmla="*/ 178 w 304"/>
                <a:gd name="T35" fmla="*/ 309 h 325"/>
                <a:gd name="T36" fmla="*/ 180 w 304"/>
                <a:gd name="T37" fmla="*/ 134 h 325"/>
                <a:gd name="T38" fmla="*/ 191 w 304"/>
                <a:gd name="T39" fmla="*/ 227 h 325"/>
                <a:gd name="T40" fmla="*/ 176 w 304"/>
                <a:gd name="T41" fmla="*/ 73 h 325"/>
                <a:gd name="T42" fmla="*/ 178 w 304"/>
                <a:gd name="T43" fmla="*/ 102 h 325"/>
                <a:gd name="T44" fmla="*/ 178 w 304"/>
                <a:gd name="T45" fmla="*/ 157 h 325"/>
                <a:gd name="T46" fmla="*/ 176 w 304"/>
                <a:gd name="T47" fmla="*/ 253 h 325"/>
                <a:gd name="T48" fmla="*/ 167 w 304"/>
                <a:gd name="T49" fmla="*/ 193 h 325"/>
                <a:gd name="T50" fmla="*/ 176 w 304"/>
                <a:gd name="T51" fmla="*/ 129 h 325"/>
                <a:gd name="T52" fmla="*/ 167 w 304"/>
                <a:gd name="T53" fmla="*/ 172 h 325"/>
                <a:gd name="T54" fmla="*/ 158 w 304"/>
                <a:gd name="T55" fmla="*/ 47 h 325"/>
                <a:gd name="T56" fmla="*/ 167 w 304"/>
                <a:gd name="T57" fmla="*/ 86 h 325"/>
                <a:gd name="T58" fmla="*/ 154 w 304"/>
                <a:gd name="T59" fmla="*/ 68 h 325"/>
                <a:gd name="T60" fmla="*/ 151 w 304"/>
                <a:gd name="T61" fmla="*/ 204 h 325"/>
                <a:gd name="T62" fmla="*/ 150 w 304"/>
                <a:gd name="T63" fmla="*/ 92 h 325"/>
                <a:gd name="T64" fmla="*/ 154 w 304"/>
                <a:gd name="T65" fmla="*/ 100 h 325"/>
                <a:gd name="T66" fmla="*/ 149 w 304"/>
                <a:gd name="T67" fmla="*/ 257 h 325"/>
                <a:gd name="T68" fmla="*/ 150 w 304"/>
                <a:gd name="T69" fmla="*/ 53 h 325"/>
                <a:gd name="T70" fmla="*/ 150 w 304"/>
                <a:gd name="T71" fmla="*/ 172 h 325"/>
                <a:gd name="T72" fmla="*/ 144 w 304"/>
                <a:gd name="T73" fmla="*/ 52 h 325"/>
                <a:gd name="T74" fmla="*/ 144 w 304"/>
                <a:gd name="T75" fmla="*/ 308 h 325"/>
                <a:gd name="T76" fmla="*/ 144 w 304"/>
                <a:gd name="T77" fmla="*/ 159 h 325"/>
                <a:gd name="T78" fmla="*/ 128 w 304"/>
                <a:gd name="T79" fmla="*/ 236 h 325"/>
                <a:gd name="T80" fmla="*/ 124 w 304"/>
                <a:gd name="T81" fmla="*/ 110 h 325"/>
                <a:gd name="T82" fmla="*/ 128 w 304"/>
                <a:gd name="T83" fmla="*/ 141 h 325"/>
                <a:gd name="T84" fmla="*/ 124 w 304"/>
                <a:gd name="T85" fmla="*/ 221 h 325"/>
                <a:gd name="T86" fmla="*/ 115 w 304"/>
                <a:gd name="T87" fmla="*/ 229 h 325"/>
                <a:gd name="T88" fmla="*/ 124 w 304"/>
                <a:gd name="T89" fmla="*/ 221 h 325"/>
                <a:gd name="T90" fmla="*/ 102 w 304"/>
                <a:gd name="T91" fmla="*/ 86 h 325"/>
                <a:gd name="T92" fmla="*/ 115 w 304"/>
                <a:gd name="T93" fmla="*/ 123 h 325"/>
                <a:gd name="T94" fmla="*/ 102 w 304"/>
                <a:gd name="T95" fmla="*/ 32 h 325"/>
                <a:gd name="T96" fmla="*/ 92 w 304"/>
                <a:gd name="T97" fmla="*/ 144 h 325"/>
                <a:gd name="T98" fmla="*/ 102 w 304"/>
                <a:gd name="T99" fmla="*/ 134 h 325"/>
                <a:gd name="T100" fmla="*/ 78 w 304"/>
                <a:gd name="T101" fmla="*/ 49 h 325"/>
                <a:gd name="T102" fmla="*/ 78 w 304"/>
                <a:gd name="T103" fmla="*/ 118 h 325"/>
                <a:gd name="T104" fmla="*/ 78 w 304"/>
                <a:gd name="T105" fmla="*/ 126 h 325"/>
                <a:gd name="T106" fmla="*/ 78 w 304"/>
                <a:gd name="T107" fmla="*/ 215 h 325"/>
                <a:gd name="T108" fmla="*/ 73 w 304"/>
                <a:gd name="T109" fmla="*/ 173 h 325"/>
                <a:gd name="T110" fmla="*/ 52 w 304"/>
                <a:gd name="T111" fmla="*/ 178 h 325"/>
                <a:gd name="T112" fmla="*/ 51 w 304"/>
                <a:gd name="T113" fmla="*/ 87 h 325"/>
                <a:gd name="T114" fmla="*/ 52 w 304"/>
                <a:gd name="T115" fmla="*/ 17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25">
                  <a:moveTo>
                    <a:pt x="263" y="163"/>
                  </a:moveTo>
                  <a:cubicBezTo>
                    <a:pt x="304" y="221"/>
                    <a:pt x="304" y="221"/>
                    <a:pt x="304" y="221"/>
                  </a:cubicBezTo>
                  <a:cubicBezTo>
                    <a:pt x="263" y="250"/>
                    <a:pt x="263" y="250"/>
                    <a:pt x="263" y="250"/>
                  </a:cubicBezTo>
                  <a:cubicBezTo>
                    <a:pt x="263" y="222"/>
                    <a:pt x="263" y="222"/>
                    <a:pt x="263" y="222"/>
                  </a:cubicBezTo>
                  <a:cubicBezTo>
                    <a:pt x="265" y="226"/>
                    <a:pt x="265" y="226"/>
                    <a:pt x="265" y="226"/>
                  </a:cubicBezTo>
                  <a:cubicBezTo>
                    <a:pt x="269" y="223"/>
                    <a:pt x="273" y="220"/>
                    <a:pt x="277" y="217"/>
                  </a:cubicBezTo>
                  <a:cubicBezTo>
                    <a:pt x="263" y="197"/>
                    <a:pt x="263" y="197"/>
                    <a:pt x="263" y="197"/>
                  </a:cubicBezTo>
                  <a:lnTo>
                    <a:pt x="263" y="163"/>
                  </a:lnTo>
                  <a:close/>
                  <a:moveTo>
                    <a:pt x="250" y="144"/>
                  </a:moveTo>
                  <a:cubicBezTo>
                    <a:pt x="263" y="163"/>
                    <a:pt x="263" y="163"/>
                    <a:pt x="263" y="163"/>
                  </a:cubicBezTo>
                  <a:cubicBezTo>
                    <a:pt x="263" y="197"/>
                    <a:pt x="263" y="197"/>
                    <a:pt x="263" y="197"/>
                  </a:cubicBezTo>
                  <a:cubicBezTo>
                    <a:pt x="261" y="194"/>
                    <a:pt x="261" y="194"/>
                    <a:pt x="261" y="194"/>
                  </a:cubicBezTo>
                  <a:cubicBezTo>
                    <a:pt x="250" y="201"/>
                    <a:pt x="250" y="201"/>
                    <a:pt x="250" y="201"/>
                  </a:cubicBezTo>
                  <a:cubicBezTo>
                    <a:pt x="250" y="186"/>
                    <a:pt x="250" y="186"/>
                    <a:pt x="250" y="186"/>
                  </a:cubicBezTo>
                  <a:cubicBezTo>
                    <a:pt x="253" y="183"/>
                    <a:pt x="253" y="183"/>
                    <a:pt x="253" y="183"/>
                  </a:cubicBezTo>
                  <a:cubicBezTo>
                    <a:pt x="250" y="179"/>
                    <a:pt x="250" y="179"/>
                    <a:pt x="250" y="179"/>
                  </a:cubicBezTo>
                  <a:cubicBezTo>
                    <a:pt x="250" y="144"/>
                    <a:pt x="250" y="144"/>
                    <a:pt x="250" y="144"/>
                  </a:cubicBezTo>
                  <a:close/>
                  <a:moveTo>
                    <a:pt x="263" y="250"/>
                  </a:moveTo>
                  <a:cubicBezTo>
                    <a:pt x="250" y="259"/>
                    <a:pt x="250" y="259"/>
                    <a:pt x="250" y="259"/>
                  </a:cubicBezTo>
                  <a:cubicBezTo>
                    <a:pt x="250" y="236"/>
                    <a:pt x="250" y="236"/>
                    <a:pt x="250" y="236"/>
                  </a:cubicBezTo>
                  <a:cubicBezTo>
                    <a:pt x="251" y="236"/>
                    <a:pt x="251" y="236"/>
                    <a:pt x="251" y="236"/>
                  </a:cubicBezTo>
                  <a:cubicBezTo>
                    <a:pt x="250" y="234"/>
                    <a:pt x="250" y="234"/>
                    <a:pt x="250" y="234"/>
                  </a:cubicBezTo>
                  <a:cubicBezTo>
                    <a:pt x="250" y="204"/>
                    <a:pt x="250" y="204"/>
                    <a:pt x="250" y="204"/>
                  </a:cubicBezTo>
                  <a:cubicBezTo>
                    <a:pt x="263" y="222"/>
                    <a:pt x="263" y="222"/>
                    <a:pt x="263" y="222"/>
                  </a:cubicBezTo>
                  <a:lnTo>
                    <a:pt x="263" y="250"/>
                  </a:lnTo>
                  <a:close/>
                  <a:moveTo>
                    <a:pt x="239" y="129"/>
                  </a:moveTo>
                  <a:cubicBezTo>
                    <a:pt x="250" y="144"/>
                    <a:pt x="250" y="144"/>
                    <a:pt x="250" y="144"/>
                  </a:cubicBezTo>
                  <a:cubicBezTo>
                    <a:pt x="250" y="179"/>
                    <a:pt x="250" y="179"/>
                    <a:pt x="250" y="179"/>
                  </a:cubicBezTo>
                  <a:cubicBezTo>
                    <a:pt x="239" y="163"/>
                    <a:pt x="239" y="163"/>
                    <a:pt x="239" y="163"/>
                  </a:cubicBezTo>
                  <a:cubicBezTo>
                    <a:pt x="239" y="129"/>
                    <a:pt x="239" y="129"/>
                    <a:pt x="239" y="129"/>
                  </a:cubicBezTo>
                  <a:close/>
                  <a:moveTo>
                    <a:pt x="250" y="259"/>
                  </a:moveTo>
                  <a:cubicBezTo>
                    <a:pt x="239" y="266"/>
                    <a:pt x="239" y="266"/>
                    <a:pt x="239" y="266"/>
                  </a:cubicBezTo>
                  <a:cubicBezTo>
                    <a:pt x="239" y="243"/>
                    <a:pt x="239" y="243"/>
                    <a:pt x="239" y="243"/>
                  </a:cubicBezTo>
                  <a:cubicBezTo>
                    <a:pt x="240" y="244"/>
                    <a:pt x="240" y="244"/>
                    <a:pt x="240" y="244"/>
                  </a:cubicBezTo>
                  <a:cubicBezTo>
                    <a:pt x="250" y="236"/>
                    <a:pt x="250" y="236"/>
                    <a:pt x="250" y="236"/>
                  </a:cubicBezTo>
                  <a:cubicBezTo>
                    <a:pt x="250" y="259"/>
                    <a:pt x="250" y="259"/>
                    <a:pt x="250" y="259"/>
                  </a:cubicBezTo>
                  <a:close/>
                  <a:moveTo>
                    <a:pt x="250" y="186"/>
                  </a:moveTo>
                  <a:cubicBezTo>
                    <a:pt x="250" y="201"/>
                    <a:pt x="250" y="201"/>
                    <a:pt x="250" y="201"/>
                  </a:cubicBezTo>
                  <a:cubicBezTo>
                    <a:pt x="249" y="202"/>
                    <a:pt x="249" y="202"/>
                    <a:pt x="249" y="202"/>
                  </a:cubicBezTo>
                  <a:cubicBezTo>
                    <a:pt x="250" y="204"/>
                    <a:pt x="250" y="204"/>
                    <a:pt x="250" y="204"/>
                  </a:cubicBezTo>
                  <a:cubicBezTo>
                    <a:pt x="250" y="234"/>
                    <a:pt x="250" y="234"/>
                    <a:pt x="250" y="234"/>
                  </a:cubicBezTo>
                  <a:cubicBezTo>
                    <a:pt x="239" y="218"/>
                    <a:pt x="239" y="218"/>
                    <a:pt x="239" y="218"/>
                  </a:cubicBezTo>
                  <a:cubicBezTo>
                    <a:pt x="239" y="188"/>
                    <a:pt x="239" y="188"/>
                    <a:pt x="239" y="188"/>
                  </a:cubicBezTo>
                  <a:cubicBezTo>
                    <a:pt x="242" y="192"/>
                    <a:pt x="242" y="192"/>
                    <a:pt x="242" y="192"/>
                  </a:cubicBezTo>
                  <a:lnTo>
                    <a:pt x="250" y="186"/>
                  </a:lnTo>
                  <a:close/>
                  <a:moveTo>
                    <a:pt x="224" y="107"/>
                  </a:moveTo>
                  <a:cubicBezTo>
                    <a:pt x="226" y="110"/>
                    <a:pt x="226" y="110"/>
                    <a:pt x="226" y="110"/>
                  </a:cubicBezTo>
                  <a:cubicBezTo>
                    <a:pt x="239" y="129"/>
                    <a:pt x="239" y="129"/>
                    <a:pt x="239" y="129"/>
                  </a:cubicBezTo>
                  <a:cubicBezTo>
                    <a:pt x="239" y="163"/>
                    <a:pt x="239" y="163"/>
                    <a:pt x="239" y="163"/>
                  </a:cubicBezTo>
                  <a:cubicBezTo>
                    <a:pt x="237" y="160"/>
                    <a:pt x="237" y="160"/>
                    <a:pt x="237" y="160"/>
                  </a:cubicBezTo>
                  <a:cubicBezTo>
                    <a:pt x="233" y="162"/>
                    <a:pt x="229" y="165"/>
                    <a:pt x="225" y="168"/>
                  </a:cubicBezTo>
                  <a:cubicBezTo>
                    <a:pt x="239" y="188"/>
                    <a:pt x="239" y="188"/>
                    <a:pt x="239" y="188"/>
                  </a:cubicBezTo>
                  <a:cubicBezTo>
                    <a:pt x="239" y="218"/>
                    <a:pt x="239" y="218"/>
                    <a:pt x="239" y="218"/>
                  </a:cubicBezTo>
                  <a:cubicBezTo>
                    <a:pt x="235" y="212"/>
                    <a:pt x="235" y="212"/>
                    <a:pt x="235" y="212"/>
                  </a:cubicBezTo>
                  <a:cubicBezTo>
                    <a:pt x="224" y="219"/>
                    <a:pt x="224" y="219"/>
                    <a:pt x="224" y="219"/>
                  </a:cubicBezTo>
                  <a:cubicBezTo>
                    <a:pt x="224" y="153"/>
                    <a:pt x="224" y="153"/>
                    <a:pt x="224" y="153"/>
                  </a:cubicBezTo>
                  <a:cubicBezTo>
                    <a:pt x="229" y="149"/>
                    <a:pt x="229" y="149"/>
                    <a:pt x="229" y="149"/>
                  </a:cubicBezTo>
                  <a:cubicBezTo>
                    <a:pt x="224" y="142"/>
                    <a:pt x="224" y="142"/>
                    <a:pt x="224" y="142"/>
                  </a:cubicBezTo>
                  <a:cubicBezTo>
                    <a:pt x="224" y="107"/>
                    <a:pt x="224" y="107"/>
                    <a:pt x="224" y="107"/>
                  </a:cubicBezTo>
                  <a:close/>
                  <a:moveTo>
                    <a:pt x="239" y="266"/>
                  </a:moveTo>
                  <a:cubicBezTo>
                    <a:pt x="224" y="277"/>
                    <a:pt x="224" y="277"/>
                    <a:pt x="224" y="277"/>
                  </a:cubicBezTo>
                  <a:cubicBezTo>
                    <a:pt x="224" y="255"/>
                    <a:pt x="224" y="255"/>
                    <a:pt x="224" y="255"/>
                  </a:cubicBezTo>
                  <a:cubicBezTo>
                    <a:pt x="225" y="254"/>
                    <a:pt x="225" y="254"/>
                    <a:pt x="225" y="254"/>
                  </a:cubicBezTo>
                  <a:cubicBezTo>
                    <a:pt x="224" y="252"/>
                    <a:pt x="224" y="252"/>
                    <a:pt x="224" y="252"/>
                  </a:cubicBezTo>
                  <a:cubicBezTo>
                    <a:pt x="224" y="222"/>
                    <a:pt x="224" y="222"/>
                    <a:pt x="224" y="222"/>
                  </a:cubicBezTo>
                  <a:cubicBezTo>
                    <a:pt x="239" y="243"/>
                    <a:pt x="239" y="243"/>
                    <a:pt x="239" y="243"/>
                  </a:cubicBezTo>
                  <a:lnTo>
                    <a:pt x="239" y="266"/>
                  </a:lnTo>
                  <a:close/>
                  <a:moveTo>
                    <a:pt x="215" y="95"/>
                  </a:moveTo>
                  <a:cubicBezTo>
                    <a:pt x="224" y="107"/>
                    <a:pt x="224" y="107"/>
                    <a:pt x="224" y="107"/>
                  </a:cubicBezTo>
                  <a:cubicBezTo>
                    <a:pt x="224" y="142"/>
                    <a:pt x="224" y="142"/>
                    <a:pt x="224" y="142"/>
                  </a:cubicBezTo>
                  <a:cubicBezTo>
                    <a:pt x="215" y="129"/>
                    <a:pt x="215" y="129"/>
                    <a:pt x="215" y="129"/>
                  </a:cubicBezTo>
                  <a:cubicBezTo>
                    <a:pt x="215" y="95"/>
                    <a:pt x="215" y="95"/>
                    <a:pt x="215" y="95"/>
                  </a:cubicBezTo>
                  <a:close/>
                  <a:moveTo>
                    <a:pt x="224" y="277"/>
                  </a:moveTo>
                  <a:cubicBezTo>
                    <a:pt x="215" y="283"/>
                    <a:pt x="215" y="283"/>
                    <a:pt x="215" y="283"/>
                  </a:cubicBezTo>
                  <a:cubicBezTo>
                    <a:pt x="215" y="261"/>
                    <a:pt x="215" y="261"/>
                    <a:pt x="215" y="261"/>
                  </a:cubicBezTo>
                  <a:cubicBezTo>
                    <a:pt x="224" y="255"/>
                    <a:pt x="224" y="255"/>
                    <a:pt x="224" y="255"/>
                  </a:cubicBezTo>
                  <a:cubicBezTo>
                    <a:pt x="224" y="277"/>
                    <a:pt x="224" y="277"/>
                    <a:pt x="224" y="277"/>
                  </a:cubicBezTo>
                  <a:close/>
                  <a:moveTo>
                    <a:pt x="224" y="153"/>
                  </a:moveTo>
                  <a:cubicBezTo>
                    <a:pt x="224" y="219"/>
                    <a:pt x="224" y="219"/>
                    <a:pt x="224" y="219"/>
                  </a:cubicBezTo>
                  <a:cubicBezTo>
                    <a:pt x="223" y="220"/>
                    <a:pt x="223" y="220"/>
                    <a:pt x="223" y="220"/>
                  </a:cubicBezTo>
                  <a:cubicBezTo>
                    <a:pt x="224" y="222"/>
                    <a:pt x="224" y="222"/>
                    <a:pt x="224" y="222"/>
                  </a:cubicBezTo>
                  <a:cubicBezTo>
                    <a:pt x="224" y="252"/>
                    <a:pt x="224" y="252"/>
                    <a:pt x="224" y="252"/>
                  </a:cubicBezTo>
                  <a:cubicBezTo>
                    <a:pt x="215" y="240"/>
                    <a:pt x="215" y="240"/>
                    <a:pt x="215" y="240"/>
                  </a:cubicBezTo>
                  <a:cubicBezTo>
                    <a:pt x="215" y="154"/>
                    <a:pt x="215" y="154"/>
                    <a:pt x="215" y="154"/>
                  </a:cubicBezTo>
                  <a:cubicBezTo>
                    <a:pt x="218" y="158"/>
                    <a:pt x="218" y="158"/>
                    <a:pt x="218" y="158"/>
                  </a:cubicBezTo>
                  <a:lnTo>
                    <a:pt x="224" y="153"/>
                  </a:lnTo>
                  <a:close/>
                  <a:moveTo>
                    <a:pt x="202" y="76"/>
                  </a:moveTo>
                  <a:cubicBezTo>
                    <a:pt x="215" y="95"/>
                    <a:pt x="215" y="95"/>
                    <a:pt x="215" y="95"/>
                  </a:cubicBezTo>
                  <a:cubicBezTo>
                    <a:pt x="215" y="129"/>
                    <a:pt x="215" y="129"/>
                    <a:pt x="215" y="129"/>
                  </a:cubicBezTo>
                  <a:cubicBezTo>
                    <a:pt x="213" y="126"/>
                    <a:pt x="213" y="126"/>
                    <a:pt x="213" y="126"/>
                  </a:cubicBezTo>
                  <a:cubicBezTo>
                    <a:pt x="202" y="133"/>
                    <a:pt x="202" y="133"/>
                    <a:pt x="202" y="133"/>
                  </a:cubicBezTo>
                  <a:cubicBezTo>
                    <a:pt x="202" y="118"/>
                    <a:pt x="202" y="118"/>
                    <a:pt x="202" y="118"/>
                  </a:cubicBezTo>
                  <a:cubicBezTo>
                    <a:pt x="206" y="115"/>
                    <a:pt x="206" y="115"/>
                    <a:pt x="206" y="115"/>
                  </a:cubicBezTo>
                  <a:cubicBezTo>
                    <a:pt x="202" y="111"/>
                    <a:pt x="202" y="111"/>
                    <a:pt x="202" y="111"/>
                  </a:cubicBezTo>
                  <a:cubicBezTo>
                    <a:pt x="202" y="76"/>
                    <a:pt x="202" y="76"/>
                    <a:pt x="202" y="76"/>
                  </a:cubicBezTo>
                  <a:close/>
                  <a:moveTo>
                    <a:pt x="215" y="283"/>
                  </a:moveTo>
                  <a:cubicBezTo>
                    <a:pt x="202" y="292"/>
                    <a:pt x="202" y="292"/>
                    <a:pt x="202" y="292"/>
                  </a:cubicBezTo>
                  <a:cubicBezTo>
                    <a:pt x="202" y="246"/>
                    <a:pt x="202" y="246"/>
                    <a:pt x="202" y="246"/>
                  </a:cubicBezTo>
                  <a:cubicBezTo>
                    <a:pt x="213" y="262"/>
                    <a:pt x="213" y="262"/>
                    <a:pt x="213" y="262"/>
                  </a:cubicBezTo>
                  <a:cubicBezTo>
                    <a:pt x="215" y="261"/>
                    <a:pt x="215" y="261"/>
                    <a:pt x="215" y="261"/>
                  </a:cubicBezTo>
                  <a:cubicBezTo>
                    <a:pt x="215" y="283"/>
                    <a:pt x="215" y="283"/>
                    <a:pt x="215" y="283"/>
                  </a:cubicBezTo>
                  <a:close/>
                  <a:moveTo>
                    <a:pt x="215" y="154"/>
                  </a:moveTo>
                  <a:cubicBezTo>
                    <a:pt x="215" y="240"/>
                    <a:pt x="215" y="240"/>
                    <a:pt x="215" y="240"/>
                  </a:cubicBezTo>
                  <a:cubicBezTo>
                    <a:pt x="209" y="230"/>
                    <a:pt x="209" y="230"/>
                    <a:pt x="209" y="230"/>
                  </a:cubicBezTo>
                  <a:cubicBezTo>
                    <a:pt x="202" y="235"/>
                    <a:pt x="202" y="235"/>
                    <a:pt x="202" y="235"/>
                  </a:cubicBezTo>
                  <a:cubicBezTo>
                    <a:pt x="202" y="168"/>
                    <a:pt x="202" y="168"/>
                    <a:pt x="202" y="168"/>
                  </a:cubicBezTo>
                  <a:cubicBezTo>
                    <a:pt x="203" y="168"/>
                    <a:pt x="203" y="168"/>
                    <a:pt x="203" y="168"/>
                  </a:cubicBezTo>
                  <a:cubicBezTo>
                    <a:pt x="202" y="166"/>
                    <a:pt x="202" y="166"/>
                    <a:pt x="202" y="166"/>
                  </a:cubicBezTo>
                  <a:cubicBezTo>
                    <a:pt x="202" y="136"/>
                    <a:pt x="202" y="136"/>
                    <a:pt x="202" y="136"/>
                  </a:cubicBezTo>
                  <a:lnTo>
                    <a:pt x="215" y="154"/>
                  </a:lnTo>
                  <a:close/>
                  <a:moveTo>
                    <a:pt x="198" y="70"/>
                  </a:moveTo>
                  <a:cubicBezTo>
                    <a:pt x="202" y="76"/>
                    <a:pt x="202" y="76"/>
                    <a:pt x="202" y="76"/>
                  </a:cubicBezTo>
                  <a:cubicBezTo>
                    <a:pt x="202" y="111"/>
                    <a:pt x="202" y="111"/>
                    <a:pt x="202" y="111"/>
                  </a:cubicBezTo>
                  <a:cubicBezTo>
                    <a:pt x="198" y="104"/>
                    <a:pt x="198" y="104"/>
                    <a:pt x="198" y="104"/>
                  </a:cubicBezTo>
                  <a:cubicBezTo>
                    <a:pt x="198" y="70"/>
                    <a:pt x="198" y="70"/>
                    <a:pt x="198" y="70"/>
                  </a:cubicBezTo>
                  <a:close/>
                  <a:moveTo>
                    <a:pt x="202" y="292"/>
                  </a:moveTo>
                  <a:cubicBezTo>
                    <a:pt x="198" y="295"/>
                    <a:pt x="198" y="295"/>
                    <a:pt x="198" y="295"/>
                  </a:cubicBezTo>
                  <a:cubicBezTo>
                    <a:pt x="198" y="273"/>
                    <a:pt x="198" y="273"/>
                    <a:pt x="198" y="273"/>
                  </a:cubicBezTo>
                  <a:cubicBezTo>
                    <a:pt x="199" y="272"/>
                    <a:pt x="199" y="272"/>
                    <a:pt x="199" y="272"/>
                  </a:cubicBezTo>
                  <a:cubicBezTo>
                    <a:pt x="198" y="270"/>
                    <a:pt x="198" y="270"/>
                    <a:pt x="198" y="270"/>
                  </a:cubicBezTo>
                  <a:cubicBezTo>
                    <a:pt x="198" y="240"/>
                    <a:pt x="198" y="240"/>
                    <a:pt x="198" y="240"/>
                  </a:cubicBezTo>
                  <a:cubicBezTo>
                    <a:pt x="202" y="246"/>
                    <a:pt x="202" y="246"/>
                    <a:pt x="202" y="246"/>
                  </a:cubicBezTo>
                  <a:cubicBezTo>
                    <a:pt x="202" y="292"/>
                    <a:pt x="202" y="292"/>
                    <a:pt x="202" y="292"/>
                  </a:cubicBezTo>
                  <a:close/>
                  <a:moveTo>
                    <a:pt x="202" y="118"/>
                  </a:moveTo>
                  <a:cubicBezTo>
                    <a:pt x="202" y="133"/>
                    <a:pt x="202" y="133"/>
                    <a:pt x="202" y="133"/>
                  </a:cubicBezTo>
                  <a:cubicBezTo>
                    <a:pt x="201" y="134"/>
                    <a:pt x="201" y="134"/>
                    <a:pt x="201" y="134"/>
                  </a:cubicBezTo>
                  <a:cubicBezTo>
                    <a:pt x="202" y="136"/>
                    <a:pt x="202" y="136"/>
                    <a:pt x="202" y="136"/>
                  </a:cubicBezTo>
                  <a:cubicBezTo>
                    <a:pt x="202" y="166"/>
                    <a:pt x="202" y="166"/>
                    <a:pt x="202" y="166"/>
                  </a:cubicBezTo>
                  <a:cubicBezTo>
                    <a:pt x="198" y="160"/>
                    <a:pt x="198" y="160"/>
                    <a:pt x="198" y="160"/>
                  </a:cubicBezTo>
                  <a:cubicBezTo>
                    <a:pt x="198" y="121"/>
                    <a:pt x="198" y="121"/>
                    <a:pt x="198" y="121"/>
                  </a:cubicBezTo>
                  <a:cubicBezTo>
                    <a:pt x="202" y="118"/>
                    <a:pt x="202" y="118"/>
                    <a:pt x="202" y="118"/>
                  </a:cubicBezTo>
                  <a:close/>
                  <a:moveTo>
                    <a:pt x="202" y="168"/>
                  </a:moveTo>
                  <a:cubicBezTo>
                    <a:pt x="202" y="235"/>
                    <a:pt x="202" y="235"/>
                    <a:pt x="202" y="235"/>
                  </a:cubicBezTo>
                  <a:cubicBezTo>
                    <a:pt x="198" y="238"/>
                    <a:pt x="198" y="238"/>
                    <a:pt x="198" y="238"/>
                  </a:cubicBezTo>
                  <a:cubicBezTo>
                    <a:pt x="198" y="222"/>
                    <a:pt x="198" y="222"/>
                    <a:pt x="198" y="222"/>
                  </a:cubicBezTo>
                  <a:cubicBezTo>
                    <a:pt x="201" y="220"/>
                    <a:pt x="201" y="220"/>
                    <a:pt x="201" y="220"/>
                  </a:cubicBezTo>
                  <a:cubicBezTo>
                    <a:pt x="198" y="215"/>
                    <a:pt x="198" y="215"/>
                    <a:pt x="198" y="215"/>
                  </a:cubicBezTo>
                  <a:cubicBezTo>
                    <a:pt x="198" y="171"/>
                    <a:pt x="198" y="171"/>
                    <a:pt x="198" y="171"/>
                  </a:cubicBezTo>
                  <a:lnTo>
                    <a:pt x="202" y="168"/>
                  </a:lnTo>
                  <a:close/>
                  <a:moveTo>
                    <a:pt x="191" y="61"/>
                  </a:moveTo>
                  <a:cubicBezTo>
                    <a:pt x="198" y="70"/>
                    <a:pt x="198" y="70"/>
                    <a:pt x="198" y="70"/>
                  </a:cubicBezTo>
                  <a:cubicBezTo>
                    <a:pt x="198" y="104"/>
                    <a:pt x="198" y="104"/>
                    <a:pt x="198" y="104"/>
                  </a:cubicBezTo>
                  <a:cubicBezTo>
                    <a:pt x="191" y="95"/>
                    <a:pt x="191" y="95"/>
                    <a:pt x="191" y="95"/>
                  </a:cubicBezTo>
                  <a:cubicBezTo>
                    <a:pt x="191" y="61"/>
                    <a:pt x="191" y="61"/>
                    <a:pt x="191" y="61"/>
                  </a:cubicBezTo>
                  <a:close/>
                  <a:moveTo>
                    <a:pt x="198" y="295"/>
                  </a:moveTo>
                  <a:cubicBezTo>
                    <a:pt x="191" y="300"/>
                    <a:pt x="191" y="300"/>
                    <a:pt x="191" y="300"/>
                  </a:cubicBezTo>
                  <a:cubicBezTo>
                    <a:pt x="191" y="278"/>
                    <a:pt x="191" y="278"/>
                    <a:pt x="191" y="278"/>
                  </a:cubicBezTo>
                  <a:cubicBezTo>
                    <a:pt x="198" y="273"/>
                    <a:pt x="198" y="273"/>
                    <a:pt x="198" y="273"/>
                  </a:cubicBezTo>
                  <a:cubicBezTo>
                    <a:pt x="198" y="295"/>
                    <a:pt x="198" y="295"/>
                    <a:pt x="198" y="295"/>
                  </a:cubicBezTo>
                  <a:close/>
                  <a:moveTo>
                    <a:pt x="198" y="121"/>
                  </a:moveTo>
                  <a:cubicBezTo>
                    <a:pt x="198" y="160"/>
                    <a:pt x="198" y="160"/>
                    <a:pt x="198" y="160"/>
                  </a:cubicBezTo>
                  <a:cubicBezTo>
                    <a:pt x="191" y="150"/>
                    <a:pt x="191" y="150"/>
                    <a:pt x="191" y="150"/>
                  </a:cubicBezTo>
                  <a:cubicBezTo>
                    <a:pt x="191" y="120"/>
                    <a:pt x="191" y="120"/>
                    <a:pt x="191" y="120"/>
                  </a:cubicBezTo>
                  <a:cubicBezTo>
                    <a:pt x="194" y="124"/>
                    <a:pt x="194" y="124"/>
                    <a:pt x="194" y="124"/>
                  </a:cubicBezTo>
                  <a:cubicBezTo>
                    <a:pt x="198" y="121"/>
                    <a:pt x="198" y="121"/>
                    <a:pt x="198" y="121"/>
                  </a:cubicBezTo>
                  <a:close/>
                  <a:moveTo>
                    <a:pt x="198" y="171"/>
                  </a:moveTo>
                  <a:cubicBezTo>
                    <a:pt x="198" y="215"/>
                    <a:pt x="198" y="215"/>
                    <a:pt x="198" y="215"/>
                  </a:cubicBezTo>
                  <a:cubicBezTo>
                    <a:pt x="191" y="206"/>
                    <a:pt x="191" y="206"/>
                    <a:pt x="191" y="206"/>
                  </a:cubicBezTo>
                  <a:cubicBezTo>
                    <a:pt x="191" y="175"/>
                    <a:pt x="191" y="175"/>
                    <a:pt x="191" y="175"/>
                  </a:cubicBezTo>
                  <a:cubicBezTo>
                    <a:pt x="192" y="176"/>
                    <a:pt x="192" y="176"/>
                    <a:pt x="192" y="176"/>
                  </a:cubicBezTo>
                  <a:cubicBezTo>
                    <a:pt x="198" y="171"/>
                    <a:pt x="198" y="171"/>
                    <a:pt x="198" y="171"/>
                  </a:cubicBezTo>
                  <a:close/>
                  <a:moveTo>
                    <a:pt x="198" y="222"/>
                  </a:moveTo>
                  <a:cubicBezTo>
                    <a:pt x="198" y="238"/>
                    <a:pt x="198" y="238"/>
                    <a:pt x="198" y="238"/>
                  </a:cubicBezTo>
                  <a:cubicBezTo>
                    <a:pt x="197" y="239"/>
                    <a:pt x="197" y="239"/>
                    <a:pt x="197" y="239"/>
                  </a:cubicBezTo>
                  <a:cubicBezTo>
                    <a:pt x="198" y="240"/>
                    <a:pt x="198" y="240"/>
                    <a:pt x="198" y="240"/>
                  </a:cubicBezTo>
                  <a:cubicBezTo>
                    <a:pt x="198" y="270"/>
                    <a:pt x="198" y="270"/>
                    <a:pt x="198" y="270"/>
                  </a:cubicBezTo>
                  <a:cubicBezTo>
                    <a:pt x="191" y="261"/>
                    <a:pt x="191" y="261"/>
                    <a:pt x="191" y="261"/>
                  </a:cubicBezTo>
                  <a:cubicBezTo>
                    <a:pt x="191" y="227"/>
                    <a:pt x="191" y="227"/>
                    <a:pt x="191" y="227"/>
                  </a:cubicBezTo>
                  <a:lnTo>
                    <a:pt x="198" y="222"/>
                  </a:lnTo>
                  <a:close/>
                  <a:moveTo>
                    <a:pt x="178" y="42"/>
                  </a:moveTo>
                  <a:cubicBezTo>
                    <a:pt x="191" y="61"/>
                    <a:pt x="191" y="61"/>
                    <a:pt x="191" y="61"/>
                  </a:cubicBezTo>
                  <a:cubicBezTo>
                    <a:pt x="191" y="95"/>
                    <a:pt x="191" y="95"/>
                    <a:pt x="191" y="95"/>
                  </a:cubicBezTo>
                  <a:cubicBezTo>
                    <a:pt x="189" y="92"/>
                    <a:pt x="189" y="92"/>
                    <a:pt x="189" y="92"/>
                  </a:cubicBezTo>
                  <a:cubicBezTo>
                    <a:pt x="178" y="99"/>
                    <a:pt x="178" y="99"/>
                    <a:pt x="178" y="99"/>
                  </a:cubicBezTo>
                  <a:cubicBezTo>
                    <a:pt x="178" y="84"/>
                    <a:pt x="178" y="84"/>
                    <a:pt x="178" y="84"/>
                  </a:cubicBezTo>
                  <a:cubicBezTo>
                    <a:pt x="182" y="81"/>
                    <a:pt x="182" y="81"/>
                    <a:pt x="182" y="81"/>
                  </a:cubicBezTo>
                  <a:cubicBezTo>
                    <a:pt x="178" y="77"/>
                    <a:pt x="178" y="77"/>
                    <a:pt x="178" y="77"/>
                  </a:cubicBezTo>
                  <a:cubicBezTo>
                    <a:pt x="178" y="42"/>
                    <a:pt x="178" y="42"/>
                    <a:pt x="178" y="42"/>
                  </a:cubicBezTo>
                  <a:close/>
                  <a:moveTo>
                    <a:pt x="191" y="300"/>
                  </a:moveTo>
                  <a:cubicBezTo>
                    <a:pt x="178" y="309"/>
                    <a:pt x="178" y="309"/>
                    <a:pt x="178" y="309"/>
                  </a:cubicBezTo>
                  <a:cubicBezTo>
                    <a:pt x="178" y="268"/>
                    <a:pt x="178" y="268"/>
                    <a:pt x="178" y="268"/>
                  </a:cubicBezTo>
                  <a:cubicBezTo>
                    <a:pt x="187" y="281"/>
                    <a:pt x="187" y="281"/>
                    <a:pt x="187" y="281"/>
                  </a:cubicBezTo>
                  <a:cubicBezTo>
                    <a:pt x="191" y="278"/>
                    <a:pt x="191" y="278"/>
                    <a:pt x="191" y="278"/>
                  </a:cubicBezTo>
                  <a:cubicBezTo>
                    <a:pt x="191" y="300"/>
                    <a:pt x="191" y="300"/>
                    <a:pt x="191" y="300"/>
                  </a:cubicBezTo>
                  <a:close/>
                  <a:moveTo>
                    <a:pt x="191" y="120"/>
                  </a:moveTo>
                  <a:cubicBezTo>
                    <a:pt x="191" y="150"/>
                    <a:pt x="191" y="150"/>
                    <a:pt x="191" y="150"/>
                  </a:cubicBezTo>
                  <a:cubicBezTo>
                    <a:pt x="187" y="144"/>
                    <a:pt x="187" y="144"/>
                    <a:pt x="187" y="144"/>
                  </a:cubicBezTo>
                  <a:cubicBezTo>
                    <a:pt x="178" y="150"/>
                    <a:pt x="178" y="150"/>
                    <a:pt x="178" y="150"/>
                  </a:cubicBezTo>
                  <a:cubicBezTo>
                    <a:pt x="178" y="134"/>
                    <a:pt x="178" y="134"/>
                    <a:pt x="178" y="134"/>
                  </a:cubicBezTo>
                  <a:cubicBezTo>
                    <a:pt x="180" y="134"/>
                    <a:pt x="180" y="134"/>
                    <a:pt x="180" y="134"/>
                  </a:cubicBezTo>
                  <a:cubicBezTo>
                    <a:pt x="178" y="132"/>
                    <a:pt x="178" y="132"/>
                    <a:pt x="178" y="132"/>
                  </a:cubicBezTo>
                  <a:cubicBezTo>
                    <a:pt x="178" y="102"/>
                    <a:pt x="178" y="102"/>
                    <a:pt x="178" y="102"/>
                  </a:cubicBezTo>
                  <a:cubicBezTo>
                    <a:pt x="191" y="120"/>
                    <a:pt x="191" y="120"/>
                    <a:pt x="191" y="120"/>
                  </a:cubicBezTo>
                  <a:close/>
                  <a:moveTo>
                    <a:pt x="191" y="175"/>
                  </a:moveTo>
                  <a:cubicBezTo>
                    <a:pt x="191" y="206"/>
                    <a:pt x="191" y="206"/>
                    <a:pt x="191" y="206"/>
                  </a:cubicBezTo>
                  <a:cubicBezTo>
                    <a:pt x="185" y="196"/>
                    <a:pt x="185" y="196"/>
                    <a:pt x="185" y="196"/>
                  </a:cubicBezTo>
                  <a:cubicBezTo>
                    <a:pt x="178" y="201"/>
                    <a:pt x="178" y="201"/>
                    <a:pt x="178" y="201"/>
                  </a:cubicBezTo>
                  <a:cubicBezTo>
                    <a:pt x="178" y="157"/>
                    <a:pt x="178" y="157"/>
                    <a:pt x="178" y="157"/>
                  </a:cubicBezTo>
                  <a:cubicBezTo>
                    <a:pt x="191" y="175"/>
                    <a:pt x="191" y="175"/>
                    <a:pt x="191" y="175"/>
                  </a:cubicBezTo>
                  <a:close/>
                  <a:moveTo>
                    <a:pt x="191" y="227"/>
                  </a:moveTo>
                  <a:cubicBezTo>
                    <a:pt x="191" y="261"/>
                    <a:pt x="191" y="261"/>
                    <a:pt x="191" y="261"/>
                  </a:cubicBezTo>
                  <a:cubicBezTo>
                    <a:pt x="183" y="249"/>
                    <a:pt x="183" y="249"/>
                    <a:pt x="183" y="249"/>
                  </a:cubicBezTo>
                  <a:cubicBezTo>
                    <a:pt x="178" y="251"/>
                    <a:pt x="178" y="251"/>
                    <a:pt x="178" y="251"/>
                  </a:cubicBezTo>
                  <a:cubicBezTo>
                    <a:pt x="178" y="212"/>
                    <a:pt x="178" y="212"/>
                    <a:pt x="178" y="212"/>
                  </a:cubicBezTo>
                  <a:cubicBezTo>
                    <a:pt x="189" y="228"/>
                    <a:pt x="189" y="228"/>
                    <a:pt x="189" y="228"/>
                  </a:cubicBezTo>
                  <a:lnTo>
                    <a:pt x="191" y="227"/>
                  </a:lnTo>
                  <a:close/>
                  <a:moveTo>
                    <a:pt x="176" y="39"/>
                  </a:moveTo>
                  <a:cubicBezTo>
                    <a:pt x="178" y="42"/>
                    <a:pt x="178" y="42"/>
                    <a:pt x="178" y="42"/>
                  </a:cubicBezTo>
                  <a:cubicBezTo>
                    <a:pt x="178" y="77"/>
                    <a:pt x="178" y="77"/>
                    <a:pt x="178" y="77"/>
                  </a:cubicBezTo>
                  <a:cubicBezTo>
                    <a:pt x="176" y="73"/>
                    <a:pt x="176" y="73"/>
                    <a:pt x="176" y="73"/>
                  </a:cubicBezTo>
                  <a:cubicBezTo>
                    <a:pt x="176" y="39"/>
                    <a:pt x="176" y="39"/>
                    <a:pt x="176" y="39"/>
                  </a:cubicBezTo>
                  <a:close/>
                  <a:moveTo>
                    <a:pt x="178" y="309"/>
                  </a:moveTo>
                  <a:cubicBezTo>
                    <a:pt x="176" y="311"/>
                    <a:pt x="176" y="311"/>
                    <a:pt x="176" y="311"/>
                  </a:cubicBezTo>
                  <a:cubicBezTo>
                    <a:pt x="176" y="265"/>
                    <a:pt x="176" y="265"/>
                    <a:pt x="176" y="265"/>
                  </a:cubicBezTo>
                  <a:cubicBezTo>
                    <a:pt x="178" y="268"/>
                    <a:pt x="178" y="268"/>
                    <a:pt x="178" y="268"/>
                  </a:cubicBezTo>
                  <a:cubicBezTo>
                    <a:pt x="178" y="309"/>
                    <a:pt x="178" y="309"/>
                    <a:pt x="178" y="309"/>
                  </a:cubicBezTo>
                  <a:close/>
                  <a:moveTo>
                    <a:pt x="178" y="84"/>
                  </a:moveTo>
                  <a:cubicBezTo>
                    <a:pt x="178" y="99"/>
                    <a:pt x="178" y="99"/>
                    <a:pt x="178" y="99"/>
                  </a:cubicBezTo>
                  <a:cubicBezTo>
                    <a:pt x="177" y="100"/>
                    <a:pt x="177" y="100"/>
                    <a:pt x="177" y="100"/>
                  </a:cubicBezTo>
                  <a:cubicBezTo>
                    <a:pt x="178" y="102"/>
                    <a:pt x="178" y="102"/>
                    <a:pt x="178" y="102"/>
                  </a:cubicBezTo>
                  <a:cubicBezTo>
                    <a:pt x="178" y="132"/>
                    <a:pt x="178" y="132"/>
                    <a:pt x="178" y="132"/>
                  </a:cubicBezTo>
                  <a:cubicBezTo>
                    <a:pt x="176" y="129"/>
                    <a:pt x="176" y="129"/>
                    <a:pt x="176" y="129"/>
                  </a:cubicBezTo>
                  <a:cubicBezTo>
                    <a:pt x="176" y="85"/>
                    <a:pt x="176" y="85"/>
                    <a:pt x="176" y="85"/>
                  </a:cubicBezTo>
                  <a:cubicBezTo>
                    <a:pt x="178" y="84"/>
                    <a:pt x="178" y="84"/>
                    <a:pt x="178" y="84"/>
                  </a:cubicBezTo>
                  <a:close/>
                  <a:moveTo>
                    <a:pt x="178" y="134"/>
                  </a:moveTo>
                  <a:cubicBezTo>
                    <a:pt x="178" y="150"/>
                    <a:pt x="178" y="150"/>
                    <a:pt x="178" y="150"/>
                  </a:cubicBezTo>
                  <a:cubicBezTo>
                    <a:pt x="176" y="151"/>
                    <a:pt x="176" y="151"/>
                    <a:pt x="176" y="151"/>
                  </a:cubicBezTo>
                  <a:cubicBezTo>
                    <a:pt x="176" y="136"/>
                    <a:pt x="176" y="136"/>
                    <a:pt x="176" y="136"/>
                  </a:cubicBezTo>
                  <a:cubicBezTo>
                    <a:pt x="178" y="134"/>
                    <a:pt x="178" y="134"/>
                    <a:pt x="178" y="134"/>
                  </a:cubicBezTo>
                  <a:close/>
                  <a:moveTo>
                    <a:pt x="178" y="157"/>
                  </a:moveTo>
                  <a:cubicBezTo>
                    <a:pt x="178" y="201"/>
                    <a:pt x="178" y="201"/>
                    <a:pt x="178" y="201"/>
                  </a:cubicBezTo>
                  <a:cubicBezTo>
                    <a:pt x="176" y="202"/>
                    <a:pt x="176" y="202"/>
                    <a:pt x="176" y="202"/>
                  </a:cubicBezTo>
                  <a:cubicBezTo>
                    <a:pt x="176" y="187"/>
                    <a:pt x="176" y="187"/>
                    <a:pt x="176" y="187"/>
                  </a:cubicBezTo>
                  <a:cubicBezTo>
                    <a:pt x="177" y="186"/>
                    <a:pt x="177" y="186"/>
                    <a:pt x="177" y="186"/>
                  </a:cubicBezTo>
                  <a:cubicBezTo>
                    <a:pt x="176" y="184"/>
                    <a:pt x="176" y="184"/>
                    <a:pt x="176" y="184"/>
                  </a:cubicBezTo>
                  <a:cubicBezTo>
                    <a:pt x="176" y="154"/>
                    <a:pt x="176" y="154"/>
                    <a:pt x="176" y="154"/>
                  </a:cubicBezTo>
                  <a:cubicBezTo>
                    <a:pt x="178" y="157"/>
                    <a:pt x="178" y="157"/>
                    <a:pt x="178" y="157"/>
                  </a:cubicBezTo>
                  <a:close/>
                  <a:moveTo>
                    <a:pt x="178" y="212"/>
                  </a:moveTo>
                  <a:cubicBezTo>
                    <a:pt x="178" y="251"/>
                    <a:pt x="178" y="251"/>
                    <a:pt x="178" y="251"/>
                  </a:cubicBezTo>
                  <a:cubicBezTo>
                    <a:pt x="176" y="253"/>
                    <a:pt x="176" y="253"/>
                    <a:pt x="176" y="253"/>
                  </a:cubicBezTo>
                  <a:cubicBezTo>
                    <a:pt x="176" y="209"/>
                    <a:pt x="176" y="209"/>
                    <a:pt x="176" y="209"/>
                  </a:cubicBezTo>
                  <a:lnTo>
                    <a:pt x="178" y="212"/>
                  </a:lnTo>
                  <a:close/>
                  <a:moveTo>
                    <a:pt x="167" y="27"/>
                  </a:moveTo>
                  <a:cubicBezTo>
                    <a:pt x="176" y="39"/>
                    <a:pt x="176" y="39"/>
                    <a:pt x="176" y="39"/>
                  </a:cubicBezTo>
                  <a:cubicBezTo>
                    <a:pt x="176" y="73"/>
                    <a:pt x="176" y="73"/>
                    <a:pt x="176" y="73"/>
                  </a:cubicBezTo>
                  <a:cubicBezTo>
                    <a:pt x="167" y="61"/>
                    <a:pt x="167" y="61"/>
                    <a:pt x="167" y="61"/>
                  </a:cubicBezTo>
                  <a:cubicBezTo>
                    <a:pt x="167" y="27"/>
                    <a:pt x="167" y="27"/>
                    <a:pt x="167" y="27"/>
                  </a:cubicBezTo>
                  <a:close/>
                  <a:moveTo>
                    <a:pt x="176" y="311"/>
                  </a:moveTo>
                  <a:cubicBezTo>
                    <a:pt x="167" y="317"/>
                    <a:pt x="167" y="317"/>
                    <a:pt x="167" y="317"/>
                  </a:cubicBezTo>
                  <a:cubicBezTo>
                    <a:pt x="167" y="193"/>
                    <a:pt x="167" y="193"/>
                    <a:pt x="167" y="193"/>
                  </a:cubicBezTo>
                  <a:cubicBezTo>
                    <a:pt x="176" y="187"/>
                    <a:pt x="176" y="187"/>
                    <a:pt x="176" y="187"/>
                  </a:cubicBezTo>
                  <a:cubicBezTo>
                    <a:pt x="176" y="202"/>
                    <a:pt x="176" y="202"/>
                    <a:pt x="176" y="202"/>
                  </a:cubicBezTo>
                  <a:cubicBezTo>
                    <a:pt x="173" y="204"/>
                    <a:pt x="173" y="204"/>
                    <a:pt x="173" y="204"/>
                  </a:cubicBezTo>
                  <a:cubicBezTo>
                    <a:pt x="176" y="209"/>
                    <a:pt x="176" y="209"/>
                    <a:pt x="176" y="209"/>
                  </a:cubicBezTo>
                  <a:cubicBezTo>
                    <a:pt x="176" y="253"/>
                    <a:pt x="176" y="253"/>
                    <a:pt x="176" y="253"/>
                  </a:cubicBezTo>
                  <a:cubicBezTo>
                    <a:pt x="171" y="257"/>
                    <a:pt x="171" y="257"/>
                    <a:pt x="171" y="257"/>
                  </a:cubicBezTo>
                  <a:cubicBezTo>
                    <a:pt x="176" y="265"/>
                    <a:pt x="176" y="265"/>
                    <a:pt x="176" y="265"/>
                  </a:cubicBezTo>
                  <a:cubicBezTo>
                    <a:pt x="176" y="311"/>
                    <a:pt x="176" y="311"/>
                    <a:pt x="176" y="311"/>
                  </a:cubicBezTo>
                  <a:close/>
                  <a:moveTo>
                    <a:pt x="176" y="85"/>
                  </a:moveTo>
                  <a:cubicBezTo>
                    <a:pt x="176" y="129"/>
                    <a:pt x="176" y="129"/>
                    <a:pt x="176" y="129"/>
                  </a:cubicBezTo>
                  <a:cubicBezTo>
                    <a:pt x="167" y="116"/>
                    <a:pt x="167" y="116"/>
                    <a:pt x="167" y="116"/>
                  </a:cubicBezTo>
                  <a:cubicBezTo>
                    <a:pt x="167" y="86"/>
                    <a:pt x="167" y="86"/>
                    <a:pt x="167" y="86"/>
                  </a:cubicBezTo>
                  <a:cubicBezTo>
                    <a:pt x="170" y="90"/>
                    <a:pt x="170" y="90"/>
                    <a:pt x="170" y="90"/>
                  </a:cubicBezTo>
                  <a:cubicBezTo>
                    <a:pt x="176" y="85"/>
                    <a:pt x="176" y="85"/>
                    <a:pt x="176" y="85"/>
                  </a:cubicBezTo>
                  <a:close/>
                  <a:moveTo>
                    <a:pt x="176" y="136"/>
                  </a:moveTo>
                  <a:cubicBezTo>
                    <a:pt x="176" y="151"/>
                    <a:pt x="176" y="151"/>
                    <a:pt x="176" y="151"/>
                  </a:cubicBezTo>
                  <a:cubicBezTo>
                    <a:pt x="175" y="152"/>
                    <a:pt x="175" y="152"/>
                    <a:pt x="175" y="152"/>
                  </a:cubicBezTo>
                  <a:cubicBezTo>
                    <a:pt x="176" y="154"/>
                    <a:pt x="176" y="154"/>
                    <a:pt x="176" y="154"/>
                  </a:cubicBezTo>
                  <a:cubicBezTo>
                    <a:pt x="176" y="184"/>
                    <a:pt x="176" y="184"/>
                    <a:pt x="176" y="184"/>
                  </a:cubicBezTo>
                  <a:cubicBezTo>
                    <a:pt x="167" y="172"/>
                    <a:pt x="167" y="172"/>
                    <a:pt x="167" y="172"/>
                  </a:cubicBezTo>
                  <a:cubicBezTo>
                    <a:pt x="167" y="141"/>
                    <a:pt x="167" y="141"/>
                    <a:pt x="167" y="141"/>
                  </a:cubicBezTo>
                  <a:cubicBezTo>
                    <a:pt x="168" y="141"/>
                    <a:pt x="168" y="142"/>
                    <a:pt x="168" y="142"/>
                  </a:cubicBezTo>
                  <a:lnTo>
                    <a:pt x="176" y="136"/>
                  </a:lnTo>
                  <a:close/>
                  <a:moveTo>
                    <a:pt x="154" y="8"/>
                  </a:moveTo>
                  <a:cubicBezTo>
                    <a:pt x="167" y="27"/>
                    <a:pt x="167" y="27"/>
                    <a:pt x="167" y="27"/>
                  </a:cubicBezTo>
                  <a:cubicBezTo>
                    <a:pt x="167" y="61"/>
                    <a:pt x="167" y="61"/>
                    <a:pt x="167" y="61"/>
                  </a:cubicBezTo>
                  <a:cubicBezTo>
                    <a:pt x="165" y="58"/>
                    <a:pt x="165" y="58"/>
                    <a:pt x="165" y="58"/>
                  </a:cubicBezTo>
                  <a:cubicBezTo>
                    <a:pt x="154" y="65"/>
                    <a:pt x="154" y="65"/>
                    <a:pt x="154" y="65"/>
                  </a:cubicBezTo>
                  <a:cubicBezTo>
                    <a:pt x="154" y="50"/>
                    <a:pt x="154" y="50"/>
                    <a:pt x="154" y="50"/>
                  </a:cubicBezTo>
                  <a:cubicBezTo>
                    <a:pt x="158" y="47"/>
                    <a:pt x="158" y="47"/>
                    <a:pt x="158" y="47"/>
                  </a:cubicBezTo>
                  <a:cubicBezTo>
                    <a:pt x="154" y="43"/>
                    <a:pt x="154" y="43"/>
                    <a:pt x="154" y="43"/>
                  </a:cubicBezTo>
                  <a:cubicBezTo>
                    <a:pt x="154" y="8"/>
                    <a:pt x="154" y="8"/>
                    <a:pt x="154" y="8"/>
                  </a:cubicBezTo>
                  <a:close/>
                  <a:moveTo>
                    <a:pt x="167" y="317"/>
                  </a:moveTo>
                  <a:cubicBezTo>
                    <a:pt x="156" y="325"/>
                    <a:pt x="156" y="325"/>
                    <a:pt x="156" y="325"/>
                  </a:cubicBezTo>
                  <a:cubicBezTo>
                    <a:pt x="154" y="324"/>
                    <a:pt x="154" y="324"/>
                    <a:pt x="154" y="324"/>
                  </a:cubicBezTo>
                  <a:cubicBezTo>
                    <a:pt x="154" y="178"/>
                    <a:pt x="154" y="178"/>
                    <a:pt x="154" y="178"/>
                  </a:cubicBezTo>
                  <a:cubicBezTo>
                    <a:pt x="166" y="194"/>
                    <a:pt x="166" y="194"/>
                    <a:pt x="166" y="194"/>
                  </a:cubicBezTo>
                  <a:cubicBezTo>
                    <a:pt x="167" y="193"/>
                    <a:pt x="167" y="193"/>
                    <a:pt x="167" y="193"/>
                  </a:cubicBezTo>
                  <a:cubicBezTo>
                    <a:pt x="167" y="317"/>
                    <a:pt x="167" y="317"/>
                    <a:pt x="167" y="317"/>
                  </a:cubicBezTo>
                  <a:close/>
                  <a:moveTo>
                    <a:pt x="167" y="86"/>
                  </a:moveTo>
                  <a:cubicBezTo>
                    <a:pt x="167" y="116"/>
                    <a:pt x="167" y="116"/>
                    <a:pt x="167" y="116"/>
                  </a:cubicBezTo>
                  <a:cubicBezTo>
                    <a:pt x="163" y="110"/>
                    <a:pt x="163" y="110"/>
                    <a:pt x="163" y="110"/>
                  </a:cubicBezTo>
                  <a:cubicBezTo>
                    <a:pt x="159" y="113"/>
                    <a:pt x="162" y="133"/>
                    <a:pt x="167" y="141"/>
                  </a:cubicBezTo>
                  <a:cubicBezTo>
                    <a:pt x="167" y="172"/>
                    <a:pt x="167" y="172"/>
                    <a:pt x="167" y="172"/>
                  </a:cubicBezTo>
                  <a:cubicBezTo>
                    <a:pt x="161" y="162"/>
                    <a:pt x="161" y="162"/>
                    <a:pt x="161" y="162"/>
                  </a:cubicBezTo>
                  <a:cubicBezTo>
                    <a:pt x="154" y="167"/>
                    <a:pt x="154" y="167"/>
                    <a:pt x="154" y="167"/>
                  </a:cubicBezTo>
                  <a:cubicBezTo>
                    <a:pt x="154" y="100"/>
                    <a:pt x="154" y="100"/>
                    <a:pt x="154" y="100"/>
                  </a:cubicBezTo>
                  <a:cubicBezTo>
                    <a:pt x="156" y="99"/>
                    <a:pt x="156" y="99"/>
                    <a:pt x="156" y="99"/>
                  </a:cubicBezTo>
                  <a:cubicBezTo>
                    <a:pt x="154" y="98"/>
                    <a:pt x="154" y="98"/>
                    <a:pt x="154" y="98"/>
                  </a:cubicBezTo>
                  <a:cubicBezTo>
                    <a:pt x="154" y="68"/>
                    <a:pt x="154" y="68"/>
                    <a:pt x="154" y="68"/>
                  </a:cubicBezTo>
                  <a:lnTo>
                    <a:pt x="167" y="86"/>
                  </a:lnTo>
                  <a:close/>
                  <a:moveTo>
                    <a:pt x="150" y="2"/>
                  </a:moveTo>
                  <a:cubicBezTo>
                    <a:pt x="154" y="8"/>
                    <a:pt x="154" y="8"/>
                    <a:pt x="154" y="8"/>
                  </a:cubicBezTo>
                  <a:cubicBezTo>
                    <a:pt x="154" y="43"/>
                    <a:pt x="154" y="43"/>
                    <a:pt x="154" y="43"/>
                  </a:cubicBezTo>
                  <a:cubicBezTo>
                    <a:pt x="150" y="36"/>
                    <a:pt x="150" y="36"/>
                    <a:pt x="150" y="36"/>
                  </a:cubicBezTo>
                  <a:cubicBezTo>
                    <a:pt x="150" y="2"/>
                    <a:pt x="150" y="2"/>
                    <a:pt x="150" y="2"/>
                  </a:cubicBezTo>
                  <a:close/>
                  <a:moveTo>
                    <a:pt x="154" y="324"/>
                  </a:moveTo>
                  <a:cubicBezTo>
                    <a:pt x="150" y="317"/>
                    <a:pt x="150" y="317"/>
                    <a:pt x="150" y="317"/>
                  </a:cubicBezTo>
                  <a:cubicBezTo>
                    <a:pt x="150" y="205"/>
                    <a:pt x="150" y="205"/>
                    <a:pt x="150" y="205"/>
                  </a:cubicBezTo>
                  <a:cubicBezTo>
                    <a:pt x="151" y="204"/>
                    <a:pt x="151" y="204"/>
                    <a:pt x="151" y="204"/>
                  </a:cubicBezTo>
                  <a:cubicBezTo>
                    <a:pt x="150" y="202"/>
                    <a:pt x="150" y="202"/>
                    <a:pt x="150" y="202"/>
                  </a:cubicBezTo>
                  <a:cubicBezTo>
                    <a:pt x="150" y="172"/>
                    <a:pt x="150" y="172"/>
                    <a:pt x="150" y="172"/>
                  </a:cubicBezTo>
                  <a:cubicBezTo>
                    <a:pt x="154" y="178"/>
                    <a:pt x="154" y="178"/>
                    <a:pt x="154" y="178"/>
                  </a:cubicBezTo>
                  <a:cubicBezTo>
                    <a:pt x="154" y="324"/>
                    <a:pt x="154" y="324"/>
                    <a:pt x="154" y="324"/>
                  </a:cubicBezTo>
                  <a:close/>
                  <a:moveTo>
                    <a:pt x="154" y="50"/>
                  </a:moveTo>
                  <a:cubicBezTo>
                    <a:pt x="154" y="65"/>
                    <a:pt x="154" y="65"/>
                    <a:pt x="154" y="65"/>
                  </a:cubicBezTo>
                  <a:cubicBezTo>
                    <a:pt x="153" y="66"/>
                    <a:pt x="153" y="66"/>
                    <a:pt x="153" y="66"/>
                  </a:cubicBezTo>
                  <a:cubicBezTo>
                    <a:pt x="154" y="68"/>
                    <a:pt x="154" y="68"/>
                    <a:pt x="154" y="68"/>
                  </a:cubicBezTo>
                  <a:cubicBezTo>
                    <a:pt x="154" y="98"/>
                    <a:pt x="154" y="98"/>
                    <a:pt x="154" y="98"/>
                  </a:cubicBezTo>
                  <a:cubicBezTo>
                    <a:pt x="150" y="92"/>
                    <a:pt x="150" y="92"/>
                    <a:pt x="150" y="92"/>
                  </a:cubicBezTo>
                  <a:cubicBezTo>
                    <a:pt x="150" y="53"/>
                    <a:pt x="150" y="53"/>
                    <a:pt x="150" y="53"/>
                  </a:cubicBezTo>
                  <a:cubicBezTo>
                    <a:pt x="154" y="50"/>
                    <a:pt x="154" y="50"/>
                    <a:pt x="154" y="50"/>
                  </a:cubicBezTo>
                  <a:close/>
                  <a:moveTo>
                    <a:pt x="154" y="100"/>
                  </a:moveTo>
                  <a:cubicBezTo>
                    <a:pt x="154" y="167"/>
                    <a:pt x="154" y="167"/>
                    <a:pt x="154" y="167"/>
                  </a:cubicBezTo>
                  <a:cubicBezTo>
                    <a:pt x="150" y="170"/>
                    <a:pt x="150" y="170"/>
                    <a:pt x="150" y="170"/>
                  </a:cubicBezTo>
                  <a:cubicBezTo>
                    <a:pt x="150" y="154"/>
                    <a:pt x="150" y="154"/>
                    <a:pt x="150" y="154"/>
                  </a:cubicBezTo>
                  <a:cubicBezTo>
                    <a:pt x="153" y="152"/>
                    <a:pt x="153" y="152"/>
                    <a:pt x="153" y="152"/>
                  </a:cubicBezTo>
                  <a:cubicBezTo>
                    <a:pt x="150" y="147"/>
                    <a:pt x="150" y="147"/>
                    <a:pt x="150" y="147"/>
                  </a:cubicBezTo>
                  <a:cubicBezTo>
                    <a:pt x="150" y="103"/>
                    <a:pt x="150" y="103"/>
                    <a:pt x="150" y="103"/>
                  </a:cubicBezTo>
                  <a:lnTo>
                    <a:pt x="154" y="100"/>
                  </a:lnTo>
                  <a:close/>
                  <a:moveTo>
                    <a:pt x="144" y="3"/>
                  </a:moveTo>
                  <a:cubicBezTo>
                    <a:pt x="149" y="0"/>
                    <a:pt x="149" y="0"/>
                    <a:pt x="149" y="0"/>
                  </a:cubicBezTo>
                  <a:cubicBezTo>
                    <a:pt x="150" y="2"/>
                    <a:pt x="150" y="2"/>
                    <a:pt x="150" y="2"/>
                  </a:cubicBezTo>
                  <a:cubicBezTo>
                    <a:pt x="150" y="36"/>
                    <a:pt x="150" y="36"/>
                    <a:pt x="150" y="36"/>
                  </a:cubicBezTo>
                  <a:cubicBezTo>
                    <a:pt x="144" y="27"/>
                    <a:pt x="144" y="27"/>
                    <a:pt x="144" y="27"/>
                  </a:cubicBezTo>
                  <a:cubicBezTo>
                    <a:pt x="144" y="3"/>
                    <a:pt x="144" y="3"/>
                    <a:pt x="144" y="3"/>
                  </a:cubicBezTo>
                  <a:close/>
                  <a:moveTo>
                    <a:pt x="150" y="317"/>
                  </a:moveTo>
                  <a:cubicBezTo>
                    <a:pt x="144" y="308"/>
                    <a:pt x="144" y="308"/>
                    <a:pt x="144" y="308"/>
                  </a:cubicBezTo>
                  <a:cubicBezTo>
                    <a:pt x="144" y="260"/>
                    <a:pt x="144" y="260"/>
                    <a:pt x="144" y="260"/>
                  </a:cubicBezTo>
                  <a:cubicBezTo>
                    <a:pt x="149" y="257"/>
                    <a:pt x="149" y="257"/>
                    <a:pt x="149" y="257"/>
                  </a:cubicBezTo>
                  <a:cubicBezTo>
                    <a:pt x="144" y="249"/>
                    <a:pt x="144" y="249"/>
                    <a:pt x="144" y="249"/>
                  </a:cubicBezTo>
                  <a:cubicBezTo>
                    <a:pt x="144" y="210"/>
                    <a:pt x="144" y="210"/>
                    <a:pt x="144" y="210"/>
                  </a:cubicBezTo>
                  <a:cubicBezTo>
                    <a:pt x="150" y="205"/>
                    <a:pt x="150" y="205"/>
                    <a:pt x="150" y="205"/>
                  </a:cubicBezTo>
                  <a:cubicBezTo>
                    <a:pt x="150" y="317"/>
                    <a:pt x="150" y="317"/>
                    <a:pt x="150" y="317"/>
                  </a:cubicBezTo>
                  <a:close/>
                  <a:moveTo>
                    <a:pt x="150" y="53"/>
                  </a:moveTo>
                  <a:cubicBezTo>
                    <a:pt x="150" y="92"/>
                    <a:pt x="150" y="92"/>
                    <a:pt x="150" y="92"/>
                  </a:cubicBezTo>
                  <a:cubicBezTo>
                    <a:pt x="144" y="82"/>
                    <a:pt x="144" y="82"/>
                    <a:pt x="144" y="82"/>
                  </a:cubicBezTo>
                  <a:cubicBezTo>
                    <a:pt x="144" y="52"/>
                    <a:pt x="144" y="52"/>
                    <a:pt x="144" y="52"/>
                  </a:cubicBezTo>
                  <a:cubicBezTo>
                    <a:pt x="146" y="56"/>
                    <a:pt x="146" y="56"/>
                    <a:pt x="146" y="56"/>
                  </a:cubicBezTo>
                  <a:cubicBezTo>
                    <a:pt x="150" y="53"/>
                    <a:pt x="150" y="53"/>
                    <a:pt x="150" y="53"/>
                  </a:cubicBezTo>
                  <a:close/>
                  <a:moveTo>
                    <a:pt x="150" y="103"/>
                  </a:moveTo>
                  <a:cubicBezTo>
                    <a:pt x="150" y="147"/>
                    <a:pt x="150" y="147"/>
                    <a:pt x="150" y="147"/>
                  </a:cubicBezTo>
                  <a:cubicBezTo>
                    <a:pt x="144" y="138"/>
                    <a:pt x="144" y="138"/>
                    <a:pt x="144" y="138"/>
                  </a:cubicBezTo>
                  <a:cubicBezTo>
                    <a:pt x="144" y="107"/>
                    <a:pt x="144" y="107"/>
                    <a:pt x="144" y="107"/>
                  </a:cubicBezTo>
                  <a:cubicBezTo>
                    <a:pt x="144" y="108"/>
                    <a:pt x="144" y="108"/>
                    <a:pt x="144" y="108"/>
                  </a:cubicBezTo>
                  <a:cubicBezTo>
                    <a:pt x="150" y="103"/>
                    <a:pt x="150" y="103"/>
                    <a:pt x="150" y="103"/>
                  </a:cubicBezTo>
                  <a:close/>
                  <a:moveTo>
                    <a:pt x="150" y="154"/>
                  </a:moveTo>
                  <a:cubicBezTo>
                    <a:pt x="150" y="170"/>
                    <a:pt x="150" y="170"/>
                    <a:pt x="150" y="170"/>
                  </a:cubicBezTo>
                  <a:cubicBezTo>
                    <a:pt x="149" y="170"/>
                    <a:pt x="149" y="170"/>
                    <a:pt x="149" y="170"/>
                  </a:cubicBezTo>
                  <a:cubicBezTo>
                    <a:pt x="150" y="172"/>
                    <a:pt x="150" y="172"/>
                    <a:pt x="150" y="172"/>
                  </a:cubicBezTo>
                  <a:cubicBezTo>
                    <a:pt x="150" y="202"/>
                    <a:pt x="150" y="202"/>
                    <a:pt x="150" y="202"/>
                  </a:cubicBezTo>
                  <a:cubicBezTo>
                    <a:pt x="144" y="193"/>
                    <a:pt x="144" y="193"/>
                    <a:pt x="144" y="193"/>
                  </a:cubicBezTo>
                  <a:cubicBezTo>
                    <a:pt x="144" y="159"/>
                    <a:pt x="144" y="159"/>
                    <a:pt x="144" y="159"/>
                  </a:cubicBezTo>
                  <a:lnTo>
                    <a:pt x="150" y="154"/>
                  </a:lnTo>
                  <a:close/>
                  <a:moveTo>
                    <a:pt x="128" y="14"/>
                  </a:moveTo>
                  <a:cubicBezTo>
                    <a:pt x="144" y="3"/>
                    <a:pt x="144" y="3"/>
                    <a:pt x="144" y="3"/>
                  </a:cubicBezTo>
                  <a:cubicBezTo>
                    <a:pt x="144" y="27"/>
                    <a:pt x="144" y="27"/>
                    <a:pt x="144" y="27"/>
                  </a:cubicBezTo>
                  <a:cubicBezTo>
                    <a:pt x="141" y="24"/>
                    <a:pt x="141" y="24"/>
                    <a:pt x="141" y="24"/>
                  </a:cubicBezTo>
                  <a:cubicBezTo>
                    <a:pt x="137" y="26"/>
                    <a:pt x="133" y="29"/>
                    <a:pt x="129" y="32"/>
                  </a:cubicBezTo>
                  <a:cubicBezTo>
                    <a:pt x="144" y="52"/>
                    <a:pt x="144" y="52"/>
                    <a:pt x="144" y="52"/>
                  </a:cubicBezTo>
                  <a:cubicBezTo>
                    <a:pt x="144" y="82"/>
                    <a:pt x="144" y="82"/>
                    <a:pt x="144" y="82"/>
                  </a:cubicBezTo>
                  <a:cubicBezTo>
                    <a:pt x="139" y="76"/>
                    <a:pt x="139" y="76"/>
                    <a:pt x="139" y="76"/>
                  </a:cubicBezTo>
                  <a:cubicBezTo>
                    <a:pt x="128" y="83"/>
                    <a:pt x="128" y="83"/>
                    <a:pt x="128" y="83"/>
                  </a:cubicBezTo>
                  <a:cubicBezTo>
                    <a:pt x="128" y="14"/>
                    <a:pt x="128" y="14"/>
                    <a:pt x="128" y="14"/>
                  </a:cubicBezTo>
                  <a:close/>
                  <a:moveTo>
                    <a:pt x="144" y="308"/>
                  </a:moveTo>
                  <a:cubicBezTo>
                    <a:pt x="128" y="287"/>
                    <a:pt x="128" y="287"/>
                    <a:pt x="128" y="287"/>
                  </a:cubicBezTo>
                  <a:cubicBezTo>
                    <a:pt x="128" y="252"/>
                    <a:pt x="128" y="252"/>
                    <a:pt x="128" y="252"/>
                  </a:cubicBezTo>
                  <a:cubicBezTo>
                    <a:pt x="137" y="265"/>
                    <a:pt x="137" y="265"/>
                    <a:pt x="137" y="265"/>
                  </a:cubicBezTo>
                  <a:cubicBezTo>
                    <a:pt x="144" y="260"/>
                    <a:pt x="144" y="260"/>
                    <a:pt x="144" y="260"/>
                  </a:cubicBezTo>
                  <a:cubicBezTo>
                    <a:pt x="144" y="308"/>
                    <a:pt x="144" y="308"/>
                    <a:pt x="144" y="308"/>
                  </a:cubicBezTo>
                  <a:close/>
                  <a:moveTo>
                    <a:pt x="144" y="107"/>
                  </a:moveTo>
                  <a:cubicBezTo>
                    <a:pt x="144" y="138"/>
                    <a:pt x="144" y="138"/>
                    <a:pt x="144" y="138"/>
                  </a:cubicBezTo>
                  <a:cubicBezTo>
                    <a:pt x="137" y="128"/>
                    <a:pt x="137" y="128"/>
                    <a:pt x="137" y="128"/>
                  </a:cubicBezTo>
                  <a:cubicBezTo>
                    <a:pt x="128" y="134"/>
                    <a:pt x="128" y="134"/>
                    <a:pt x="128" y="134"/>
                  </a:cubicBezTo>
                  <a:cubicBezTo>
                    <a:pt x="128" y="119"/>
                    <a:pt x="128" y="119"/>
                    <a:pt x="128" y="119"/>
                  </a:cubicBezTo>
                  <a:cubicBezTo>
                    <a:pt x="130" y="118"/>
                    <a:pt x="130" y="118"/>
                    <a:pt x="130" y="118"/>
                  </a:cubicBezTo>
                  <a:cubicBezTo>
                    <a:pt x="128" y="116"/>
                    <a:pt x="128" y="116"/>
                    <a:pt x="128" y="116"/>
                  </a:cubicBezTo>
                  <a:cubicBezTo>
                    <a:pt x="128" y="86"/>
                    <a:pt x="128" y="86"/>
                    <a:pt x="128" y="86"/>
                  </a:cubicBezTo>
                  <a:cubicBezTo>
                    <a:pt x="144" y="107"/>
                    <a:pt x="144" y="107"/>
                    <a:pt x="144" y="107"/>
                  </a:cubicBezTo>
                  <a:close/>
                  <a:moveTo>
                    <a:pt x="144" y="159"/>
                  </a:moveTo>
                  <a:cubicBezTo>
                    <a:pt x="144" y="193"/>
                    <a:pt x="144" y="193"/>
                    <a:pt x="144" y="193"/>
                  </a:cubicBezTo>
                  <a:cubicBezTo>
                    <a:pt x="135" y="180"/>
                    <a:pt x="135" y="180"/>
                    <a:pt x="135" y="180"/>
                  </a:cubicBezTo>
                  <a:cubicBezTo>
                    <a:pt x="128" y="185"/>
                    <a:pt x="128" y="185"/>
                    <a:pt x="128" y="185"/>
                  </a:cubicBezTo>
                  <a:cubicBezTo>
                    <a:pt x="128" y="141"/>
                    <a:pt x="128" y="141"/>
                    <a:pt x="128" y="141"/>
                  </a:cubicBezTo>
                  <a:cubicBezTo>
                    <a:pt x="142" y="160"/>
                    <a:pt x="142" y="160"/>
                    <a:pt x="142" y="160"/>
                  </a:cubicBezTo>
                  <a:cubicBezTo>
                    <a:pt x="144" y="159"/>
                    <a:pt x="144" y="159"/>
                    <a:pt x="144" y="159"/>
                  </a:cubicBezTo>
                  <a:close/>
                  <a:moveTo>
                    <a:pt x="144" y="210"/>
                  </a:moveTo>
                  <a:cubicBezTo>
                    <a:pt x="144" y="249"/>
                    <a:pt x="144" y="249"/>
                    <a:pt x="144" y="249"/>
                  </a:cubicBezTo>
                  <a:cubicBezTo>
                    <a:pt x="132" y="233"/>
                    <a:pt x="132" y="233"/>
                    <a:pt x="132" y="233"/>
                  </a:cubicBezTo>
                  <a:cubicBezTo>
                    <a:pt x="128" y="236"/>
                    <a:pt x="128" y="236"/>
                    <a:pt x="128" y="236"/>
                  </a:cubicBezTo>
                  <a:cubicBezTo>
                    <a:pt x="128" y="197"/>
                    <a:pt x="128" y="197"/>
                    <a:pt x="128" y="197"/>
                  </a:cubicBezTo>
                  <a:cubicBezTo>
                    <a:pt x="139" y="213"/>
                    <a:pt x="139" y="213"/>
                    <a:pt x="139" y="213"/>
                  </a:cubicBezTo>
                  <a:lnTo>
                    <a:pt x="144" y="210"/>
                  </a:lnTo>
                  <a:close/>
                  <a:moveTo>
                    <a:pt x="124" y="17"/>
                  </a:moveTo>
                  <a:cubicBezTo>
                    <a:pt x="128" y="14"/>
                    <a:pt x="128" y="14"/>
                    <a:pt x="128" y="14"/>
                  </a:cubicBezTo>
                  <a:cubicBezTo>
                    <a:pt x="128" y="83"/>
                    <a:pt x="128" y="83"/>
                    <a:pt x="128" y="83"/>
                  </a:cubicBezTo>
                  <a:cubicBezTo>
                    <a:pt x="127" y="84"/>
                    <a:pt x="127" y="84"/>
                    <a:pt x="127" y="84"/>
                  </a:cubicBezTo>
                  <a:cubicBezTo>
                    <a:pt x="128" y="86"/>
                    <a:pt x="128" y="86"/>
                    <a:pt x="128" y="86"/>
                  </a:cubicBezTo>
                  <a:cubicBezTo>
                    <a:pt x="128" y="116"/>
                    <a:pt x="128" y="116"/>
                    <a:pt x="128" y="116"/>
                  </a:cubicBezTo>
                  <a:cubicBezTo>
                    <a:pt x="124" y="110"/>
                    <a:pt x="124" y="110"/>
                    <a:pt x="124" y="110"/>
                  </a:cubicBezTo>
                  <a:cubicBezTo>
                    <a:pt x="124" y="17"/>
                    <a:pt x="124" y="17"/>
                    <a:pt x="124" y="17"/>
                  </a:cubicBezTo>
                  <a:close/>
                  <a:moveTo>
                    <a:pt x="128" y="287"/>
                  </a:moveTo>
                  <a:cubicBezTo>
                    <a:pt x="124" y="280"/>
                    <a:pt x="124" y="280"/>
                    <a:pt x="124" y="280"/>
                  </a:cubicBezTo>
                  <a:cubicBezTo>
                    <a:pt x="124" y="246"/>
                    <a:pt x="124" y="246"/>
                    <a:pt x="124" y="246"/>
                  </a:cubicBezTo>
                  <a:cubicBezTo>
                    <a:pt x="128" y="252"/>
                    <a:pt x="128" y="252"/>
                    <a:pt x="128" y="252"/>
                  </a:cubicBezTo>
                  <a:cubicBezTo>
                    <a:pt x="128" y="287"/>
                    <a:pt x="128" y="287"/>
                    <a:pt x="128" y="287"/>
                  </a:cubicBezTo>
                  <a:close/>
                  <a:moveTo>
                    <a:pt x="128" y="119"/>
                  </a:moveTo>
                  <a:cubicBezTo>
                    <a:pt x="128" y="134"/>
                    <a:pt x="128" y="134"/>
                    <a:pt x="128" y="134"/>
                  </a:cubicBezTo>
                  <a:cubicBezTo>
                    <a:pt x="125" y="136"/>
                    <a:pt x="125" y="136"/>
                    <a:pt x="125" y="136"/>
                  </a:cubicBezTo>
                  <a:cubicBezTo>
                    <a:pt x="128" y="141"/>
                    <a:pt x="128" y="141"/>
                    <a:pt x="128" y="141"/>
                  </a:cubicBezTo>
                  <a:cubicBezTo>
                    <a:pt x="128" y="185"/>
                    <a:pt x="128" y="185"/>
                    <a:pt x="128" y="185"/>
                  </a:cubicBezTo>
                  <a:cubicBezTo>
                    <a:pt x="124" y="188"/>
                    <a:pt x="124" y="188"/>
                    <a:pt x="124" y="188"/>
                  </a:cubicBezTo>
                  <a:cubicBezTo>
                    <a:pt x="124" y="122"/>
                    <a:pt x="124" y="122"/>
                    <a:pt x="124" y="122"/>
                  </a:cubicBezTo>
                  <a:cubicBezTo>
                    <a:pt x="128" y="119"/>
                    <a:pt x="128" y="119"/>
                    <a:pt x="128" y="119"/>
                  </a:cubicBezTo>
                  <a:close/>
                  <a:moveTo>
                    <a:pt x="128" y="197"/>
                  </a:moveTo>
                  <a:cubicBezTo>
                    <a:pt x="128" y="236"/>
                    <a:pt x="128" y="236"/>
                    <a:pt x="128" y="236"/>
                  </a:cubicBezTo>
                  <a:cubicBezTo>
                    <a:pt x="124" y="239"/>
                    <a:pt x="124" y="239"/>
                    <a:pt x="124" y="239"/>
                  </a:cubicBezTo>
                  <a:cubicBezTo>
                    <a:pt x="124" y="223"/>
                    <a:pt x="124" y="223"/>
                    <a:pt x="124" y="223"/>
                  </a:cubicBezTo>
                  <a:cubicBezTo>
                    <a:pt x="125" y="222"/>
                    <a:pt x="125" y="222"/>
                    <a:pt x="125" y="222"/>
                  </a:cubicBezTo>
                  <a:cubicBezTo>
                    <a:pt x="124" y="221"/>
                    <a:pt x="124" y="221"/>
                    <a:pt x="124" y="221"/>
                  </a:cubicBezTo>
                  <a:cubicBezTo>
                    <a:pt x="124" y="191"/>
                    <a:pt x="124" y="191"/>
                    <a:pt x="124" y="191"/>
                  </a:cubicBezTo>
                  <a:lnTo>
                    <a:pt x="128" y="197"/>
                  </a:lnTo>
                  <a:close/>
                  <a:moveTo>
                    <a:pt x="115" y="23"/>
                  </a:moveTo>
                  <a:cubicBezTo>
                    <a:pt x="124" y="17"/>
                    <a:pt x="124" y="17"/>
                    <a:pt x="124" y="17"/>
                  </a:cubicBezTo>
                  <a:cubicBezTo>
                    <a:pt x="124" y="110"/>
                    <a:pt x="124" y="110"/>
                    <a:pt x="124" y="110"/>
                  </a:cubicBezTo>
                  <a:cubicBezTo>
                    <a:pt x="115" y="98"/>
                    <a:pt x="115" y="98"/>
                    <a:pt x="115" y="98"/>
                  </a:cubicBezTo>
                  <a:cubicBezTo>
                    <a:pt x="115" y="23"/>
                    <a:pt x="115" y="23"/>
                    <a:pt x="115" y="23"/>
                  </a:cubicBezTo>
                  <a:close/>
                  <a:moveTo>
                    <a:pt x="124" y="280"/>
                  </a:moveTo>
                  <a:cubicBezTo>
                    <a:pt x="115" y="268"/>
                    <a:pt x="115" y="268"/>
                    <a:pt x="115" y="268"/>
                  </a:cubicBezTo>
                  <a:cubicBezTo>
                    <a:pt x="115" y="229"/>
                    <a:pt x="115" y="229"/>
                    <a:pt x="115" y="229"/>
                  </a:cubicBezTo>
                  <a:cubicBezTo>
                    <a:pt x="124" y="223"/>
                    <a:pt x="124" y="223"/>
                    <a:pt x="124" y="223"/>
                  </a:cubicBezTo>
                  <a:cubicBezTo>
                    <a:pt x="124" y="239"/>
                    <a:pt x="124" y="239"/>
                    <a:pt x="124" y="239"/>
                  </a:cubicBezTo>
                  <a:cubicBezTo>
                    <a:pt x="121" y="241"/>
                    <a:pt x="121" y="241"/>
                    <a:pt x="121" y="241"/>
                  </a:cubicBezTo>
                  <a:cubicBezTo>
                    <a:pt x="124" y="246"/>
                    <a:pt x="124" y="246"/>
                    <a:pt x="124" y="246"/>
                  </a:cubicBezTo>
                  <a:cubicBezTo>
                    <a:pt x="124" y="280"/>
                    <a:pt x="124" y="280"/>
                    <a:pt x="124" y="280"/>
                  </a:cubicBezTo>
                  <a:close/>
                  <a:moveTo>
                    <a:pt x="124" y="122"/>
                  </a:moveTo>
                  <a:cubicBezTo>
                    <a:pt x="124" y="188"/>
                    <a:pt x="124" y="188"/>
                    <a:pt x="124" y="188"/>
                  </a:cubicBezTo>
                  <a:cubicBezTo>
                    <a:pt x="123" y="189"/>
                    <a:pt x="123" y="189"/>
                    <a:pt x="123" y="189"/>
                  </a:cubicBezTo>
                  <a:cubicBezTo>
                    <a:pt x="124" y="191"/>
                    <a:pt x="124" y="191"/>
                    <a:pt x="124" y="191"/>
                  </a:cubicBezTo>
                  <a:cubicBezTo>
                    <a:pt x="124" y="221"/>
                    <a:pt x="124" y="221"/>
                    <a:pt x="124" y="221"/>
                  </a:cubicBezTo>
                  <a:cubicBezTo>
                    <a:pt x="115" y="208"/>
                    <a:pt x="115" y="208"/>
                    <a:pt x="115" y="208"/>
                  </a:cubicBezTo>
                  <a:cubicBezTo>
                    <a:pt x="115" y="123"/>
                    <a:pt x="115" y="123"/>
                    <a:pt x="115" y="123"/>
                  </a:cubicBezTo>
                  <a:cubicBezTo>
                    <a:pt x="118" y="126"/>
                    <a:pt x="118" y="126"/>
                    <a:pt x="118" y="126"/>
                  </a:cubicBezTo>
                  <a:lnTo>
                    <a:pt x="124" y="122"/>
                  </a:lnTo>
                  <a:close/>
                  <a:moveTo>
                    <a:pt x="102" y="32"/>
                  </a:moveTo>
                  <a:cubicBezTo>
                    <a:pt x="115" y="23"/>
                    <a:pt x="115" y="23"/>
                    <a:pt x="115" y="23"/>
                  </a:cubicBezTo>
                  <a:cubicBezTo>
                    <a:pt x="115" y="98"/>
                    <a:pt x="115" y="98"/>
                    <a:pt x="115" y="98"/>
                  </a:cubicBezTo>
                  <a:cubicBezTo>
                    <a:pt x="113" y="94"/>
                    <a:pt x="113" y="94"/>
                    <a:pt x="113" y="94"/>
                  </a:cubicBezTo>
                  <a:cubicBezTo>
                    <a:pt x="102" y="102"/>
                    <a:pt x="102" y="102"/>
                    <a:pt x="102" y="102"/>
                  </a:cubicBezTo>
                  <a:cubicBezTo>
                    <a:pt x="102" y="86"/>
                    <a:pt x="102" y="86"/>
                    <a:pt x="102" y="86"/>
                  </a:cubicBezTo>
                  <a:cubicBezTo>
                    <a:pt x="106" y="84"/>
                    <a:pt x="106" y="84"/>
                    <a:pt x="106" y="84"/>
                  </a:cubicBezTo>
                  <a:cubicBezTo>
                    <a:pt x="102" y="79"/>
                    <a:pt x="102" y="79"/>
                    <a:pt x="102" y="79"/>
                  </a:cubicBezTo>
                  <a:cubicBezTo>
                    <a:pt x="102" y="32"/>
                    <a:pt x="102" y="32"/>
                    <a:pt x="102" y="32"/>
                  </a:cubicBezTo>
                  <a:close/>
                  <a:moveTo>
                    <a:pt x="115" y="268"/>
                  </a:moveTo>
                  <a:cubicBezTo>
                    <a:pt x="102" y="249"/>
                    <a:pt x="102" y="249"/>
                    <a:pt x="102" y="249"/>
                  </a:cubicBezTo>
                  <a:cubicBezTo>
                    <a:pt x="102" y="215"/>
                    <a:pt x="102" y="215"/>
                    <a:pt x="102" y="215"/>
                  </a:cubicBezTo>
                  <a:cubicBezTo>
                    <a:pt x="113" y="231"/>
                    <a:pt x="113" y="231"/>
                    <a:pt x="113" y="231"/>
                  </a:cubicBezTo>
                  <a:cubicBezTo>
                    <a:pt x="115" y="229"/>
                    <a:pt x="115" y="229"/>
                    <a:pt x="115" y="229"/>
                  </a:cubicBezTo>
                  <a:cubicBezTo>
                    <a:pt x="115" y="268"/>
                    <a:pt x="115" y="268"/>
                    <a:pt x="115" y="268"/>
                  </a:cubicBezTo>
                  <a:close/>
                  <a:moveTo>
                    <a:pt x="115" y="123"/>
                  </a:moveTo>
                  <a:cubicBezTo>
                    <a:pt x="115" y="208"/>
                    <a:pt x="115" y="208"/>
                    <a:pt x="115" y="208"/>
                  </a:cubicBezTo>
                  <a:cubicBezTo>
                    <a:pt x="109" y="199"/>
                    <a:pt x="109" y="199"/>
                    <a:pt x="109" y="199"/>
                  </a:cubicBezTo>
                  <a:cubicBezTo>
                    <a:pt x="102" y="203"/>
                    <a:pt x="102" y="203"/>
                    <a:pt x="102" y="203"/>
                  </a:cubicBezTo>
                  <a:cubicBezTo>
                    <a:pt x="102" y="137"/>
                    <a:pt x="102" y="137"/>
                    <a:pt x="102" y="137"/>
                  </a:cubicBezTo>
                  <a:cubicBezTo>
                    <a:pt x="104" y="136"/>
                    <a:pt x="104" y="136"/>
                    <a:pt x="104" y="136"/>
                  </a:cubicBezTo>
                  <a:cubicBezTo>
                    <a:pt x="102" y="134"/>
                    <a:pt x="102" y="134"/>
                    <a:pt x="102" y="134"/>
                  </a:cubicBezTo>
                  <a:cubicBezTo>
                    <a:pt x="102" y="104"/>
                    <a:pt x="102" y="104"/>
                    <a:pt x="102" y="104"/>
                  </a:cubicBezTo>
                  <a:lnTo>
                    <a:pt x="115" y="123"/>
                  </a:lnTo>
                  <a:close/>
                  <a:moveTo>
                    <a:pt x="91" y="40"/>
                  </a:moveTo>
                  <a:cubicBezTo>
                    <a:pt x="102" y="32"/>
                    <a:pt x="102" y="32"/>
                    <a:pt x="102" y="32"/>
                  </a:cubicBezTo>
                  <a:cubicBezTo>
                    <a:pt x="102" y="79"/>
                    <a:pt x="102" y="79"/>
                    <a:pt x="102" y="79"/>
                  </a:cubicBezTo>
                  <a:cubicBezTo>
                    <a:pt x="91" y="64"/>
                    <a:pt x="91" y="64"/>
                    <a:pt x="91" y="64"/>
                  </a:cubicBezTo>
                  <a:cubicBezTo>
                    <a:pt x="91" y="40"/>
                    <a:pt x="91" y="40"/>
                    <a:pt x="91" y="40"/>
                  </a:cubicBezTo>
                  <a:close/>
                  <a:moveTo>
                    <a:pt x="102" y="249"/>
                  </a:moveTo>
                  <a:cubicBezTo>
                    <a:pt x="91" y="234"/>
                    <a:pt x="91" y="234"/>
                    <a:pt x="91" y="234"/>
                  </a:cubicBezTo>
                  <a:cubicBezTo>
                    <a:pt x="91" y="195"/>
                    <a:pt x="91" y="195"/>
                    <a:pt x="91" y="195"/>
                  </a:cubicBezTo>
                  <a:cubicBezTo>
                    <a:pt x="101" y="188"/>
                    <a:pt x="101" y="188"/>
                    <a:pt x="101" y="188"/>
                  </a:cubicBezTo>
                  <a:cubicBezTo>
                    <a:pt x="91" y="174"/>
                    <a:pt x="91" y="174"/>
                    <a:pt x="91" y="174"/>
                  </a:cubicBezTo>
                  <a:cubicBezTo>
                    <a:pt x="91" y="144"/>
                    <a:pt x="91" y="144"/>
                    <a:pt x="91" y="144"/>
                  </a:cubicBezTo>
                  <a:cubicBezTo>
                    <a:pt x="92" y="144"/>
                    <a:pt x="92" y="144"/>
                    <a:pt x="92" y="144"/>
                  </a:cubicBezTo>
                  <a:cubicBezTo>
                    <a:pt x="102" y="137"/>
                    <a:pt x="102" y="137"/>
                    <a:pt x="102" y="137"/>
                  </a:cubicBezTo>
                  <a:cubicBezTo>
                    <a:pt x="102" y="203"/>
                    <a:pt x="102" y="203"/>
                    <a:pt x="102" y="203"/>
                  </a:cubicBezTo>
                  <a:cubicBezTo>
                    <a:pt x="97" y="207"/>
                    <a:pt x="97" y="207"/>
                    <a:pt x="97" y="207"/>
                  </a:cubicBezTo>
                  <a:cubicBezTo>
                    <a:pt x="102" y="215"/>
                    <a:pt x="102" y="215"/>
                    <a:pt x="102" y="215"/>
                  </a:cubicBezTo>
                  <a:cubicBezTo>
                    <a:pt x="102" y="249"/>
                    <a:pt x="102" y="249"/>
                    <a:pt x="102" y="249"/>
                  </a:cubicBezTo>
                  <a:close/>
                  <a:moveTo>
                    <a:pt x="102" y="86"/>
                  </a:moveTo>
                  <a:cubicBezTo>
                    <a:pt x="102" y="102"/>
                    <a:pt x="102" y="102"/>
                    <a:pt x="102" y="102"/>
                  </a:cubicBezTo>
                  <a:cubicBezTo>
                    <a:pt x="101" y="102"/>
                    <a:pt x="101" y="102"/>
                    <a:pt x="101" y="102"/>
                  </a:cubicBezTo>
                  <a:cubicBezTo>
                    <a:pt x="102" y="104"/>
                    <a:pt x="102" y="104"/>
                    <a:pt x="102" y="104"/>
                  </a:cubicBezTo>
                  <a:cubicBezTo>
                    <a:pt x="102" y="134"/>
                    <a:pt x="102" y="134"/>
                    <a:pt x="102" y="134"/>
                  </a:cubicBezTo>
                  <a:cubicBezTo>
                    <a:pt x="91" y="119"/>
                    <a:pt x="91" y="119"/>
                    <a:pt x="91" y="119"/>
                  </a:cubicBezTo>
                  <a:cubicBezTo>
                    <a:pt x="91" y="89"/>
                    <a:pt x="91" y="89"/>
                    <a:pt x="91" y="89"/>
                  </a:cubicBezTo>
                  <a:cubicBezTo>
                    <a:pt x="94" y="92"/>
                    <a:pt x="94" y="92"/>
                    <a:pt x="94" y="92"/>
                  </a:cubicBezTo>
                  <a:lnTo>
                    <a:pt x="102" y="86"/>
                  </a:lnTo>
                  <a:close/>
                  <a:moveTo>
                    <a:pt x="78" y="49"/>
                  </a:moveTo>
                  <a:cubicBezTo>
                    <a:pt x="91" y="40"/>
                    <a:pt x="91" y="40"/>
                    <a:pt x="91" y="40"/>
                  </a:cubicBezTo>
                  <a:cubicBezTo>
                    <a:pt x="91" y="64"/>
                    <a:pt x="91" y="64"/>
                    <a:pt x="91" y="64"/>
                  </a:cubicBezTo>
                  <a:cubicBezTo>
                    <a:pt x="89" y="60"/>
                    <a:pt x="89" y="60"/>
                    <a:pt x="89" y="60"/>
                  </a:cubicBezTo>
                  <a:cubicBezTo>
                    <a:pt x="78" y="68"/>
                    <a:pt x="78" y="68"/>
                    <a:pt x="78" y="68"/>
                  </a:cubicBezTo>
                  <a:cubicBezTo>
                    <a:pt x="78" y="49"/>
                    <a:pt x="78" y="49"/>
                    <a:pt x="78" y="49"/>
                  </a:cubicBezTo>
                  <a:close/>
                  <a:moveTo>
                    <a:pt x="91" y="234"/>
                  </a:moveTo>
                  <a:cubicBezTo>
                    <a:pt x="78" y="215"/>
                    <a:pt x="78" y="215"/>
                    <a:pt x="78" y="215"/>
                  </a:cubicBezTo>
                  <a:cubicBezTo>
                    <a:pt x="78" y="181"/>
                    <a:pt x="78" y="181"/>
                    <a:pt x="78" y="181"/>
                  </a:cubicBezTo>
                  <a:cubicBezTo>
                    <a:pt x="90" y="197"/>
                    <a:pt x="90" y="197"/>
                    <a:pt x="90" y="197"/>
                  </a:cubicBezTo>
                  <a:cubicBezTo>
                    <a:pt x="91" y="195"/>
                    <a:pt x="91" y="195"/>
                    <a:pt x="91" y="195"/>
                  </a:cubicBezTo>
                  <a:cubicBezTo>
                    <a:pt x="91" y="234"/>
                    <a:pt x="91" y="234"/>
                    <a:pt x="91" y="234"/>
                  </a:cubicBezTo>
                  <a:close/>
                  <a:moveTo>
                    <a:pt x="91" y="89"/>
                  </a:moveTo>
                  <a:cubicBezTo>
                    <a:pt x="91" y="119"/>
                    <a:pt x="91" y="119"/>
                    <a:pt x="91" y="119"/>
                  </a:cubicBezTo>
                  <a:cubicBezTo>
                    <a:pt x="87" y="112"/>
                    <a:pt x="87" y="112"/>
                    <a:pt x="87" y="112"/>
                  </a:cubicBezTo>
                  <a:cubicBezTo>
                    <a:pt x="78" y="118"/>
                    <a:pt x="78" y="118"/>
                    <a:pt x="78" y="118"/>
                  </a:cubicBezTo>
                  <a:cubicBezTo>
                    <a:pt x="78" y="103"/>
                    <a:pt x="78" y="103"/>
                    <a:pt x="78" y="103"/>
                  </a:cubicBezTo>
                  <a:cubicBezTo>
                    <a:pt x="80" y="102"/>
                    <a:pt x="80" y="102"/>
                    <a:pt x="80" y="102"/>
                  </a:cubicBezTo>
                  <a:cubicBezTo>
                    <a:pt x="78" y="100"/>
                    <a:pt x="78" y="100"/>
                    <a:pt x="78" y="100"/>
                  </a:cubicBezTo>
                  <a:cubicBezTo>
                    <a:pt x="78" y="70"/>
                    <a:pt x="78" y="70"/>
                    <a:pt x="78" y="70"/>
                  </a:cubicBezTo>
                  <a:cubicBezTo>
                    <a:pt x="91" y="89"/>
                    <a:pt x="91" y="89"/>
                    <a:pt x="91" y="89"/>
                  </a:cubicBezTo>
                  <a:close/>
                  <a:moveTo>
                    <a:pt x="91" y="144"/>
                  </a:moveTo>
                  <a:cubicBezTo>
                    <a:pt x="91" y="174"/>
                    <a:pt x="91" y="174"/>
                    <a:pt x="91" y="174"/>
                  </a:cubicBezTo>
                  <a:cubicBezTo>
                    <a:pt x="85" y="165"/>
                    <a:pt x="85" y="165"/>
                    <a:pt x="85" y="165"/>
                  </a:cubicBezTo>
                  <a:cubicBezTo>
                    <a:pt x="78" y="169"/>
                    <a:pt x="78" y="169"/>
                    <a:pt x="78" y="169"/>
                  </a:cubicBezTo>
                  <a:cubicBezTo>
                    <a:pt x="78" y="126"/>
                    <a:pt x="78" y="126"/>
                    <a:pt x="78" y="126"/>
                  </a:cubicBezTo>
                  <a:lnTo>
                    <a:pt x="91" y="144"/>
                  </a:lnTo>
                  <a:close/>
                  <a:moveTo>
                    <a:pt x="65" y="58"/>
                  </a:moveTo>
                  <a:cubicBezTo>
                    <a:pt x="78" y="49"/>
                    <a:pt x="78" y="49"/>
                    <a:pt x="78" y="49"/>
                  </a:cubicBezTo>
                  <a:cubicBezTo>
                    <a:pt x="78" y="68"/>
                    <a:pt x="78" y="68"/>
                    <a:pt x="78" y="68"/>
                  </a:cubicBezTo>
                  <a:cubicBezTo>
                    <a:pt x="77" y="68"/>
                    <a:pt x="77" y="68"/>
                    <a:pt x="77" y="68"/>
                  </a:cubicBezTo>
                  <a:cubicBezTo>
                    <a:pt x="78" y="70"/>
                    <a:pt x="78" y="70"/>
                    <a:pt x="78" y="70"/>
                  </a:cubicBezTo>
                  <a:cubicBezTo>
                    <a:pt x="78" y="100"/>
                    <a:pt x="78" y="100"/>
                    <a:pt x="78" y="100"/>
                  </a:cubicBezTo>
                  <a:cubicBezTo>
                    <a:pt x="65" y="82"/>
                    <a:pt x="65" y="82"/>
                    <a:pt x="65" y="82"/>
                  </a:cubicBezTo>
                  <a:cubicBezTo>
                    <a:pt x="65" y="58"/>
                    <a:pt x="65" y="58"/>
                    <a:pt x="65" y="58"/>
                  </a:cubicBezTo>
                  <a:close/>
                  <a:moveTo>
                    <a:pt x="78" y="215"/>
                  </a:moveTo>
                  <a:cubicBezTo>
                    <a:pt x="78" y="215"/>
                    <a:pt x="78" y="215"/>
                    <a:pt x="78" y="215"/>
                  </a:cubicBezTo>
                  <a:cubicBezTo>
                    <a:pt x="65" y="197"/>
                    <a:pt x="65" y="197"/>
                    <a:pt x="65" y="197"/>
                  </a:cubicBezTo>
                  <a:cubicBezTo>
                    <a:pt x="65" y="107"/>
                    <a:pt x="65" y="107"/>
                    <a:pt x="65" y="107"/>
                  </a:cubicBezTo>
                  <a:cubicBezTo>
                    <a:pt x="68" y="110"/>
                    <a:pt x="68" y="110"/>
                    <a:pt x="68" y="110"/>
                  </a:cubicBezTo>
                  <a:cubicBezTo>
                    <a:pt x="78" y="103"/>
                    <a:pt x="78" y="103"/>
                    <a:pt x="78" y="103"/>
                  </a:cubicBezTo>
                  <a:cubicBezTo>
                    <a:pt x="78" y="118"/>
                    <a:pt x="78" y="118"/>
                    <a:pt x="78" y="118"/>
                  </a:cubicBezTo>
                  <a:cubicBezTo>
                    <a:pt x="75" y="121"/>
                    <a:pt x="75" y="121"/>
                    <a:pt x="75" y="121"/>
                  </a:cubicBezTo>
                  <a:cubicBezTo>
                    <a:pt x="78" y="126"/>
                    <a:pt x="78" y="126"/>
                    <a:pt x="78" y="126"/>
                  </a:cubicBezTo>
                  <a:cubicBezTo>
                    <a:pt x="78" y="169"/>
                    <a:pt x="78" y="169"/>
                    <a:pt x="78" y="169"/>
                  </a:cubicBezTo>
                  <a:cubicBezTo>
                    <a:pt x="73" y="173"/>
                    <a:pt x="73" y="173"/>
                    <a:pt x="73" y="173"/>
                  </a:cubicBezTo>
                  <a:cubicBezTo>
                    <a:pt x="78" y="181"/>
                    <a:pt x="78" y="181"/>
                    <a:pt x="78" y="181"/>
                  </a:cubicBezTo>
                  <a:lnTo>
                    <a:pt x="78" y="215"/>
                  </a:lnTo>
                  <a:close/>
                  <a:moveTo>
                    <a:pt x="52" y="67"/>
                  </a:moveTo>
                  <a:cubicBezTo>
                    <a:pt x="65" y="58"/>
                    <a:pt x="65" y="58"/>
                    <a:pt x="65" y="58"/>
                  </a:cubicBezTo>
                  <a:cubicBezTo>
                    <a:pt x="65" y="82"/>
                    <a:pt x="65" y="82"/>
                    <a:pt x="65" y="82"/>
                  </a:cubicBezTo>
                  <a:cubicBezTo>
                    <a:pt x="63" y="78"/>
                    <a:pt x="63" y="78"/>
                    <a:pt x="63" y="78"/>
                  </a:cubicBezTo>
                  <a:cubicBezTo>
                    <a:pt x="52" y="86"/>
                    <a:pt x="52" y="86"/>
                    <a:pt x="52" y="86"/>
                  </a:cubicBezTo>
                  <a:cubicBezTo>
                    <a:pt x="52" y="67"/>
                    <a:pt x="52" y="67"/>
                    <a:pt x="52" y="67"/>
                  </a:cubicBezTo>
                  <a:close/>
                  <a:moveTo>
                    <a:pt x="65" y="197"/>
                  </a:moveTo>
                  <a:cubicBezTo>
                    <a:pt x="52" y="178"/>
                    <a:pt x="52" y="178"/>
                    <a:pt x="52" y="178"/>
                  </a:cubicBezTo>
                  <a:cubicBezTo>
                    <a:pt x="52" y="121"/>
                    <a:pt x="52" y="121"/>
                    <a:pt x="52" y="121"/>
                  </a:cubicBezTo>
                  <a:cubicBezTo>
                    <a:pt x="54" y="120"/>
                    <a:pt x="54" y="120"/>
                    <a:pt x="54" y="120"/>
                  </a:cubicBezTo>
                  <a:cubicBezTo>
                    <a:pt x="52" y="119"/>
                    <a:pt x="52" y="119"/>
                    <a:pt x="52" y="119"/>
                  </a:cubicBezTo>
                  <a:cubicBezTo>
                    <a:pt x="52" y="88"/>
                    <a:pt x="52" y="88"/>
                    <a:pt x="52" y="88"/>
                  </a:cubicBezTo>
                  <a:cubicBezTo>
                    <a:pt x="65" y="107"/>
                    <a:pt x="65" y="107"/>
                    <a:pt x="65" y="107"/>
                  </a:cubicBezTo>
                  <a:lnTo>
                    <a:pt x="65" y="197"/>
                  </a:lnTo>
                  <a:close/>
                  <a:moveTo>
                    <a:pt x="39" y="76"/>
                  </a:moveTo>
                  <a:cubicBezTo>
                    <a:pt x="52" y="67"/>
                    <a:pt x="52" y="67"/>
                    <a:pt x="52" y="67"/>
                  </a:cubicBezTo>
                  <a:cubicBezTo>
                    <a:pt x="52" y="86"/>
                    <a:pt x="52" y="86"/>
                    <a:pt x="52" y="86"/>
                  </a:cubicBezTo>
                  <a:cubicBezTo>
                    <a:pt x="51" y="87"/>
                    <a:pt x="51" y="87"/>
                    <a:pt x="51" y="87"/>
                  </a:cubicBezTo>
                  <a:cubicBezTo>
                    <a:pt x="52" y="88"/>
                    <a:pt x="52" y="88"/>
                    <a:pt x="52" y="88"/>
                  </a:cubicBezTo>
                  <a:cubicBezTo>
                    <a:pt x="52" y="119"/>
                    <a:pt x="52" y="119"/>
                    <a:pt x="52" y="119"/>
                  </a:cubicBezTo>
                  <a:cubicBezTo>
                    <a:pt x="39" y="100"/>
                    <a:pt x="39" y="100"/>
                    <a:pt x="39" y="100"/>
                  </a:cubicBezTo>
                  <a:cubicBezTo>
                    <a:pt x="39" y="76"/>
                    <a:pt x="39" y="76"/>
                    <a:pt x="39" y="76"/>
                  </a:cubicBezTo>
                  <a:close/>
                  <a:moveTo>
                    <a:pt x="52" y="178"/>
                  </a:moveTo>
                  <a:cubicBezTo>
                    <a:pt x="39" y="160"/>
                    <a:pt x="39" y="160"/>
                    <a:pt x="39" y="160"/>
                  </a:cubicBezTo>
                  <a:cubicBezTo>
                    <a:pt x="39" y="125"/>
                    <a:pt x="39" y="125"/>
                    <a:pt x="39" y="125"/>
                  </a:cubicBezTo>
                  <a:cubicBezTo>
                    <a:pt x="42" y="129"/>
                    <a:pt x="42" y="129"/>
                    <a:pt x="42" y="129"/>
                  </a:cubicBezTo>
                  <a:cubicBezTo>
                    <a:pt x="52" y="121"/>
                    <a:pt x="52" y="121"/>
                    <a:pt x="52" y="121"/>
                  </a:cubicBezTo>
                  <a:lnTo>
                    <a:pt x="52" y="178"/>
                  </a:lnTo>
                  <a:close/>
                  <a:moveTo>
                    <a:pt x="0" y="104"/>
                  </a:moveTo>
                  <a:cubicBezTo>
                    <a:pt x="39" y="76"/>
                    <a:pt x="39" y="76"/>
                    <a:pt x="39" y="76"/>
                  </a:cubicBezTo>
                  <a:cubicBezTo>
                    <a:pt x="39" y="100"/>
                    <a:pt x="39" y="100"/>
                    <a:pt x="39" y="100"/>
                  </a:cubicBezTo>
                  <a:cubicBezTo>
                    <a:pt x="37" y="97"/>
                    <a:pt x="37" y="97"/>
                    <a:pt x="37" y="97"/>
                  </a:cubicBezTo>
                  <a:cubicBezTo>
                    <a:pt x="33" y="100"/>
                    <a:pt x="29" y="102"/>
                    <a:pt x="25" y="105"/>
                  </a:cubicBezTo>
                  <a:cubicBezTo>
                    <a:pt x="39" y="125"/>
                    <a:pt x="39" y="125"/>
                    <a:pt x="39" y="125"/>
                  </a:cubicBezTo>
                  <a:cubicBezTo>
                    <a:pt x="39" y="160"/>
                    <a:pt x="39" y="160"/>
                    <a:pt x="39" y="160"/>
                  </a:cubicBezTo>
                  <a:lnTo>
                    <a:pt x="0" y="104"/>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7" name="ïŝľîḋè">
              <a:extLst>
                <a:ext uri="{FF2B5EF4-FFF2-40B4-BE49-F238E27FC236}">
                  <a16:creationId xmlns:a16="http://schemas.microsoft.com/office/drawing/2014/main" id="{AB94BC1B-7E93-4450-A56F-C200E2C920BE}"/>
                </a:ext>
              </a:extLst>
            </p:cNvPr>
            <p:cNvSpPr/>
            <p:nvPr/>
          </p:nvSpPr>
          <p:spPr bwMode="auto">
            <a:xfrm flipH="1">
              <a:off x="3977638" y="2203459"/>
              <a:ext cx="239292" cy="498501"/>
            </a:xfrm>
            <a:custGeom>
              <a:avLst/>
              <a:gdLst>
                <a:gd name="T0" fmla="*/ 129 w 143"/>
                <a:gd name="T1" fmla="*/ 305 h 305"/>
                <a:gd name="T2" fmla="*/ 143 w 143"/>
                <a:gd name="T3" fmla="*/ 301 h 305"/>
                <a:gd name="T4" fmla="*/ 109 w 143"/>
                <a:gd name="T5" fmla="*/ 199 h 305"/>
                <a:gd name="T6" fmla="*/ 78 w 143"/>
                <a:gd name="T7" fmla="*/ 105 h 305"/>
                <a:gd name="T8" fmla="*/ 87 w 143"/>
                <a:gd name="T9" fmla="*/ 73 h 305"/>
                <a:gd name="T10" fmla="*/ 86 w 143"/>
                <a:gd name="T11" fmla="*/ 71 h 305"/>
                <a:gd name="T12" fmla="*/ 100 w 143"/>
                <a:gd name="T13" fmla="*/ 43 h 305"/>
                <a:gd name="T14" fmla="*/ 83 w 143"/>
                <a:gd name="T15" fmla="*/ 28 h 305"/>
                <a:gd name="T16" fmla="*/ 82 w 143"/>
                <a:gd name="T17" fmla="*/ 24 h 305"/>
                <a:gd name="T18" fmla="*/ 45 w 143"/>
                <a:gd name="T19" fmla="*/ 5 h 305"/>
                <a:gd name="T20" fmla="*/ 27 w 143"/>
                <a:gd name="T21" fmla="*/ 21 h 305"/>
                <a:gd name="T22" fmla="*/ 24 w 143"/>
                <a:gd name="T23" fmla="*/ 22 h 305"/>
                <a:gd name="T24" fmla="*/ 5 w 143"/>
                <a:gd name="T25" fmla="*/ 59 h 305"/>
                <a:gd name="T26" fmla="*/ 29 w 143"/>
                <a:gd name="T27" fmla="*/ 79 h 305"/>
                <a:gd name="T28" fmla="*/ 31 w 143"/>
                <a:gd name="T29" fmla="*/ 92 h 305"/>
                <a:gd name="T30" fmla="*/ 65 w 143"/>
                <a:gd name="T31" fmla="*/ 111 h 305"/>
                <a:gd name="T32" fmla="*/ 95 w 143"/>
                <a:gd name="T33" fmla="*/ 203 h 305"/>
                <a:gd name="T34" fmla="*/ 129 w 143"/>
                <a:gd name="T3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305">
                  <a:moveTo>
                    <a:pt x="129" y="305"/>
                  </a:moveTo>
                  <a:cubicBezTo>
                    <a:pt x="133" y="304"/>
                    <a:pt x="138" y="302"/>
                    <a:pt x="143" y="301"/>
                  </a:cubicBezTo>
                  <a:cubicBezTo>
                    <a:pt x="131" y="267"/>
                    <a:pt x="120" y="233"/>
                    <a:pt x="109" y="199"/>
                  </a:cubicBezTo>
                  <a:cubicBezTo>
                    <a:pt x="78" y="105"/>
                    <a:pt x="78" y="105"/>
                    <a:pt x="78" y="105"/>
                  </a:cubicBezTo>
                  <a:cubicBezTo>
                    <a:pt x="87" y="97"/>
                    <a:pt x="91" y="85"/>
                    <a:pt x="87" y="73"/>
                  </a:cubicBezTo>
                  <a:cubicBezTo>
                    <a:pt x="87" y="72"/>
                    <a:pt x="86" y="72"/>
                    <a:pt x="86" y="71"/>
                  </a:cubicBezTo>
                  <a:cubicBezTo>
                    <a:pt x="97" y="67"/>
                    <a:pt x="104" y="54"/>
                    <a:pt x="100" y="43"/>
                  </a:cubicBezTo>
                  <a:cubicBezTo>
                    <a:pt x="97" y="35"/>
                    <a:pt x="91" y="30"/>
                    <a:pt x="83" y="28"/>
                  </a:cubicBezTo>
                  <a:cubicBezTo>
                    <a:pt x="83" y="26"/>
                    <a:pt x="83" y="25"/>
                    <a:pt x="82" y="24"/>
                  </a:cubicBezTo>
                  <a:cubicBezTo>
                    <a:pt x="77" y="8"/>
                    <a:pt x="60" y="0"/>
                    <a:pt x="45" y="5"/>
                  </a:cubicBezTo>
                  <a:cubicBezTo>
                    <a:pt x="37" y="8"/>
                    <a:pt x="30" y="14"/>
                    <a:pt x="27" y="21"/>
                  </a:cubicBezTo>
                  <a:cubicBezTo>
                    <a:pt x="26" y="21"/>
                    <a:pt x="25" y="21"/>
                    <a:pt x="24" y="22"/>
                  </a:cubicBezTo>
                  <a:cubicBezTo>
                    <a:pt x="9" y="27"/>
                    <a:pt x="0" y="43"/>
                    <a:pt x="5" y="59"/>
                  </a:cubicBezTo>
                  <a:cubicBezTo>
                    <a:pt x="9" y="70"/>
                    <a:pt x="18" y="78"/>
                    <a:pt x="29" y="79"/>
                  </a:cubicBezTo>
                  <a:cubicBezTo>
                    <a:pt x="29" y="83"/>
                    <a:pt x="29" y="87"/>
                    <a:pt x="31" y="92"/>
                  </a:cubicBezTo>
                  <a:cubicBezTo>
                    <a:pt x="35" y="106"/>
                    <a:pt x="50" y="114"/>
                    <a:pt x="65" y="111"/>
                  </a:cubicBezTo>
                  <a:cubicBezTo>
                    <a:pt x="95" y="203"/>
                    <a:pt x="95" y="203"/>
                    <a:pt x="95" y="203"/>
                  </a:cubicBezTo>
                  <a:cubicBezTo>
                    <a:pt x="106" y="237"/>
                    <a:pt x="117" y="271"/>
                    <a:pt x="129" y="30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8" name="îṥļîďé">
              <a:extLst>
                <a:ext uri="{FF2B5EF4-FFF2-40B4-BE49-F238E27FC236}">
                  <a16:creationId xmlns:a16="http://schemas.microsoft.com/office/drawing/2014/main" id="{BD64F7EA-F62D-4BBD-A66B-E92AC6753AD3}"/>
                </a:ext>
              </a:extLst>
            </p:cNvPr>
            <p:cNvSpPr/>
            <p:nvPr/>
          </p:nvSpPr>
          <p:spPr bwMode="auto">
            <a:xfrm flipH="1">
              <a:off x="3831983" y="2353720"/>
              <a:ext cx="204958" cy="312706"/>
            </a:xfrm>
            <a:custGeom>
              <a:avLst/>
              <a:gdLst>
                <a:gd name="T0" fmla="*/ 89 w 122"/>
                <a:gd name="T1" fmla="*/ 191 h 191"/>
                <a:gd name="T2" fmla="*/ 103 w 122"/>
                <a:gd name="T3" fmla="*/ 186 h 191"/>
                <a:gd name="T4" fmla="*/ 82 w 122"/>
                <a:gd name="T5" fmla="*/ 121 h 191"/>
                <a:gd name="T6" fmla="*/ 95 w 122"/>
                <a:gd name="T7" fmla="*/ 98 h 191"/>
                <a:gd name="T8" fmla="*/ 98 w 122"/>
                <a:gd name="T9" fmla="*/ 97 h 191"/>
                <a:gd name="T10" fmla="*/ 117 w 122"/>
                <a:gd name="T11" fmla="*/ 60 h 191"/>
                <a:gd name="T12" fmla="*/ 93 w 122"/>
                <a:gd name="T13" fmla="*/ 39 h 191"/>
                <a:gd name="T14" fmla="*/ 95 w 122"/>
                <a:gd name="T15" fmla="*/ 21 h 191"/>
                <a:gd name="T16" fmla="*/ 67 w 122"/>
                <a:gd name="T17" fmla="*/ 7 h 191"/>
                <a:gd name="T18" fmla="*/ 57 w 122"/>
                <a:gd name="T19" fmla="*/ 14 h 191"/>
                <a:gd name="T20" fmla="*/ 24 w 122"/>
                <a:gd name="T21" fmla="*/ 4 h 191"/>
                <a:gd name="T22" fmla="*/ 5 w 122"/>
                <a:gd name="T23" fmla="*/ 41 h 191"/>
                <a:gd name="T24" fmla="*/ 18 w 122"/>
                <a:gd name="T25" fmla="*/ 58 h 191"/>
                <a:gd name="T26" fmla="*/ 10 w 122"/>
                <a:gd name="T27" fmla="*/ 83 h 191"/>
                <a:gd name="T28" fmla="*/ 36 w 122"/>
                <a:gd name="T29" fmla="*/ 97 h 191"/>
                <a:gd name="T30" fmla="*/ 37 w 122"/>
                <a:gd name="T31" fmla="*/ 106 h 191"/>
                <a:gd name="T32" fmla="*/ 68 w 122"/>
                <a:gd name="T33" fmla="*/ 126 h 191"/>
                <a:gd name="T34" fmla="*/ 89 w 122"/>
                <a:gd name="T3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91">
                  <a:moveTo>
                    <a:pt x="89" y="191"/>
                  </a:moveTo>
                  <a:cubicBezTo>
                    <a:pt x="94" y="189"/>
                    <a:pt x="98" y="188"/>
                    <a:pt x="103" y="186"/>
                  </a:cubicBezTo>
                  <a:cubicBezTo>
                    <a:pt x="82" y="121"/>
                    <a:pt x="82" y="121"/>
                    <a:pt x="82" y="121"/>
                  </a:cubicBezTo>
                  <a:cubicBezTo>
                    <a:pt x="90" y="116"/>
                    <a:pt x="94" y="107"/>
                    <a:pt x="95" y="98"/>
                  </a:cubicBezTo>
                  <a:cubicBezTo>
                    <a:pt x="96" y="98"/>
                    <a:pt x="97" y="97"/>
                    <a:pt x="98" y="97"/>
                  </a:cubicBezTo>
                  <a:cubicBezTo>
                    <a:pt x="114" y="92"/>
                    <a:pt x="122" y="75"/>
                    <a:pt x="117" y="60"/>
                  </a:cubicBezTo>
                  <a:cubicBezTo>
                    <a:pt x="113" y="48"/>
                    <a:pt x="104" y="41"/>
                    <a:pt x="93" y="39"/>
                  </a:cubicBezTo>
                  <a:cubicBezTo>
                    <a:pt x="96" y="34"/>
                    <a:pt x="97" y="27"/>
                    <a:pt x="95" y="21"/>
                  </a:cubicBezTo>
                  <a:cubicBezTo>
                    <a:pt x="91" y="9"/>
                    <a:pt x="79" y="3"/>
                    <a:pt x="67" y="7"/>
                  </a:cubicBezTo>
                  <a:cubicBezTo>
                    <a:pt x="63" y="8"/>
                    <a:pt x="59" y="11"/>
                    <a:pt x="57" y="14"/>
                  </a:cubicBezTo>
                  <a:cubicBezTo>
                    <a:pt x="49" y="4"/>
                    <a:pt x="36" y="0"/>
                    <a:pt x="24" y="4"/>
                  </a:cubicBezTo>
                  <a:cubicBezTo>
                    <a:pt x="8" y="9"/>
                    <a:pt x="0" y="26"/>
                    <a:pt x="5" y="41"/>
                  </a:cubicBezTo>
                  <a:cubicBezTo>
                    <a:pt x="7" y="48"/>
                    <a:pt x="12" y="54"/>
                    <a:pt x="18" y="58"/>
                  </a:cubicBezTo>
                  <a:cubicBezTo>
                    <a:pt x="10" y="63"/>
                    <a:pt x="7" y="73"/>
                    <a:pt x="10" y="83"/>
                  </a:cubicBezTo>
                  <a:cubicBezTo>
                    <a:pt x="14" y="94"/>
                    <a:pt x="25" y="100"/>
                    <a:pt x="36" y="97"/>
                  </a:cubicBezTo>
                  <a:cubicBezTo>
                    <a:pt x="36" y="100"/>
                    <a:pt x="36" y="103"/>
                    <a:pt x="37" y="106"/>
                  </a:cubicBezTo>
                  <a:cubicBezTo>
                    <a:pt x="42" y="119"/>
                    <a:pt x="54" y="127"/>
                    <a:pt x="68" y="126"/>
                  </a:cubicBezTo>
                  <a:lnTo>
                    <a:pt x="89" y="191"/>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9" name="í$ḻïďe">
              <a:extLst>
                <a:ext uri="{FF2B5EF4-FFF2-40B4-BE49-F238E27FC236}">
                  <a16:creationId xmlns:a16="http://schemas.microsoft.com/office/drawing/2014/main" id="{6F99713C-2615-4F56-A042-066D9CE2FCD4}"/>
                </a:ext>
              </a:extLst>
            </p:cNvPr>
            <p:cNvSpPr/>
            <p:nvPr/>
          </p:nvSpPr>
          <p:spPr bwMode="auto">
            <a:xfrm flipH="1">
              <a:off x="2792625" y="2208536"/>
              <a:ext cx="211201" cy="490379"/>
            </a:xfrm>
            <a:custGeom>
              <a:avLst/>
              <a:gdLst>
                <a:gd name="T0" fmla="*/ 8 w 126"/>
                <a:gd name="T1" fmla="*/ 297 h 300"/>
                <a:gd name="T2" fmla="*/ 22 w 126"/>
                <a:gd name="T3" fmla="*/ 300 h 300"/>
                <a:gd name="T4" fmla="*/ 44 w 126"/>
                <a:gd name="T5" fmla="*/ 198 h 300"/>
                <a:gd name="T6" fmla="*/ 61 w 126"/>
                <a:gd name="T7" fmla="*/ 118 h 300"/>
                <a:gd name="T8" fmla="*/ 68 w 126"/>
                <a:gd name="T9" fmla="*/ 122 h 300"/>
                <a:gd name="T10" fmla="*/ 95 w 126"/>
                <a:gd name="T11" fmla="*/ 107 h 300"/>
                <a:gd name="T12" fmla="*/ 94 w 126"/>
                <a:gd name="T13" fmla="*/ 90 h 300"/>
                <a:gd name="T14" fmla="*/ 122 w 126"/>
                <a:gd name="T15" fmla="*/ 68 h 300"/>
                <a:gd name="T16" fmla="*/ 101 w 126"/>
                <a:gd name="T17" fmla="*/ 32 h 300"/>
                <a:gd name="T18" fmla="*/ 91 w 126"/>
                <a:gd name="T19" fmla="*/ 31 h 300"/>
                <a:gd name="T20" fmla="*/ 69 w 126"/>
                <a:gd name="T21" fmla="*/ 4 h 300"/>
                <a:gd name="T22" fmla="*/ 33 w 126"/>
                <a:gd name="T23" fmla="*/ 25 h 300"/>
                <a:gd name="T24" fmla="*/ 43 w 126"/>
                <a:gd name="T25" fmla="*/ 56 h 300"/>
                <a:gd name="T26" fmla="*/ 28 w 126"/>
                <a:gd name="T27" fmla="*/ 70 h 300"/>
                <a:gd name="T28" fmla="*/ 4 w 126"/>
                <a:gd name="T29" fmla="*/ 91 h 300"/>
                <a:gd name="T30" fmla="*/ 25 w 126"/>
                <a:gd name="T31" fmla="*/ 127 h 300"/>
                <a:gd name="T32" fmla="*/ 44 w 126"/>
                <a:gd name="T33" fmla="*/ 126 h 300"/>
                <a:gd name="T34" fmla="*/ 30 w 126"/>
                <a:gd name="T35" fmla="*/ 194 h 300"/>
                <a:gd name="T36" fmla="*/ 8 w 126"/>
                <a:gd name="T37"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300">
                  <a:moveTo>
                    <a:pt x="8" y="297"/>
                  </a:moveTo>
                  <a:cubicBezTo>
                    <a:pt x="13" y="298"/>
                    <a:pt x="18" y="299"/>
                    <a:pt x="22" y="300"/>
                  </a:cubicBezTo>
                  <a:cubicBezTo>
                    <a:pt x="30" y="266"/>
                    <a:pt x="37" y="232"/>
                    <a:pt x="44" y="198"/>
                  </a:cubicBezTo>
                  <a:cubicBezTo>
                    <a:pt x="61" y="118"/>
                    <a:pt x="61" y="118"/>
                    <a:pt x="61" y="118"/>
                  </a:cubicBezTo>
                  <a:cubicBezTo>
                    <a:pt x="63" y="120"/>
                    <a:pt x="66" y="121"/>
                    <a:pt x="68" y="122"/>
                  </a:cubicBezTo>
                  <a:cubicBezTo>
                    <a:pt x="80" y="125"/>
                    <a:pt x="92" y="118"/>
                    <a:pt x="95" y="107"/>
                  </a:cubicBezTo>
                  <a:cubicBezTo>
                    <a:pt x="97" y="101"/>
                    <a:pt x="96" y="95"/>
                    <a:pt x="94" y="90"/>
                  </a:cubicBezTo>
                  <a:cubicBezTo>
                    <a:pt x="107" y="90"/>
                    <a:pt x="118" y="82"/>
                    <a:pt x="122" y="68"/>
                  </a:cubicBezTo>
                  <a:cubicBezTo>
                    <a:pt x="126" y="53"/>
                    <a:pt x="117" y="36"/>
                    <a:pt x="101" y="32"/>
                  </a:cubicBezTo>
                  <a:cubicBezTo>
                    <a:pt x="98" y="31"/>
                    <a:pt x="95" y="31"/>
                    <a:pt x="91" y="31"/>
                  </a:cubicBezTo>
                  <a:cubicBezTo>
                    <a:pt x="91" y="19"/>
                    <a:pt x="82" y="7"/>
                    <a:pt x="69" y="4"/>
                  </a:cubicBezTo>
                  <a:cubicBezTo>
                    <a:pt x="54" y="0"/>
                    <a:pt x="37" y="9"/>
                    <a:pt x="33" y="25"/>
                  </a:cubicBezTo>
                  <a:cubicBezTo>
                    <a:pt x="30" y="36"/>
                    <a:pt x="34" y="48"/>
                    <a:pt x="43" y="56"/>
                  </a:cubicBezTo>
                  <a:cubicBezTo>
                    <a:pt x="37" y="58"/>
                    <a:pt x="31" y="63"/>
                    <a:pt x="28" y="70"/>
                  </a:cubicBezTo>
                  <a:cubicBezTo>
                    <a:pt x="17" y="71"/>
                    <a:pt x="7" y="80"/>
                    <a:pt x="4" y="91"/>
                  </a:cubicBezTo>
                  <a:cubicBezTo>
                    <a:pt x="0" y="107"/>
                    <a:pt x="9" y="123"/>
                    <a:pt x="25" y="127"/>
                  </a:cubicBezTo>
                  <a:cubicBezTo>
                    <a:pt x="32" y="129"/>
                    <a:pt x="38" y="129"/>
                    <a:pt x="44" y="126"/>
                  </a:cubicBezTo>
                  <a:cubicBezTo>
                    <a:pt x="30" y="194"/>
                    <a:pt x="30" y="194"/>
                    <a:pt x="30" y="194"/>
                  </a:cubicBezTo>
                  <a:cubicBezTo>
                    <a:pt x="22" y="228"/>
                    <a:pt x="15" y="263"/>
                    <a:pt x="8" y="297"/>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0" name="íṧḷîḓê">
              <a:extLst>
                <a:ext uri="{FF2B5EF4-FFF2-40B4-BE49-F238E27FC236}">
                  <a16:creationId xmlns:a16="http://schemas.microsoft.com/office/drawing/2014/main" id="{E6108474-EE21-413F-9477-5E832998E43A}"/>
                </a:ext>
              </a:extLst>
            </p:cNvPr>
            <p:cNvSpPr/>
            <p:nvPr/>
          </p:nvSpPr>
          <p:spPr bwMode="auto">
            <a:xfrm flipH="1">
              <a:off x="2914351" y="2259299"/>
              <a:ext cx="299635" cy="404081"/>
            </a:xfrm>
            <a:custGeom>
              <a:avLst/>
              <a:gdLst>
                <a:gd name="T0" fmla="*/ 31 w 179"/>
                <a:gd name="T1" fmla="*/ 244 h 247"/>
                <a:gd name="T2" fmla="*/ 45 w 179"/>
                <a:gd name="T3" fmla="*/ 247 h 247"/>
                <a:gd name="T4" fmla="*/ 60 w 179"/>
                <a:gd name="T5" fmla="*/ 176 h 247"/>
                <a:gd name="T6" fmla="*/ 70 w 179"/>
                <a:gd name="T7" fmla="*/ 179 h 247"/>
                <a:gd name="T8" fmla="*/ 92 w 179"/>
                <a:gd name="T9" fmla="*/ 160 h 247"/>
                <a:gd name="T10" fmla="*/ 101 w 179"/>
                <a:gd name="T11" fmla="*/ 161 h 247"/>
                <a:gd name="T12" fmla="*/ 131 w 179"/>
                <a:gd name="T13" fmla="*/ 133 h 247"/>
                <a:gd name="T14" fmla="*/ 112 w 179"/>
                <a:gd name="T15" fmla="*/ 104 h 247"/>
                <a:gd name="T16" fmla="*/ 114 w 179"/>
                <a:gd name="T17" fmla="*/ 94 h 247"/>
                <a:gd name="T18" fmla="*/ 86 w 179"/>
                <a:gd name="T19" fmla="*/ 64 h 247"/>
                <a:gd name="T20" fmla="*/ 57 w 179"/>
                <a:gd name="T21" fmla="*/ 84 h 247"/>
                <a:gd name="T22" fmla="*/ 41 w 179"/>
                <a:gd name="T23" fmla="*/ 77 h 247"/>
                <a:gd name="T24" fmla="*/ 19 w 179"/>
                <a:gd name="T25" fmla="*/ 98 h 247"/>
                <a:gd name="T26" fmla="*/ 22 w 179"/>
                <a:gd name="T27" fmla="*/ 111 h 247"/>
                <a:gd name="T28" fmla="*/ 0 w 179"/>
                <a:gd name="T29" fmla="*/ 138 h 247"/>
                <a:gd name="T30" fmla="*/ 29 w 179"/>
                <a:gd name="T31" fmla="*/ 169 h 247"/>
                <a:gd name="T32" fmla="*/ 48 w 179"/>
                <a:gd name="T33" fmla="*/ 163 h 247"/>
                <a:gd name="T34" fmla="*/ 31 w 179"/>
                <a:gd name="T35" fmla="*/ 244 h 247"/>
                <a:gd name="T36" fmla="*/ 149 w 179"/>
                <a:gd name="T37" fmla="*/ 45 h 247"/>
                <a:gd name="T38" fmla="*/ 176 w 179"/>
                <a:gd name="T39" fmla="*/ 30 h 247"/>
                <a:gd name="T40" fmla="*/ 160 w 179"/>
                <a:gd name="T41" fmla="*/ 3 h 247"/>
                <a:gd name="T42" fmla="*/ 133 w 179"/>
                <a:gd name="T43" fmla="*/ 18 h 247"/>
                <a:gd name="T44" fmla="*/ 149 w 179"/>
                <a:gd name="T45"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247">
                  <a:moveTo>
                    <a:pt x="31" y="244"/>
                  </a:moveTo>
                  <a:cubicBezTo>
                    <a:pt x="36" y="245"/>
                    <a:pt x="41" y="246"/>
                    <a:pt x="45" y="247"/>
                  </a:cubicBezTo>
                  <a:cubicBezTo>
                    <a:pt x="60" y="176"/>
                    <a:pt x="60" y="176"/>
                    <a:pt x="60" y="176"/>
                  </a:cubicBezTo>
                  <a:cubicBezTo>
                    <a:pt x="63" y="178"/>
                    <a:pt x="66" y="179"/>
                    <a:pt x="70" y="179"/>
                  </a:cubicBezTo>
                  <a:cubicBezTo>
                    <a:pt x="81" y="179"/>
                    <a:pt x="91" y="171"/>
                    <a:pt x="92" y="160"/>
                  </a:cubicBezTo>
                  <a:cubicBezTo>
                    <a:pt x="95" y="161"/>
                    <a:pt x="98" y="161"/>
                    <a:pt x="101" y="161"/>
                  </a:cubicBezTo>
                  <a:cubicBezTo>
                    <a:pt x="117" y="162"/>
                    <a:pt x="131" y="150"/>
                    <a:pt x="131" y="133"/>
                  </a:cubicBezTo>
                  <a:cubicBezTo>
                    <a:pt x="132" y="120"/>
                    <a:pt x="124" y="108"/>
                    <a:pt x="112" y="104"/>
                  </a:cubicBezTo>
                  <a:cubicBezTo>
                    <a:pt x="113" y="101"/>
                    <a:pt x="114" y="98"/>
                    <a:pt x="114" y="94"/>
                  </a:cubicBezTo>
                  <a:cubicBezTo>
                    <a:pt x="115" y="78"/>
                    <a:pt x="102" y="64"/>
                    <a:pt x="86" y="64"/>
                  </a:cubicBezTo>
                  <a:cubicBezTo>
                    <a:pt x="72" y="63"/>
                    <a:pt x="61" y="72"/>
                    <a:pt x="57" y="84"/>
                  </a:cubicBezTo>
                  <a:cubicBezTo>
                    <a:pt x="53" y="80"/>
                    <a:pt x="47" y="78"/>
                    <a:pt x="41" y="77"/>
                  </a:cubicBezTo>
                  <a:cubicBezTo>
                    <a:pt x="29" y="77"/>
                    <a:pt x="19" y="86"/>
                    <a:pt x="19" y="98"/>
                  </a:cubicBezTo>
                  <a:cubicBezTo>
                    <a:pt x="18" y="103"/>
                    <a:pt x="20" y="107"/>
                    <a:pt x="22" y="111"/>
                  </a:cubicBezTo>
                  <a:cubicBezTo>
                    <a:pt x="10" y="114"/>
                    <a:pt x="1" y="125"/>
                    <a:pt x="0" y="138"/>
                  </a:cubicBezTo>
                  <a:cubicBezTo>
                    <a:pt x="0" y="154"/>
                    <a:pt x="12" y="168"/>
                    <a:pt x="29" y="169"/>
                  </a:cubicBezTo>
                  <a:cubicBezTo>
                    <a:pt x="36" y="169"/>
                    <a:pt x="43" y="167"/>
                    <a:pt x="48" y="163"/>
                  </a:cubicBezTo>
                  <a:cubicBezTo>
                    <a:pt x="31" y="244"/>
                    <a:pt x="31" y="244"/>
                    <a:pt x="31" y="244"/>
                  </a:cubicBezTo>
                  <a:close/>
                  <a:moveTo>
                    <a:pt x="149" y="45"/>
                  </a:moveTo>
                  <a:cubicBezTo>
                    <a:pt x="160" y="48"/>
                    <a:pt x="172" y="41"/>
                    <a:pt x="176" y="30"/>
                  </a:cubicBezTo>
                  <a:cubicBezTo>
                    <a:pt x="179" y="18"/>
                    <a:pt x="172" y="6"/>
                    <a:pt x="160" y="3"/>
                  </a:cubicBezTo>
                  <a:cubicBezTo>
                    <a:pt x="148" y="0"/>
                    <a:pt x="136" y="6"/>
                    <a:pt x="133" y="18"/>
                  </a:cubicBezTo>
                  <a:cubicBezTo>
                    <a:pt x="130" y="30"/>
                    <a:pt x="137" y="42"/>
                    <a:pt x="149" y="4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îşlïḋê">
              <a:extLst>
                <a:ext uri="{FF2B5EF4-FFF2-40B4-BE49-F238E27FC236}">
                  <a16:creationId xmlns:a16="http://schemas.microsoft.com/office/drawing/2014/main" id="{07DC7448-DE5C-4314-B152-4C8479051D80}"/>
                </a:ext>
              </a:extLst>
            </p:cNvPr>
            <p:cNvSpPr/>
            <p:nvPr/>
          </p:nvSpPr>
          <p:spPr bwMode="auto">
            <a:xfrm flipH="1">
              <a:off x="2400395" y="2562867"/>
              <a:ext cx="392230" cy="338088"/>
            </a:xfrm>
            <a:custGeom>
              <a:avLst/>
              <a:gdLst>
                <a:gd name="T0" fmla="*/ 202 w 234"/>
                <a:gd name="T1" fmla="*/ 132 h 207"/>
                <a:gd name="T2" fmla="*/ 215 w 234"/>
                <a:gd name="T3" fmla="*/ 102 h 207"/>
                <a:gd name="T4" fmla="*/ 222 w 234"/>
                <a:gd name="T5" fmla="*/ 94 h 207"/>
                <a:gd name="T6" fmla="*/ 210 w 234"/>
                <a:gd name="T7" fmla="*/ 168 h 207"/>
                <a:gd name="T8" fmla="*/ 193 w 234"/>
                <a:gd name="T9" fmla="*/ 97 h 207"/>
                <a:gd name="T10" fmla="*/ 202 w 234"/>
                <a:gd name="T11" fmla="*/ 124 h 207"/>
                <a:gd name="T12" fmla="*/ 184 w 234"/>
                <a:gd name="T13" fmla="*/ 92 h 207"/>
                <a:gd name="T14" fmla="*/ 202 w 234"/>
                <a:gd name="T15" fmla="*/ 81 h 207"/>
                <a:gd name="T16" fmla="*/ 179 w 234"/>
                <a:gd name="T17" fmla="*/ 132 h 207"/>
                <a:gd name="T18" fmla="*/ 189 w 234"/>
                <a:gd name="T19" fmla="*/ 159 h 207"/>
                <a:gd name="T20" fmla="*/ 202 w 234"/>
                <a:gd name="T21" fmla="*/ 180 h 207"/>
                <a:gd name="T22" fmla="*/ 170 w 234"/>
                <a:gd name="T23" fmla="*/ 75 h 207"/>
                <a:gd name="T24" fmla="*/ 154 w 234"/>
                <a:gd name="T25" fmla="*/ 52 h 207"/>
                <a:gd name="T26" fmla="*/ 154 w 234"/>
                <a:gd name="T27" fmla="*/ 102 h 207"/>
                <a:gd name="T28" fmla="*/ 179 w 234"/>
                <a:gd name="T29" fmla="*/ 101 h 207"/>
                <a:gd name="T30" fmla="*/ 154 w 234"/>
                <a:gd name="T31" fmla="*/ 116 h 207"/>
                <a:gd name="T32" fmla="*/ 154 w 234"/>
                <a:gd name="T33" fmla="*/ 141 h 207"/>
                <a:gd name="T34" fmla="*/ 178 w 234"/>
                <a:gd name="T35" fmla="*/ 202 h 207"/>
                <a:gd name="T36" fmla="*/ 167 w 234"/>
                <a:gd name="T37" fmla="*/ 154 h 207"/>
                <a:gd name="T38" fmla="*/ 179 w 234"/>
                <a:gd name="T39" fmla="*/ 124 h 207"/>
                <a:gd name="T40" fmla="*/ 162 w 234"/>
                <a:gd name="T41" fmla="*/ 193 h 207"/>
                <a:gd name="T42" fmla="*/ 154 w 234"/>
                <a:gd name="T43" fmla="*/ 93 h 207"/>
                <a:gd name="T44" fmla="*/ 146 w 234"/>
                <a:gd name="T45" fmla="*/ 81 h 207"/>
                <a:gd name="T46" fmla="*/ 136 w 234"/>
                <a:gd name="T47" fmla="*/ 54 h 207"/>
                <a:gd name="T48" fmla="*/ 136 w 234"/>
                <a:gd name="T49" fmla="*/ 98 h 207"/>
                <a:gd name="T50" fmla="*/ 154 w 234"/>
                <a:gd name="T51" fmla="*/ 116 h 207"/>
                <a:gd name="T52" fmla="*/ 140 w 234"/>
                <a:gd name="T53" fmla="*/ 179 h 207"/>
                <a:gd name="T54" fmla="*/ 154 w 234"/>
                <a:gd name="T55" fmla="*/ 141 h 207"/>
                <a:gd name="T56" fmla="*/ 154 w 234"/>
                <a:gd name="T57" fmla="*/ 198 h 207"/>
                <a:gd name="T58" fmla="*/ 126 w 234"/>
                <a:gd name="T59" fmla="*/ 57 h 207"/>
                <a:gd name="T60" fmla="*/ 136 w 234"/>
                <a:gd name="T61" fmla="*/ 84 h 207"/>
                <a:gd name="T62" fmla="*/ 118 w 234"/>
                <a:gd name="T63" fmla="*/ 52 h 207"/>
                <a:gd name="T64" fmla="*/ 136 w 234"/>
                <a:gd name="T65" fmla="*/ 41 h 207"/>
                <a:gd name="T66" fmla="*/ 114 w 234"/>
                <a:gd name="T67" fmla="*/ 92 h 207"/>
                <a:gd name="T68" fmla="*/ 113 w 234"/>
                <a:gd name="T69" fmla="*/ 121 h 207"/>
                <a:gd name="T70" fmla="*/ 136 w 234"/>
                <a:gd name="T71" fmla="*/ 135 h 207"/>
                <a:gd name="T72" fmla="*/ 136 w 234"/>
                <a:gd name="T73" fmla="*/ 98 h 207"/>
                <a:gd name="T74" fmla="*/ 93 w 234"/>
                <a:gd name="T75" fmla="*/ 36 h 207"/>
                <a:gd name="T76" fmla="*/ 112 w 234"/>
                <a:gd name="T77" fmla="*/ 60 h 207"/>
                <a:gd name="T78" fmla="*/ 80 w 234"/>
                <a:gd name="T79" fmla="*/ 39 h 207"/>
                <a:gd name="T80" fmla="*/ 80 w 234"/>
                <a:gd name="T81" fmla="*/ 7 h 207"/>
                <a:gd name="T82" fmla="*/ 80 w 234"/>
                <a:gd name="T83" fmla="*/ 71 h 207"/>
                <a:gd name="T84" fmla="*/ 90 w 234"/>
                <a:gd name="T85" fmla="*/ 98 h 207"/>
                <a:gd name="T86" fmla="*/ 108 w 234"/>
                <a:gd name="T87" fmla="*/ 159 h 207"/>
                <a:gd name="T88" fmla="*/ 100 w 234"/>
                <a:gd name="T89" fmla="*/ 113 h 207"/>
                <a:gd name="T90" fmla="*/ 113 w 234"/>
                <a:gd name="T91" fmla="*/ 84 h 207"/>
                <a:gd name="T92" fmla="*/ 56 w 234"/>
                <a:gd name="T93" fmla="*/ 117 h 207"/>
                <a:gd name="T94" fmla="*/ 70 w 234"/>
                <a:gd name="T95" fmla="*/ 14 h 207"/>
                <a:gd name="T96" fmla="*/ 76 w 234"/>
                <a:gd name="T97" fmla="*/ 4 h 207"/>
                <a:gd name="T98" fmla="*/ 56 w 234"/>
                <a:gd name="T99" fmla="*/ 42 h 207"/>
                <a:gd name="T100" fmla="*/ 79 w 234"/>
                <a:gd name="T101" fmla="*/ 40 h 207"/>
                <a:gd name="T102" fmla="*/ 56 w 234"/>
                <a:gd name="T103" fmla="*/ 56 h 207"/>
                <a:gd name="T104" fmla="*/ 56 w 234"/>
                <a:gd name="T105" fmla="*/ 112 h 207"/>
                <a:gd name="T106" fmla="*/ 80 w 234"/>
                <a:gd name="T107" fmla="*/ 101 h 207"/>
                <a:gd name="T108" fmla="*/ 70 w 234"/>
                <a:gd name="T109" fmla="*/ 74 h 207"/>
                <a:gd name="T110" fmla="*/ 50 w 234"/>
                <a:gd name="T111" fmla="*/ 136 h 207"/>
                <a:gd name="T112" fmla="*/ 56 w 234"/>
                <a:gd name="T113" fmla="*/ 5 h 207"/>
                <a:gd name="T114" fmla="*/ 56 w 234"/>
                <a:gd name="T115" fmla="*/ 42 h 207"/>
                <a:gd name="T116" fmla="*/ 56 w 234"/>
                <a:gd name="T117" fmla="*/ 56 h 207"/>
                <a:gd name="T118" fmla="*/ 0 w 234"/>
                <a:gd name="T119" fmla="*/ 94 h 207"/>
                <a:gd name="T120" fmla="*/ 34 w 234"/>
                <a:gd name="T121" fmla="*/ 11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207">
                  <a:moveTo>
                    <a:pt x="202" y="180"/>
                  </a:moveTo>
                  <a:cubicBezTo>
                    <a:pt x="202" y="137"/>
                    <a:pt x="202" y="137"/>
                    <a:pt x="202" y="137"/>
                  </a:cubicBezTo>
                  <a:cubicBezTo>
                    <a:pt x="205" y="133"/>
                    <a:pt x="205" y="133"/>
                    <a:pt x="205" y="133"/>
                  </a:cubicBezTo>
                  <a:cubicBezTo>
                    <a:pt x="202" y="132"/>
                    <a:pt x="202" y="132"/>
                    <a:pt x="202" y="132"/>
                  </a:cubicBezTo>
                  <a:cubicBezTo>
                    <a:pt x="202" y="124"/>
                    <a:pt x="202" y="124"/>
                    <a:pt x="202" y="124"/>
                  </a:cubicBezTo>
                  <a:cubicBezTo>
                    <a:pt x="206" y="126"/>
                    <a:pt x="210" y="125"/>
                    <a:pt x="212" y="121"/>
                  </a:cubicBezTo>
                  <a:cubicBezTo>
                    <a:pt x="214" y="118"/>
                    <a:pt x="216" y="115"/>
                    <a:pt x="218" y="112"/>
                  </a:cubicBezTo>
                  <a:cubicBezTo>
                    <a:pt x="220" y="109"/>
                    <a:pt x="219" y="104"/>
                    <a:pt x="215" y="102"/>
                  </a:cubicBezTo>
                  <a:cubicBezTo>
                    <a:pt x="211" y="100"/>
                    <a:pt x="207" y="97"/>
                    <a:pt x="203" y="95"/>
                  </a:cubicBezTo>
                  <a:cubicBezTo>
                    <a:pt x="203" y="95"/>
                    <a:pt x="203" y="95"/>
                    <a:pt x="202" y="94"/>
                  </a:cubicBezTo>
                  <a:cubicBezTo>
                    <a:pt x="202" y="81"/>
                    <a:pt x="202" y="81"/>
                    <a:pt x="202" y="81"/>
                  </a:cubicBezTo>
                  <a:cubicBezTo>
                    <a:pt x="222" y="94"/>
                    <a:pt x="222" y="94"/>
                    <a:pt x="222" y="94"/>
                  </a:cubicBezTo>
                  <a:cubicBezTo>
                    <a:pt x="231" y="99"/>
                    <a:pt x="234" y="109"/>
                    <a:pt x="229" y="117"/>
                  </a:cubicBezTo>
                  <a:cubicBezTo>
                    <a:pt x="221" y="130"/>
                    <a:pt x="213" y="143"/>
                    <a:pt x="205" y="156"/>
                  </a:cubicBezTo>
                  <a:cubicBezTo>
                    <a:pt x="206" y="156"/>
                    <a:pt x="206" y="157"/>
                    <a:pt x="206" y="157"/>
                  </a:cubicBezTo>
                  <a:cubicBezTo>
                    <a:pt x="210" y="159"/>
                    <a:pt x="212" y="164"/>
                    <a:pt x="210" y="168"/>
                  </a:cubicBezTo>
                  <a:lnTo>
                    <a:pt x="202" y="180"/>
                  </a:lnTo>
                  <a:close/>
                  <a:moveTo>
                    <a:pt x="202" y="81"/>
                  </a:moveTo>
                  <a:cubicBezTo>
                    <a:pt x="202" y="94"/>
                    <a:pt x="202" y="94"/>
                    <a:pt x="202" y="94"/>
                  </a:cubicBezTo>
                  <a:cubicBezTo>
                    <a:pt x="199" y="93"/>
                    <a:pt x="195" y="94"/>
                    <a:pt x="193" y="97"/>
                  </a:cubicBezTo>
                  <a:cubicBezTo>
                    <a:pt x="191" y="100"/>
                    <a:pt x="189" y="103"/>
                    <a:pt x="187" y="106"/>
                  </a:cubicBezTo>
                  <a:cubicBezTo>
                    <a:pt x="185" y="110"/>
                    <a:pt x="186" y="114"/>
                    <a:pt x="190" y="116"/>
                  </a:cubicBezTo>
                  <a:cubicBezTo>
                    <a:pt x="194" y="119"/>
                    <a:pt x="198" y="121"/>
                    <a:pt x="202" y="124"/>
                  </a:cubicBezTo>
                  <a:cubicBezTo>
                    <a:pt x="202" y="124"/>
                    <a:pt x="202" y="124"/>
                    <a:pt x="202" y="124"/>
                  </a:cubicBezTo>
                  <a:cubicBezTo>
                    <a:pt x="202" y="132"/>
                    <a:pt x="202" y="132"/>
                    <a:pt x="202" y="132"/>
                  </a:cubicBezTo>
                  <a:cubicBezTo>
                    <a:pt x="179" y="118"/>
                    <a:pt x="179" y="118"/>
                    <a:pt x="179" y="118"/>
                  </a:cubicBezTo>
                  <a:cubicBezTo>
                    <a:pt x="179" y="100"/>
                    <a:pt x="179" y="100"/>
                    <a:pt x="179" y="100"/>
                  </a:cubicBezTo>
                  <a:cubicBezTo>
                    <a:pt x="184" y="92"/>
                    <a:pt x="184" y="92"/>
                    <a:pt x="184" y="92"/>
                  </a:cubicBezTo>
                  <a:cubicBezTo>
                    <a:pt x="186" y="89"/>
                    <a:pt x="185" y="84"/>
                    <a:pt x="182" y="82"/>
                  </a:cubicBezTo>
                  <a:cubicBezTo>
                    <a:pt x="179" y="80"/>
                    <a:pt x="179" y="80"/>
                    <a:pt x="179" y="80"/>
                  </a:cubicBezTo>
                  <a:cubicBezTo>
                    <a:pt x="179" y="68"/>
                    <a:pt x="179" y="68"/>
                    <a:pt x="179" y="68"/>
                  </a:cubicBezTo>
                  <a:cubicBezTo>
                    <a:pt x="202" y="81"/>
                    <a:pt x="202" y="81"/>
                    <a:pt x="202" y="81"/>
                  </a:cubicBezTo>
                  <a:close/>
                  <a:moveTo>
                    <a:pt x="202" y="137"/>
                  </a:moveTo>
                  <a:cubicBezTo>
                    <a:pt x="202" y="138"/>
                    <a:pt x="202" y="138"/>
                    <a:pt x="202" y="138"/>
                  </a:cubicBezTo>
                  <a:cubicBezTo>
                    <a:pt x="179" y="124"/>
                    <a:pt x="179" y="124"/>
                    <a:pt x="179" y="124"/>
                  </a:cubicBezTo>
                  <a:cubicBezTo>
                    <a:pt x="179" y="132"/>
                    <a:pt x="179" y="132"/>
                    <a:pt x="179" y="132"/>
                  </a:cubicBezTo>
                  <a:cubicBezTo>
                    <a:pt x="180" y="132"/>
                    <a:pt x="180" y="132"/>
                    <a:pt x="180" y="132"/>
                  </a:cubicBezTo>
                  <a:cubicBezTo>
                    <a:pt x="184" y="135"/>
                    <a:pt x="188" y="137"/>
                    <a:pt x="192" y="140"/>
                  </a:cubicBezTo>
                  <a:cubicBezTo>
                    <a:pt x="196" y="142"/>
                    <a:pt x="197" y="146"/>
                    <a:pt x="195" y="150"/>
                  </a:cubicBezTo>
                  <a:cubicBezTo>
                    <a:pt x="193" y="153"/>
                    <a:pt x="191" y="156"/>
                    <a:pt x="189" y="159"/>
                  </a:cubicBezTo>
                  <a:cubicBezTo>
                    <a:pt x="187" y="162"/>
                    <a:pt x="183" y="163"/>
                    <a:pt x="179" y="162"/>
                  </a:cubicBezTo>
                  <a:cubicBezTo>
                    <a:pt x="179" y="203"/>
                    <a:pt x="179" y="203"/>
                    <a:pt x="179" y="203"/>
                  </a:cubicBezTo>
                  <a:cubicBezTo>
                    <a:pt x="186" y="207"/>
                    <a:pt x="186" y="207"/>
                    <a:pt x="186" y="207"/>
                  </a:cubicBezTo>
                  <a:cubicBezTo>
                    <a:pt x="202" y="180"/>
                    <a:pt x="202" y="180"/>
                    <a:pt x="202" y="180"/>
                  </a:cubicBezTo>
                  <a:lnTo>
                    <a:pt x="202" y="137"/>
                  </a:lnTo>
                  <a:close/>
                  <a:moveTo>
                    <a:pt x="179" y="68"/>
                  </a:moveTo>
                  <a:cubicBezTo>
                    <a:pt x="179" y="80"/>
                    <a:pt x="179" y="80"/>
                    <a:pt x="179" y="80"/>
                  </a:cubicBezTo>
                  <a:cubicBezTo>
                    <a:pt x="170" y="75"/>
                    <a:pt x="170" y="75"/>
                    <a:pt x="170" y="75"/>
                  </a:cubicBezTo>
                  <a:cubicBezTo>
                    <a:pt x="166" y="72"/>
                    <a:pt x="161" y="73"/>
                    <a:pt x="159" y="77"/>
                  </a:cubicBezTo>
                  <a:cubicBezTo>
                    <a:pt x="158" y="80"/>
                    <a:pt x="156" y="83"/>
                    <a:pt x="154" y="86"/>
                  </a:cubicBezTo>
                  <a:cubicBezTo>
                    <a:pt x="154" y="86"/>
                    <a:pt x="154" y="86"/>
                    <a:pt x="154" y="86"/>
                  </a:cubicBezTo>
                  <a:cubicBezTo>
                    <a:pt x="154" y="52"/>
                    <a:pt x="154" y="52"/>
                    <a:pt x="154" y="52"/>
                  </a:cubicBezTo>
                  <a:cubicBezTo>
                    <a:pt x="179" y="68"/>
                    <a:pt x="179" y="68"/>
                    <a:pt x="179" y="68"/>
                  </a:cubicBezTo>
                  <a:close/>
                  <a:moveTo>
                    <a:pt x="179" y="100"/>
                  </a:moveTo>
                  <a:cubicBezTo>
                    <a:pt x="179" y="118"/>
                    <a:pt x="179" y="118"/>
                    <a:pt x="179" y="118"/>
                  </a:cubicBezTo>
                  <a:cubicBezTo>
                    <a:pt x="154" y="102"/>
                    <a:pt x="154" y="102"/>
                    <a:pt x="154" y="102"/>
                  </a:cubicBezTo>
                  <a:cubicBezTo>
                    <a:pt x="154" y="93"/>
                    <a:pt x="154" y="93"/>
                    <a:pt x="154" y="93"/>
                  </a:cubicBezTo>
                  <a:cubicBezTo>
                    <a:pt x="154" y="94"/>
                    <a:pt x="155" y="95"/>
                    <a:pt x="157" y="96"/>
                  </a:cubicBezTo>
                  <a:cubicBezTo>
                    <a:pt x="161" y="99"/>
                    <a:pt x="165" y="101"/>
                    <a:pt x="169" y="104"/>
                  </a:cubicBezTo>
                  <a:cubicBezTo>
                    <a:pt x="172" y="106"/>
                    <a:pt x="177" y="105"/>
                    <a:pt x="179" y="101"/>
                  </a:cubicBezTo>
                  <a:cubicBezTo>
                    <a:pt x="179" y="100"/>
                    <a:pt x="179" y="100"/>
                    <a:pt x="179" y="100"/>
                  </a:cubicBezTo>
                  <a:close/>
                  <a:moveTo>
                    <a:pt x="179" y="124"/>
                  </a:moveTo>
                  <a:cubicBezTo>
                    <a:pt x="154" y="108"/>
                    <a:pt x="154" y="108"/>
                    <a:pt x="154" y="108"/>
                  </a:cubicBezTo>
                  <a:cubicBezTo>
                    <a:pt x="154" y="116"/>
                    <a:pt x="154" y="116"/>
                    <a:pt x="154" y="116"/>
                  </a:cubicBezTo>
                  <a:cubicBezTo>
                    <a:pt x="159" y="119"/>
                    <a:pt x="159" y="119"/>
                    <a:pt x="159" y="119"/>
                  </a:cubicBezTo>
                  <a:cubicBezTo>
                    <a:pt x="162" y="121"/>
                    <a:pt x="164" y="126"/>
                    <a:pt x="161" y="130"/>
                  </a:cubicBezTo>
                  <a:cubicBezTo>
                    <a:pt x="160" y="133"/>
                    <a:pt x="158" y="135"/>
                    <a:pt x="156" y="138"/>
                  </a:cubicBezTo>
                  <a:cubicBezTo>
                    <a:pt x="155" y="139"/>
                    <a:pt x="155" y="140"/>
                    <a:pt x="154" y="141"/>
                  </a:cubicBezTo>
                  <a:cubicBezTo>
                    <a:pt x="154" y="172"/>
                    <a:pt x="154" y="172"/>
                    <a:pt x="154" y="172"/>
                  </a:cubicBezTo>
                  <a:cubicBezTo>
                    <a:pt x="156" y="172"/>
                    <a:pt x="159" y="172"/>
                    <a:pt x="162" y="174"/>
                  </a:cubicBezTo>
                  <a:cubicBezTo>
                    <a:pt x="169" y="178"/>
                    <a:pt x="171" y="188"/>
                    <a:pt x="167" y="195"/>
                  </a:cubicBezTo>
                  <a:cubicBezTo>
                    <a:pt x="170" y="197"/>
                    <a:pt x="174" y="200"/>
                    <a:pt x="178" y="202"/>
                  </a:cubicBezTo>
                  <a:cubicBezTo>
                    <a:pt x="179" y="203"/>
                    <a:pt x="179" y="203"/>
                    <a:pt x="179" y="203"/>
                  </a:cubicBezTo>
                  <a:cubicBezTo>
                    <a:pt x="179" y="162"/>
                    <a:pt x="179" y="162"/>
                    <a:pt x="179" y="162"/>
                  </a:cubicBezTo>
                  <a:cubicBezTo>
                    <a:pt x="179" y="161"/>
                    <a:pt x="179" y="161"/>
                    <a:pt x="179" y="161"/>
                  </a:cubicBezTo>
                  <a:cubicBezTo>
                    <a:pt x="175" y="159"/>
                    <a:pt x="171" y="156"/>
                    <a:pt x="167" y="154"/>
                  </a:cubicBezTo>
                  <a:cubicBezTo>
                    <a:pt x="163" y="152"/>
                    <a:pt x="162" y="147"/>
                    <a:pt x="164" y="143"/>
                  </a:cubicBezTo>
                  <a:cubicBezTo>
                    <a:pt x="166" y="141"/>
                    <a:pt x="168" y="138"/>
                    <a:pt x="170" y="135"/>
                  </a:cubicBezTo>
                  <a:cubicBezTo>
                    <a:pt x="172" y="131"/>
                    <a:pt x="176" y="130"/>
                    <a:pt x="179" y="132"/>
                  </a:cubicBezTo>
                  <a:cubicBezTo>
                    <a:pt x="179" y="124"/>
                    <a:pt x="179" y="124"/>
                    <a:pt x="179" y="124"/>
                  </a:cubicBezTo>
                  <a:close/>
                  <a:moveTo>
                    <a:pt x="154" y="198"/>
                  </a:moveTo>
                  <a:cubicBezTo>
                    <a:pt x="154" y="177"/>
                    <a:pt x="154" y="177"/>
                    <a:pt x="154" y="177"/>
                  </a:cubicBezTo>
                  <a:cubicBezTo>
                    <a:pt x="155" y="177"/>
                    <a:pt x="157" y="177"/>
                    <a:pt x="159" y="178"/>
                  </a:cubicBezTo>
                  <a:cubicBezTo>
                    <a:pt x="164" y="181"/>
                    <a:pt x="165" y="188"/>
                    <a:pt x="162" y="193"/>
                  </a:cubicBezTo>
                  <a:cubicBezTo>
                    <a:pt x="160" y="196"/>
                    <a:pt x="157" y="198"/>
                    <a:pt x="154" y="198"/>
                  </a:cubicBezTo>
                  <a:close/>
                  <a:moveTo>
                    <a:pt x="154" y="52"/>
                  </a:moveTo>
                  <a:cubicBezTo>
                    <a:pt x="154" y="86"/>
                    <a:pt x="154" y="86"/>
                    <a:pt x="154" y="86"/>
                  </a:cubicBezTo>
                  <a:cubicBezTo>
                    <a:pt x="153" y="88"/>
                    <a:pt x="153" y="91"/>
                    <a:pt x="154" y="93"/>
                  </a:cubicBezTo>
                  <a:cubicBezTo>
                    <a:pt x="154" y="102"/>
                    <a:pt x="154" y="102"/>
                    <a:pt x="154" y="102"/>
                  </a:cubicBezTo>
                  <a:cubicBezTo>
                    <a:pt x="136" y="91"/>
                    <a:pt x="136" y="91"/>
                    <a:pt x="136" y="91"/>
                  </a:cubicBezTo>
                  <a:cubicBezTo>
                    <a:pt x="136" y="84"/>
                    <a:pt x="136" y="84"/>
                    <a:pt x="136" y="84"/>
                  </a:cubicBezTo>
                  <a:cubicBezTo>
                    <a:pt x="139" y="85"/>
                    <a:pt x="144" y="84"/>
                    <a:pt x="146" y="81"/>
                  </a:cubicBezTo>
                  <a:cubicBezTo>
                    <a:pt x="147" y="78"/>
                    <a:pt x="149" y="75"/>
                    <a:pt x="151" y="72"/>
                  </a:cubicBezTo>
                  <a:cubicBezTo>
                    <a:pt x="153" y="68"/>
                    <a:pt x="152" y="64"/>
                    <a:pt x="149" y="62"/>
                  </a:cubicBezTo>
                  <a:cubicBezTo>
                    <a:pt x="145" y="59"/>
                    <a:pt x="141" y="57"/>
                    <a:pt x="137" y="54"/>
                  </a:cubicBezTo>
                  <a:cubicBezTo>
                    <a:pt x="136" y="54"/>
                    <a:pt x="136" y="54"/>
                    <a:pt x="136" y="54"/>
                  </a:cubicBezTo>
                  <a:cubicBezTo>
                    <a:pt x="136" y="41"/>
                    <a:pt x="136" y="41"/>
                    <a:pt x="136" y="41"/>
                  </a:cubicBezTo>
                  <a:cubicBezTo>
                    <a:pt x="154" y="52"/>
                    <a:pt x="154" y="52"/>
                    <a:pt x="154" y="52"/>
                  </a:cubicBezTo>
                  <a:close/>
                  <a:moveTo>
                    <a:pt x="154" y="108"/>
                  </a:moveTo>
                  <a:cubicBezTo>
                    <a:pt x="136" y="98"/>
                    <a:pt x="136" y="98"/>
                    <a:pt x="136" y="98"/>
                  </a:cubicBezTo>
                  <a:cubicBezTo>
                    <a:pt x="136" y="115"/>
                    <a:pt x="136" y="115"/>
                    <a:pt x="136" y="115"/>
                  </a:cubicBezTo>
                  <a:cubicBezTo>
                    <a:pt x="136" y="114"/>
                    <a:pt x="136" y="114"/>
                    <a:pt x="136" y="114"/>
                  </a:cubicBezTo>
                  <a:cubicBezTo>
                    <a:pt x="139" y="111"/>
                    <a:pt x="143" y="110"/>
                    <a:pt x="147" y="112"/>
                  </a:cubicBezTo>
                  <a:cubicBezTo>
                    <a:pt x="154" y="116"/>
                    <a:pt x="154" y="116"/>
                    <a:pt x="154" y="116"/>
                  </a:cubicBezTo>
                  <a:cubicBezTo>
                    <a:pt x="154" y="108"/>
                    <a:pt x="154" y="108"/>
                    <a:pt x="154" y="108"/>
                  </a:cubicBezTo>
                  <a:close/>
                  <a:moveTo>
                    <a:pt x="154" y="141"/>
                  </a:moveTo>
                  <a:cubicBezTo>
                    <a:pt x="154" y="172"/>
                    <a:pt x="154" y="172"/>
                    <a:pt x="154" y="172"/>
                  </a:cubicBezTo>
                  <a:cubicBezTo>
                    <a:pt x="148" y="172"/>
                    <a:pt x="143" y="174"/>
                    <a:pt x="140" y="179"/>
                  </a:cubicBezTo>
                  <a:cubicBezTo>
                    <a:pt x="136" y="176"/>
                    <a:pt x="136" y="176"/>
                    <a:pt x="136" y="176"/>
                  </a:cubicBezTo>
                  <a:cubicBezTo>
                    <a:pt x="136" y="135"/>
                    <a:pt x="136" y="135"/>
                    <a:pt x="136" y="135"/>
                  </a:cubicBezTo>
                  <a:cubicBezTo>
                    <a:pt x="146" y="141"/>
                    <a:pt x="146" y="141"/>
                    <a:pt x="146" y="141"/>
                  </a:cubicBezTo>
                  <a:cubicBezTo>
                    <a:pt x="148" y="142"/>
                    <a:pt x="151" y="142"/>
                    <a:pt x="154" y="141"/>
                  </a:cubicBezTo>
                  <a:close/>
                  <a:moveTo>
                    <a:pt x="154" y="177"/>
                  </a:moveTo>
                  <a:cubicBezTo>
                    <a:pt x="150" y="177"/>
                    <a:pt x="147" y="178"/>
                    <a:pt x="145" y="182"/>
                  </a:cubicBezTo>
                  <a:cubicBezTo>
                    <a:pt x="142" y="187"/>
                    <a:pt x="143" y="193"/>
                    <a:pt x="148" y="196"/>
                  </a:cubicBezTo>
                  <a:cubicBezTo>
                    <a:pt x="150" y="197"/>
                    <a:pt x="152" y="198"/>
                    <a:pt x="154" y="198"/>
                  </a:cubicBezTo>
                  <a:lnTo>
                    <a:pt x="154" y="177"/>
                  </a:lnTo>
                  <a:close/>
                  <a:moveTo>
                    <a:pt x="136" y="41"/>
                  </a:moveTo>
                  <a:cubicBezTo>
                    <a:pt x="136" y="54"/>
                    <a:pt x="136" y="54"/>
                    <a:pt x="136" y="54"/>
                  </a:cubicBezTo>
                  <a:cubicBezTo>
                    <a:pt x="133" y="52"/>
                    <a:pt x="128" y="53"/>
                    <a:pt x="126" y="57"/>
                  </a:cubicBezTo>
                  <a:cubicBezTo>
                    <a:pt x="124" y="60"/>
                    <a:pt x="123" y="63"/>
                    <a:pt x="121" y="66"/>
                  </a:cubicBezTo>
                  <a:cubicBezTo>
                    <a:pt x="119" y="69"/>
                    <a:pt x="120" y="74"/>
                    <a:pt x="123" y="76"/>
                  </a:cubicBezTo>
                  <a:cubicBezTo>
                    <a:pt x="127" y="78"/>
                    <a:pt x="131" y="81"/>
                    <a:pt x="135" y="83"/>
                  </a:cubicBezTo>
                  <a:cubicBezTo>
                    <a:pt x="136" y="83"/>
                    <a:pt x="136" y="83"/>
                    <a:pt x="136" y="84"/>
                  </a:cubicBezTo>
                  <a:cubicBezTo>
                    <a:pt x="136" y="91"/>
                    <a:pt x="136" y="91"/>
                    <a:pt x="136" y="91"/>
                  </a:cubicBezTo>
                  <a:cubicBezTo>
                    <a:pt x="113" y="77"/>
                    <a:pt x="113" y="77"/>
                    <a:pt x="113" y="77"/>
                  </a:cubicBezTo>
                  <a:cubicBezTo>
                    <a:pt x="113" y="59"/>
                    <a:pt x="113" y="59"/>
                    <a:pt x="113" y="59"/>
                  </a:cubicBezTo>
                  <a:cubicBezTo>
                    <a:pt x="118" y="52"/>
                    <a:pt x="118" y="52"/>
                    <a:pt x="118" y="52"/>
                  </a:cubicBezTo>
                  <a:cubicBezTo>
                    <a:pt x="120" y="48"/>
                    <a:pt x="119" y="43"/>
                    <a:pt x="115" y="41"/>
                  </a:cubicBezTo>
                  <a:cubicBezTo>
                    <a:pt x="113" y="40"/>
                    <a:pt x="113" y="40"/>
                    <a:pt x="113" y="40"/>
                  </a:cubicBezTo>
                  <a:cubicBezTo>
                    <a:pt x="113" y="27"/>
                    <a:pt x="113" y="27"/>
                    <a:pt x="113" y="27"/>
                  </a:cubicBezTo>
                  <a:cubicBezTo>
                    <a:pt x="136" y="41"/>
                    <a:pt x="136" y="41"/>
                    <a:pt x="136" y="41"/>
                  </a:cubicBezTo>
                  <a:close/>
                  <a:moveTo>
                    <a:pt x="136" y="98"/>
                  </a:moveTo>
                  <a:cubicBezTo>
                    <a:pt x="113" y="84"/>
                    <a:pt x="113" y="84"/>
                    <a:pt x="113" y="84"/>
                  </a:cubicBezTo>
                  <a:cubicBezTo>
                    <a:pt x="113" y="91"/>
                    <a:pt x="113" y="91"/>
                    <a:pt x="113" y="91"/>
                  </a:cubicBezTo>
                  <a:cubicBezTo>
                    <a:pt x="113" y="91"/>
                    <a:pt x="114" y="92"/>
                    <a:pt x="114" y="92"/>
                  </a:cubicBezTo>
                  <a:cubicBezTo>
                    <a:pt x="118" y="94"/>
                    <a:pt x="122" y="97"/>
                    <a:pt x="126" y="99"/>
                  </a:cubicBezTo>
                  <a:cubicBezTo>
                    <a:pt x="129" y="101"/>
                    <a:pt x="130" y="106"/>
                    <a:pt x="128" y="109"/>
                  </a:cubicBezTo>
                  <a:cubicBezTo>
                    <a:pt x="126" y="112"/>
                    <a:pt x="125" y="115"/>
                    <a:pt x="123" y="118"/>
                  </a:cubicBezTo>
                  <a:cubicBezTo>
                    <a:pt x="121" y="121"/>
                    <a:pt x="117" y="123"/>
                    <a:pt x="113" y="121"/>
                  </a:cubicBezTo>
                  <a:cubicBezTo>
                    <a:pt x="113" y="162"/>
                    <a:pt x="113" y="162"/>
                    <a:pt x="113" y="162"/>
                  </a:cubicBezTo>
                  <a:cubicBezTo>
                    <a:pt x="119" y="166"/>
                    <a:pt x="119" y="166"/>
                    <a:pt x="119" y="166"/>
                  </a:cubicBezTo>
                  <a:cubicBezTo>
                    <a:pt x="136" y="176"/>
                    <a:pt x="136" y="176"/>
                    <a:pt x="136" y="176"/>
                  </a:cubicBezTo>
                  <a:cubicBezTo>
                    <a:pt x="136" y="135"/>
                    <a:pt x="136" y="135"/>
                    <a:pt x="136" y="135"/>
                  </a:cubicBezTo>
                  <a:cubicBezTo>
                    <a:pt x="134" y="134"/>
                    <a:pt x="134" y="134"/>
                    <a:pt x="134" y="134"/>
                  </a:cubicBezTo>
                  <a:cubicBezTo>
                    <a:pt x="130" y="131"/>
                    <a:pt x="129" y="127"/>
                    <a:pt x="131" y="123"/>
                  </a:cubicBezTo>
                  <a:cubicBezTo>
                    <a:pt x="136" y="115"/>
                    <a:pt x="136" y="115"/>
                    <a:pt x="136" y="115"/>
                  </a:cubicBezTo>
                  <a:lnTo>
                    <a:pt x="136" y="98"/>
                  </a:lnTo>
                  <a:close/>
                  <a:moveTo>
                    <a:pt x="113" y="27"/>
                  </a:moveTo>
                  <a:cubicBezTo>
                    <a:pt x="113" y="40"/>
                    <a:pt x="113" y="40"/>
                    <a:pt x="113" y="40"/>
                  </a:cubicBezTo>
                  <a:cubicBezTo>
                    <a:pt x="103" y="34"/>
                    <a:pt x="103" y="34"/>
                    <a:pt x="103" y="34"/>
                  </a:cubicBezTo>
                  <a:cubicBezTo>
                    <a:pt x="100" y="32"/>
                    <a:pt x="95" y="33"/>
                    <a:pt x="93" y="36"/>
                  </a:cubicBezTo>
                  <a:cubicBezTo>
                    <a:pt x="91" y="39"/>
                    <a:pt x="89" y="42"/>
                    <a:pt x="88" y="45"/>
                  </a:cubicBezTo>
                  <a:cubicBezTo>
                    <a:pt x="86" y="49"/>
                    <a:pt x="87" y="53"/>
                    <a:pt x="90" y="56"/>
                  </a:cubicBezTo>
                  <a:cubicBezTo>
                    <a:pt x="94" y="58"/>
                    <a:pt x="98" y="61"/>
                    <a:pt x="102" y="63"/>
                  </a:cubicBezTo>
                  <a:cubicBezTo>
                    <a:pt x="106" y="65"/>
                    <a:pt x="110" y="64"/>
                    <a:pt x="112" y="60"/>
                  </a:cubicBezTo>
                  <a:cubicBezTo>
                    <a:pt x="113" y="59"/>
                    <a:pt x="113" y="59"/>
                    <a:pt x="113" y="59"/>
                  </a:cubicBezTo>
                  <a:cubicBezTo>
                    <a:pt x="113" y="77"/>
                    <a:pt x="113" y="77"/>
                    <a:pt x="113" y="77"/>
                  </a:cubicBezTo>
                  <a:cubicBezTo>
                    <a:pt x="80" y="57"/>
                    <a:pt x="80" y="57"/>
                    <a:pt x="80" y="57"/>
                  </a:cubicBezTo>
                  <a:cubicBezTo>
                    <a:pt x="80" y="39"/>
                    <a:pt x="80" y="39"/>
                    <a:pt x="80" y="39"/>
                  </a:cubicBezTo>
                  <a:cubicBezTo>
                    <a:pt x="85" y="31"/>
                    <a:pt x="85" y="31"/>
                    <a:pt x="85" y="31"/>
                  </a:cubicBezTo>
                  <a:cubicBezTo>
                    <a:pt x="87" y="28"/>
                    <a:pt x="86" y="23"/>
                    <a:pt x="82" y="21"/>
                  </a:cubicBezTo>
                  <a:cubicBezTo>
                    <a:pt x="80" y="20"/>
                    <a:pt x="80" y="20"/>
                    <a:pt x="80" y="20"/>
                  </a:cubicBezTo>
                  <a:cubicBezTo>
                    <a:pt x="80" y="7"/>
                    <a:pt x="80" y="7"/>
                    <a:pt x="80" y="7"/>
                  </a:cubicBezTo>
                  <a:cubicBezTo>
                    <a:pt x="113" y="27"/>
                    <a:pt x="113" y="27"/>
                    <a:pt x="113" y="27"/>
                  </a:cubicBezTo>
                  <a:close/>
                  <a:moveTo>
                    <a:pt x="113" y="84"/>
                  </a:moveTo>
                  <a:cubicBezTo>
                    <a:pt x="80" y="63"/>
                    <a:pt x="80" y="63"/>
                    <a:pt x="80" y="63"/>
                  </a:cubicBezTo>
                  <a:cubicBezTo>
                    <a:pt x="80" y="71"/>
                    <a:pt x="80" y="71"/>
                    <a:pt x="80" y="71"/>
                  </a:cubicBezTo>
                  <a:cubicBezTo>
                    <a:pt x="80" y="71"/>
                    <a:pt x="80" y="71"/>
                    <a:pt x="80" y="71"/>
                  </a:cubicBezTo>
                  <a:cubicBezTo>
                    <a:pt x="85" y="74"/>
                    <a:pt x="89" y="76"/>
                    <a:pt x="93" y="79"/>
                  </a:cubicBezTo>
                  <a:cubicBezTo>
                    <a:pt x="96" y="81"/>
                    <a:pt x="97" y="85"/>
                    <a:pt x="95" y="89"/>
                  </a:cubicBezTo>
                  <a:cubicBezTo>
                    <a:pt x="93" y="92"/>
                    <a:pt x="91" y="95"/>
                    <a:pt x="90" y="98"/>
                  </a:cubicBezTo>
                  <a:cubicBezTo>
                    <a:pt x="88" y="101"/>
                    <a:pt x="83" y="102"/>
                    <a:pt x="80" y="101"/>
                  </a:cubicBezTo>
                  <a:cubicBezTo>
                    <a:pt x="80" y="142"/>
                    <a:pt x="80" y="142"/>
                    <a:pt x="80" y="142"/>
                  </a:cubicBezTo>
                  <a:cubicBezTo>
                    <a:pt x="104" y="157"/>
                    <a:pt x="104" y="157"/>
                    <a:pt x="104" y="157"/>
                  </a:cubicBezTo>
                  <a:cubicBezTo>
                    <a:pt x="105" y="158"/>
                    <a:pt x="107" y="158"/>
                    <a:pt x="108" y="159"/>
                  </a:cubicBezTo>
                  <a:cubicBezTo>
                    <a:pt x="113" y="162"/>
                    <a:pt x="113" y="162"/>
                    <a:pt x="113" y="162"/>
                  </a:cubicBezTo>
                  <a:cubicBezTo>
                    <a:pt x="113" y="121"/>
                    <a:pt x="113" y="121"/>
                    <a:pt x="113" y="121"/>
                  </a:cubicBezTo>
                  <a:cubicBezTo>
                    <a:pt x="113" y="121"/>
                    <a:pt x="113" y="121"/>
                    <a:pt x="113" y="121"/>
                  </a:cubicBezTo>
                  <a:cubicBezTo>
                    <a:pt x="109" y="118"/>
                    <a:pt x="105" y="116"/>
                    <a:pt x="100" y="113"/>
                  </a:cubicBezTo>
                  <a:cubicBezTo>
                    <a:pt x="97" y="111"/>
                    <a:pt x="96" y="107"/>
                    <a:pt x="98" y="103"/>
                  </a:cubicBezTo>
                  <a:cubicBezTo>
                    <a:pt x="100" y="100"/>
                    <a:pt x="102" y="97"/>
                    <a:pt x="103" y="94"/>
                  </a:cubicBezTo>
                  <a:cubicBezTo>
                    <a:pt x="106" y="91"/>
                    <a:pt x="110" y="90"/>
                    <a:pt x="113" y="91"/>
                  </a:cubicBezTo>
                  <a:lnTo>
                    <a:pt x="113" y="84"/>
                  </a:lnTo>
                  <a:close/>
                  <a:moveTo>
                    <a:pt x="61" y="118"/>
                  </a:moveTo>
                  <a:cubicBezTo>
                    <a:pt x="66" y="122"/>
                    <a:pt x="68" y="128"/>
                    <a:pt x="65" y="133"/>
                  </a:cubicBezTo>
                  <a:cubicBezTo>
                    <a:pt x="63" y="136"/>
                    <a:pt x="59" y="138"/>
                    <a:pt x="56" y="138"/>
                  </a:cubicBezTo>
                  <a:cubicBezTo>
                    <a:pt x="56" y="117"/>
                    <a:pt x="56" y="117"/>
                    <a:pt x="56" y="117"/>
                  </a:cubicBezTo>
                  <a:cubicBezTo>
                    <a:pt x="58" y="117"/>
                    <a:pt x="59" y="117"/>
                    <a:pt x="61" y="118"/>
                  </a:cubicBezTo>
                  <a:close/>
                  <a:moveTo>
                    <a:pt x="80" y="7"/>
                  </a:moveTo>
                  <a:cubicBezTo>
                    <a:pt x="80" y="20"/>
                    <a:pt x="80" y="20"/>
                    <a:pt x="80" y="20"/>
                  </a:cubicBezTo>
                  <a:cubicBezTo>
                    <a:pt x="70" y="14"/>
                    <a:pt x="70" y="14"/>
                    <a:pt x="70" y="14"/>
                  </a:cubicBezTo>
                  <a:cubicBezTo>
                    <a:pt x="67" y="12"/>
                    <a:pt x="62" y="13"/>
                    <a:pt x="60" y="16"/>
                  </a:cubicBezTo>
                  <a:cubicBezTo>
                    <a:pt x="56" y="23"/>
                    <a:pt x="56" y="23"/>
                    <a:pt x="56" y="23"/>
                  </a:cubicBezTo>
                  <a:cubicBezTo>
                    <a:pt x="56" y="5"/>
                    <a:pt x="56" y="5"/>
                    <a:pt x="56" y="5"/>
                  </a:cubicBezTo>
                  <a:cubicBezTo>
                    <a:pt x="61" y="1"/>
                    <a:pt x="69" y="0"/>
                    <a:pt x="76" y="4"/>
                  </a:cubicBezTo>
                  <a:cubicBezTo>
                    <a:pt x="80" y="7"/>
                    <a:pt x="80" y="7"/>
                    <a:pt x="80" y="7"/>
                  </a:cubicBezTo>
                  <a:close/>
                  <a:moveTo>
                    <a:pt x="80" y="39"/>
                  </a:moveTo>
                  <a:cubicBezTo>
                    <a:pt x="80" y="57"/>
                    <a:pt x="80" y="57"/>
                    <a:pt x="80" y="57"/>
                  </a:cubicBezTo>
                  <a:cubicBezTo>
                    <a:pt x="56" y="42"/>
                    <a:pt x="56" y="42"/>
                    <a:pt x="56" y="42"/>
                  </a:cubicBezTo>
                  <a:cubicBezTo>
                    <a:pt x="56" y="34"/>
                    <a:pt x="56" y="34"/>
                    <a:pt x="56" y="34"/>
                  </a:cubicBezTo>
                  <a:cubicBezTo>
                    <a:pt x="56" y="35"/>
                    <a:pt x="56" y="35"/>
                    <a:pt x="57" y="35"/>
                  </a:cubicBezTo>
                  <a:cubicBezTo>
                    <a:pt x="61" y="38"/>
                    <a:pt x="65" y="40"/>
                    <a:pt x="69" y="43"/>
                  </a:cubicBezTo>
                  <a:cubicBezTo>
                    <a:pt x="73" y="45"/>
                    <a:pt x="77" y="44"/>
                    <a:pt x="79" y="40"/>
                  </a:cubicBezTo>
                  <a:cubicBezTo>
                    <a:pt x="80" y="39"/>
                    <a:pt x="80" y="39"/>
                    <a:pt x="80" y="39"/>
                  </a:cubicBezTo>
                  <a:close/>
                  <a:moveTo>
                    <a:pt x="80" y="63"/>
                  </a:moveTo>
                  <a:cubicBezTo>
                    <a:pt x="56" y="49"/>
                    <a:pt x="56" y="49"/>
                    <a:pt x="56" y="49"/>
                  </a:cubicBezTo>
                  <a:cubicBezTo>
                    <a:pt x="56" y="56"/>
                    <a:pt x="56" y="56"/>
                    <a:pt x="56" y="56"/>
                  </a:cubicBezTo>
                  <a:cubicBezTo>
                    <a:pt x="58" y="58"/>
                    <a:pt x="58" y="58"/>
                    <a:pt x="58" y="58"/>
                  </a:cubicBezTo>
                  <a:cubicBezTo>
                    <a:pt x="62" y="60"/>
                    <a:pt x="64" y="65"/>
                    <a:pt x="62" y="69"/>
                  </a:cubicBezTo>
                  <a:cubicBezTo>
                    <a:pt x="56" y="79"/>
                    <a:pt x="56" y="79"/>
                    <a:pt x="56" y="79"/>
                  </a:cubicBezTo>
                  <a:cubicBezTo>
                    <a:pt x="56" y="112"/>
                    <a:pt x="56" y="112"/>
                    <a:pt x="56" y="112"/>
                  </a:cubicBezTo>
                  <a:cubicBezTo>
                    <a:pt x="59" y="112"/>
                    <a:pt x="61" y="113"/>
                    <a:pt x="64" y="114"/>
                  </a:cubicBezTo>
                  <a:cubicBezTo>
                    <a:pt x="71" y="119"/>
                    <a:pt x="73" y="128"/>
                    <a:pt x="69" y="136"/>
                  </a:cubicBezTo>
                  <a:cubicBezTo>
                    <a:pt x="80" y="142"/>
                    <a:pt x="80" y="142"/>
                    <a:pt x="80" y="142"/>
                  </a:cubicBezTo>
                  <a:cubicBezTo>
                    <a:pt x="80" y="101"/>
                    <a:pt x="80" y="101"/>
                    <a:pt x="80" y="101"/>
                  </a:cubicBezTo>
                  <a:cubicBezTo>
                    <a:pt x="80" y="101"/>
                    <a:pt x="80" y="100"/>
                    <a:pt x="79" y="100"/>
                  </a:cubicBezTo>
                  <a:cubicBezTo>
                    <a:pt x="75" y="98"/>
                    <a:pt x="71" y="95"/>
                    <a:pt x="67" y="93"/>
                  </a:cubicBezTo>
                  <a:cubicBezTo>
                    <a:pt x="64" y="91"/>
                    <a:pt x="63" y="86"/>
                    <a:pt x="65" y="83"/>
                  </a:cubicBezTo>
                  <a:cubicBezTo>
                    <a:pt x="67" y="80"/>
                    <a:pt x="68" y="77"/>
                    <a:pt x="70" y="74"/>
                  </a:cubicBezTo>
                  <a:cubicBezTo>
                    <a:pt x="72" y="71"/>
                    <a:pt x="77" y="69"/>
                    <a:pt x="80" y="71"/>
                  </a:cubicBezTo>
                  <a:lnTo>
                    <a:pt x="80" y="63"/>
                  </a:lnTo>
                  <a:close/>
                  <a:moveTo>
                    <a:pt x="56" y="138"/>
                  </a:moveTo>
                  <a:cubicBezTo>
                    <a:pt x="54" y="138"/>
                    <a:pt x="52" y="137"/>
                    <a:pt x="50" y="136"/>
                  </a:cubicBezTo>
                  <a:cubicBezTo>
                    <a:pt x="45" y="133"/>
                    <a:pt x="44" y="127"/>
                    <a:pt x="47" y="122"/>
                  </a:cubicBezTo>
                  <a:cubicBezTo>
                    <a:pt x="49" y="119"/>
                    <a:pt x="52" y="117"/>
                    <a:pt x="56" y="117"/>
                  </a:cubicBezTo>
                  <a:cubicBezTo>
                    <a:pt x="56" y="138"/>
                    <a:pt x="56" y="138"/>
                    <a:pt x="56" y="138"/>
                  </a:cubicBezTo>
                  <a:close/>
                  <a:moveTo>
                    <a:pt x="56" y="5"/>
                  </a:moveTo>
                  <a:cubicBezTo>
                    <a:pt x="56" y="23"/>
                    <a:pt x="56" y="23"/>
                    <a:pt x="56" y="23"/>
                  </a:cubicBezTo>
                  <a:cubicBezTo>
                    <a:pt x="54" y="25"/>
                    <a:pt x="54" y="25"/>
                    <a:pt x="54" y="25"/>
                  </a:cubicBezTo>
                  <a:cubicBezTo>
                    <a:pt x="53" y="28"/>
                    <a:pt x="53" y="32"/>
                    <a:pt x="56" y="34"/>
                  </a:cubicBezTo>
                  <a:cubicBezTo>
                    <a:pt x="56" y="42"/>
                    <a:pt x="56" y="42"/>
                    <a:pt x="56" y="42"/>
                  </a:cubicBezTo>
                  <a:cubicBezTo>
                    <a:pt x="47" y="37"/>
                    <a:pt x="47" y="37"/>
                    <a:pt x="47" y="37"/>
                  </a:cubicBezTo>
                  <a:cubicBezTo>
                    <a:pt x="46" y="39"/>
                    <a:pt x="45" y="40"/>
                    <a:pt x="44" y="42"/>
                  </a:cubicBezTo>
                  <a:cubicBezTo>
                    <a:pt x="56" y="49"/>
                    <a:pt x="56" y="49"/>
                    <a:pt x="56" y="49"/>
                  </a:cubicBezTo>
                  <a:cubicBezTo>
                    <a:pt x="56" y="56"/>
                    <a:pt x="56" y="56"/>
                    <a:pt x="56" y="56"/>
                  </a:cubicBezTo>
                  <a:cubicBezTo>
                    <a:pt x="48" y="52"/>
                    <a:pt x="48" y="52"/>
                    <a:pt x="48" y="52"/>
                  </a:cubicBezTo>
                  <a:cubicBezTo>
                    <a:pt x="44" y="49"/>
                    <a:pt x="39" y="50"/>
                    <a:pt x="37" y="54"/>
                  </a:cubicBezTo>
                  <a:cubicBezTo>
                    <a:pt x="28" y="69"/>
                    <a:pt x="18" y="84"/>
                    <a:pt x="9" y="99"/>
                  </a:cubicBezTo>
                  <a:cubicBezTo>
                    <a:pt x="6" y="97"/>
                    <a:pt x="3" y="95"/>
                    <a:pt x="0" y="94"/>
                  </a:cubicBezTo>
                  <a:cubicBezTo>
                    <a:pt x="18" y="65"/>
                    <a:pt x="35" y="37"/>
                    <a:pt x="52" y="9"/>
                  </a:cubicBezTo>
                  <a:cubicBezTo>
                    <a:pt x="53" y="7"/>
                    <a:pt x="54" y="6"/>
                    <a:pt x="56" y="5"/>
                  </a:cubicBezTo>
                  <a:close/>
                  <a:moveTo>
                    <a:pt x="56" y="79"/>
                  </a:moveTo>
                  <a:cubicBezTo>
                    <a:pt x="34" y="114"/>
                    <a:pt x="34" y="114"/>
                    <a:pt x="34" y="114"/>
                  </a:cubicBezTo>
                  <a:cubicBezTo>
                    <a:pt x="37" y="116"/>
                    <a:pt x="40" y="118"/>
                    <a:pt x="42" y="119"/>
                  </a:cubicBezTo>
                  <a:cubicBezTo>
                    <a:pt x="45" y="115"/>
                    <a:pt x="51" y="112"/>
                    <a:pt x="56" y="112"/>
                  </a:cubicBezTo>
                  <a:lnTo>
                    <a:pt x="56" y="79"/>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2" name="îsļîḓe">
              <a:extLst>
                <a:ext uri="{FF2B5EF4-FFF2-40B4-BE49-F238E27FC236}">
                  <a16:creationId xmlns:a16="http://schemas.microsoft.com/office/drawing/2014/main" id="{4FC67555-2BA4-4859-B72C-0CF76A4BCEFD}"/>
                </a:ext>
              </a:extLst>
            </p:cNvPr>
            <p:cNvSpPr/>
            <p:nvPr/>
          </p:nvSpPr>
          <p:spPr bwMode="auto">
            <a:xfrm flipH="1">
              <a:off x="4093122" y="2428851"/>
              <a:ext cx="192474" cy="313721"/>
            </a:xfrm>
            <a:custGeom>
              <a:avLst/>
              <a:gdLst>
                <a:gd name="T0" fmla="*/ 96 w 115"/>
                <a:gd name="T1" fmla="*/ 192 h 192"/>
                <a:gd name="T2" fmla="*/ 110 w 115"/>
                <a:gd name="T3" fmla="*/ 187 h 192"/>
                <a:gd name="T4" fmla="*/ 84 w 115"/>
                <a:gd name="T5" fmla="*/ 107 h 192"/>
                <a:gd name="T6" fmla="*/ 92 w 115"/>
                <a:gd name="T7" fmla="*/ 106 h 192"/>
                <a:gd name="T8" fmla="*/ 108 w 115"/>
                <a:gd name="T9" fmla="*/ 80 h 192"/>
                <a:gd name="T10" fmla="*/ 98 w 115"/>
                <a:gd name="T11" fmla="*/ 66 h 192"/>
                <a:gd name="T12" fmla="*/ 112 w 115"/>
                <a:gd name="T13" fmla="*/ 33 h 192"/>
                <a:gd name="T14" fmla="*/ 75 w 115"/>
                <a:gd name="T15" fmla="*/ 12 h 192"/>
                <a:gd name="T16" fmla="*/ 66 w 115"/>
                <a:gd name="T17" fmla="*/ 16 h 192"/>
                <a:gd name="T18" fmla="*/ 34 w 115"/>
                <a:gd name="T19" fmla="*/ 4 h 192"/>
                <a:gd name="T20" fmla="*/ 13 w 115"/>
                <a:gd name="T21" fmla="*/ 40 h 192"/>
                <a:gd name="T22" fmla="*/ 16 w 115"/>
                <a:gd name="T23" fmla="*/ 48 h 192"/>
                <a:gd name="T24" fmla="*/ 3 w 115"/>
                <a:gd name="T25" fmla="*/ 74 h 192"/>
                <a:gd name="T26" fmla="*/ 24 w 115"/>
                <a:gd name="T27" fmla="*/ 91 h 192"/>
                <a:gd name="T28" fmla="*/ 21 w 115"/>
                <a:gd name="T29" fmla="*/ 112 h 192"/>
                <a:gd name="T30" fmla="*/ 57 w 115"/>
                <a:gd name="T31" fmla="*/ 133 h 192"/>
                <a:gd name="T32" fmla="*/ 73 w 115"/>
                <a:gd name="T33" fmla="*/ 122 h 192"/>
                <a:gd name="T34" fmla="*/ 96 w 115"/>
                <a:gd name="T3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92">
                  <a:moveTo>
                    <a:pt x="96" y="192"/>
                  </a:moveTo>
                  <a:cubicBezTo>
                    <a:pt x="101" y="190"/>
                    <a:pt x="106" y="189"/>
                    <a:pt x="110" y="187"/>
                  </a:cubicBezTo>
                  <a:cubicBezTo>
                    <a:pt x="84" y="107"/>
                    <a:pt x="84" y="107"/>
                    <a:pt x="84" y="107"/>
                  </a:cubicBezTo>
                  <a:cubicBezTo>
                    <a:pt x="87" y="107"/>
                    <a:pt x="90" y="107"/>
                    <a:pt x="92" y="106"/>
                  </a:cubicBezTo>
                  <a:cubicBezTo>
                    <a:pt x="104" y="103"/>
                    <a:pt x="111" y="91"/>
                    <a:pt x="108" y="80"/>
                  </a:cubicBezTo>
                  <a:cubicBezTo>
                    <a:pt x="106" y="74"/>
                    <a:pt x="103" y="69"/>
                    <a:pt x="98" y="66"/>
                  </a:cubicBezTo>
                  <a:cubicBezTo>
                    <a:pt x="109" y="60"/>
                    <a:pt x="115" y="46"/>
                    <a:pt x="112" y="33"/>
                  </a:cubicBezTo>
                  <a:cubicBezTo>
                    <a:pt x="107" y="17"/>
                    <a:pt x="91" y="8"/>
                    <a:pt x="75" y="12"/>
                  </a:cubicBezTo>
                  <a:cubicBezTo>
                    <a:pt x="72" y="13"/>
                    <a:pt x="69" y="15"/>
                    <a:pt x="66" y="16"/>
                  </a:cubicBezTo>
                  <a:cubicBezTo>
                    <a:pt x="59" y="6"/>
                    <a:pt x="46" y="0"/>
                    <a:pt x="34" y="4"/>
                  </a:cubicBezTo>
                  <a:cubicBezTo>
                    <a:pt x="18" y="8"/>
                    <a:pt x="8" y="24"/>
                    <a:pt x="13" y="40"/>
                  </a:cubicBezTo>
                  <a:cubicBezTo>
                    <a:pt x="13" y="43"/>
                    <a:pt x="15" y="46"/>
                    <a:pt x="16" y="48"/>
                  </a:cubicBezTo>
                  <a:cubicBezTo>
                    <a:pt x="6" y="52"/>
                    <a:pt x="0" y="63"/>
                    <a:pt x="3" y="74"/>
                  </a:cubicBezTo>
                  <a:cubicBezTo>
                    <a:pt x="5" y="84"/>
                    <a:pt x="14" y="90"/>
                    <a:pt x="24" y="91"/>
                  </a:cubicBezTo>
                  <a:cubicBezTo>
                    <a:pt x="20" y="97"/>
                    <a:pt x="19" y="105"/>
                    <a:pt x="21" y="112"/>
                  </a:cubicBezTo>
                  <a:cubicBezTo>
                    <a:pt x="25" y="128"/>
                    <a:pt x="42" y="137"/>
                    <a:pt x="57" y="133"/>
                  </a:cubicBezTo>
                  <a:cubicBezTo>
                    <a:pt x="64" y="131"/>
                    <a:pt x="70" y="127"/>
                    <a:pt x="73" y="122"/>
                  </a:cubicBezTo>
                  <a:lnTo>
                    <a:pt x="96" y="192"/>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3" name="iśľíḑé">
              <a:extLst>
                <a:ext uri="{FF2B5EF4-FFF2-40B4-BE49-F238E27FC236}">
                  <a16:creationId xmlns:a16="http://schemas.microsoft.com/office/drawing/2014/main" id="{BE41C884-FE54-4FEE-8BE3-D8003A05F68B}"/>
                </a:ext>
              </a:extLst>
            </p:cNvPr>
            <p:cNvSpPr/>
            <p:nvPr/>
          </p:nvSpPr>
          <p:spPr bwMode="auto">
            <a:xfrm flipH="1">
              <a:off x="2687545" y="2398392"/>
              <a:ext cx="212241" cy="327935"/>
            </a:xfrm>
            <a:custGeom>
              <a:avLst/>
              <a:gdLst>
                <a:gd name="T0" fmla="*/ 29 w 127"/>
                <a:gd name="T1" fmla="*/ 198 h 201"/>
                <a:gd name="T2" fmla="*/ 44 w 127"/>
                <a:gd name="T3" fmla="*/ 201 h 201"/>
                <a:gd name="T4" fmla="*/ 61 w 127"/>
                <a:gd name="T5" fmla="*/ 119 h 201"/>
                <a:gd name="T6" fmla="*/ 69 w 127"/>
                <a:gd name="T7" fmla="*/ 123 h 201"/>
                <a:gd name="T8" fmla="*/ 96 w 127"/>
                <a:gd name="T9" fmla="*/ 107 h 201"/>
                <a:gd name="T10" fmla="*/ 94 w 127"/>
                <a:gd name="T11" fmla="*/ 91 h 201"/>
                <a:gd name="T12" fmla="*/ 122 w 127"/>
                <a:gd name="T13" fmla="*/ 69 h 201"/>
                <a:gd name="T14" fmla="*/ 102 w 127"/>
                <a:gd name="T15" fmla="*/ 33 h 201"/>
                <a:gd name="T16" fmla="*/ 92 w 127"/>
                <a:gd name="T17" fmla="*/ 32 h 201"/>
                <a:gd name="T18" fmla="*/ 70 w 127"/>
                <a:gd name="T19" fmla="*/ 5 h 201"/>
                <a:gd name="T20" fmla="*/ 33 w 127"/>
                <a:gd name="T21" fmla="*/ 25 h 201"/>
                <a:gd name="T22" fmla="*/ 32 w 127"/>
                <a:gd name="T23" fmla="*/ 34 h 201"/>
                <a:gd name="T24" fmla="*/ 8 w 127"/>
                <a:gd name="T25" fmla="*/ 50 h 201"/>
                <a:gd name="T26" fmla="*/ 17 w 127"/>
                <a:gd name="T27" fmla="*/ 74 h 201"/>
                <a:gd name="T28" fmla="*/ 5 w 127"/>
                <a:gd name="T29" fmla="*/ 92 h 201"/>
                <a:gd name="T30" fmla="*/ 25 w 127"/>
                <a:gd name="T31" fmla="*/ 128 h 201"/>
                <a:gd name="T32" fmla="*/ 44 w 127"/>
                <a:gd name="T33" fmla="*/ 127 h 201"/>
                <a:gd name="T34" fmla="*/ 29 w 127"/>
                <a:gd name="T3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201">
                  <a:moveTo>
                    <a:pt x="29" y="198"/>
                  </a:moveTo>
                  <a:cubicBezTo>
                    <a:pt x="34" y="199"/>
                    <a:pt x="39" y="200"/>
                    <a:pt x="44" y="201"/>
                  </a:cubicBezTo>
                  <a:cubicBezTo>
                    <a:pt x="61" y="119"/>
                    <a:pt x="61" y="119"/>
                    <a:pt x="61" y="119"/>
                  </a:cubicBezTo>
                  <a:cubicBezTo>
                    <a:pt x="63" y="121"/>
                    <a:pt x="66" y="122"/>
                    <a:pt x="69" y="123"/>
                  </a:cubicBezTo>
                  <a:cubicBezTo>
                    <a:pt x="81" y="126"/>
                    <a:pt x="93" y="119"/>
                    <a:pt x="96" y="107"/>
                  </a:cubicBezTo>
                  <a:cubicBezTo>
                    <a:pt x="97" y="102"/>
                    <a:pt x="96" y="96"/>
                    <a:pt x="94" y="91"/>
                  </a:cubicBezTo>
                  <a:cubicBezTo>
                    <a:pt x="107" y="91"/>
                    <a:pt x="119" y="82"/>
                    <a:pt x="122" y="69"/>
                  </a:cubicBezTo>
                  <a:cubicBezTo>
                    <a:pt x="127" y="53"/>
                    <a:pt x="117" y="37"/>
                    <a:pt x="102" y="33"/>
                  </a:cubicBezTo>
                  <a:cubicBezTo>
                    <a:pt x="98" y="32"/>
                    <a:pt x="95" y="32"/>
                    <a:pt x="92" y="32"/>
                  </a:cubicBezTo>
                  <a:cubicBezTo>
                    <a:pt x="91" y="19"/>
                    <a:pt x="82" y="8"/>
                    <a:pt x="70" y="5"/>
                  </a:cubicBezTo>
                  <a:cubicBezTo>
                    <a:pt x="54" y="0"/>
                    <a:pt x="38" y="10"/>
                    <a:pt x="33" y="25"/>
                  </a:cubicBezTo>
                  <a:cubicBezTo>
                    <a:pt x="33" y="28"/>
                    <a:pt x="32" y="31"/>
                    <a:pt x="32" y="34"/>
                  </a:cubicBezTo>
                  <a:cubicBezTo>
                    <a:pt x="21" y="32"/>
                    <a:pt x="11" y="39"/>
                    <a:pt x="8" y="50"/>
                  </a:cubicBezTo>
                  <a:cubicBezTo>
                    <a:pt x="5" y="60"/>
                    <a:pt x="9" y="70"/>
                    <a:pt x="17" y="74"/>
                  </a:cubicBezTo>
                  <a:cubicBezTo>
                    <a:pt x="11" y="78"/>
                    <a:pt x="7" y="84"/>
                    <a:pt x="5" y="92"/>
                  </a:cubicBezTo>
                  <a:cubicBezTo>
                    <a:pt x="0" y="108"/>
                    <a:pt x="10" y="124"/>
                    <a:pt x="25" y="128"/>
                  </a:cubicBezTo>
                  <a:cubicBezTo>
                    <a:pt x="32" y="130"/>
                    <a:pt x="39" y="129"/>
                    <a:pt x="44" y="127"/>
                  </a:cubicBezTo>
                  <a:lnTo>
                    <a:pt x="29" y="198"/>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4" name="î$ļîďé">
              <a:extLst>
                <a:ext uri="{FF2B5EF4-FFF2-40B4-BE49-F238E27FC236}">
                  <a16:creationId xmlns:a16="http://schemas.microsoft.com/office/drawing/2014/main" id="{007815A0-BA5C-4885-9F59-BA8B155D3F3A}"/>
                </a:ext>
              </a:extLst>
            </p:cNvPr>
            <p:cNvSpPr/>
            <p:nvPr/>
          </p:nvSpPr>
          <p:spPr bwMode="auto">
            <a:xfrm flipH="1">
              <a:off x="4364667" y="2417683"/>
              <a:ext cx="781339" cy="764504"/>
            </a:xfrm>
            <a:custGeom>
              <a:avLst/>
              <a:gdLst>
                <a:gd name="T0" fmla="*/ 389 w 467"/>
                <a:gd name="T1" fmla="*/ 390 h 468"/>
                <a:gd name="T2" fmla="*/ 404 w 467"/>
                <a:gd name="T3" fmla="*/ 326 h 468"/>
                <a:gd name="T4" fmla="*/ 376 w 467"/>
                <a:gd name="T5" fmla="*/ 333 h 468"/>
                <a:gd name="T6" fmla="*/ 375 w 467"/>
                <a:gd name="T7" fmla="*/ 404 h 468"/>
                <a:gd name="T8" fmla="*/ 367 w 467"/>
                <a:gd name="T9" fmla="*/ 362 h 468"/>
                <a:gd name="T10" fmla="*/ 361 w 467"/>
                <a:gd name="T11" fmla="*/ 369 h 468"/>
                <a:gd name="T12" fmla="*/ 358 w 467"/>
                <a:gd name="T13" fmla="*/ 350 h 468"/>
                <a:gd name="T14" fmla="*/ 353 w 467"/>
                <a:gd name="T15" fmla="*/ 305 h 468"/>
                <a:gd name="T16" fmla="*/ 347 w 467"/>
                <a:gd name="T17" fmla="*/ 312 h 468"/>
                <a:gd name="T18" fmla="*/ 352 w 467"/>
                <a:gd name="T19" fmla="*/ 356 h 468"/>
                <a:gd name="T20" fmla="*/ 331 w 467"/>
                <a:gd name="T21" fmla="*/ 327 h 468"/>
                <a:gd name="T22" fmla="*/ 317 w 467"/>
                <a:gd name="T23" fmla="*/ 271 h 468"/>
                <a:gd name="T24" fmla="*/ 317 w 467"/>
                <a:gd name="T25" fmla="*/ 412 h 468"/>
                <a:gd name="T26" fmla="*/ 308 w 467"/>
                <a:gd name="T27" fmla="*/ 258 h 468"/>
                <a:gd name="T28" fmla="*/ 301 w 467"/>
                <a:gd name="T29" fmla="*/ 265 h 468"/>
                <a:gd name="T30" fmla="*/ 295 w 467"/>
                <a:gd name="T31" fmla="*/ 341 h 468"/>
                <a:gd name="T32" fmla="*/ 290 w 467"/>
                <a:gd name="T33" fmla="*/ 347 h 468"/>
                <a:gd name="T34" fmla="*/ 287 w 467"/>
                <a:gd name="T35" fmla="*/ 208 h 468"/>
                <a:gd name="T36" fmla="*/ 281 w 467"/>
                <a:gd name="T37" fmla="*/ 235 h 468"/>
                <a:gd name="T38" fmla="*/ 274 w 467"/>
                <a:gd name="T39" fmla="*/ 313 h 468"/>
                <a:gd name="T40" fmla="*/ 264 w 467"/>
                <a:gd name="T41" fmla="*/ 230 h 468"/>
                <a:gd name="T42" fmla="*/ 246 w 467"/>
                <a:gd name="T43" fmla="*/ 249 h 468"/>
                <a:gd name="T44" fmla="*/ 268 w 467"/>
                <a:gd name="T45" fmla="*/ 319 h 468"/>
                <a:gd name="T46" fmla="*/ 258 w 467"/>
                <a:gd name="T47" fmla="*/ 307 h 468"/>
                <a:gd name="T48" fmla="*/ 233 w 467"/>
                <a:gd name="T49" fmla="*/ 289 h 468"/>
                <a:gd name="T50" fmla="*/ 237 w 467"/>
                <a:gd name="T51" fmla="*/ 187 h 468"/>
                <a:gd name="T52" fmla="*/ 236 w 467"/>
                <a:gd name="T53" fmla="*/ 280 h 468"/>
                <a:gd name="T54" fmla="*/ 233 w 467"/>
                <a:gd name="T55" fmla="*/ 141 h 468"/>
                <a:gd name="T56" fmla="*/ 216 w 467"/>
                <a:gd name="T57" fmla="*/ 136 h 468"/>
                <a:gd name="T58" fmla="*/ 221 w 467"/>
                <a:gd name="T59" fmla="*/ 223 h 468"/>
                <a:gd name="T60" fmla="*/ 211 w 467"/>
                <a:gd name="T61" fmla="*/ 213 h 468"/>
                <a:gd name="T62" fmla="*/ 230 w 467"/>
                <a:gd name="T63" fmla="*/ 194 h 468"/>
                <a:gd name="T64" fmla="*/ 227 w 467"/>
                <a:gd name="T65" fmla="*/ 267 h 468"/>
                <a:gd name="T66" fmla="*/ 220 w 467"/>
                <a:gd name="T67" fmla="*/ 274 h 468"/>
                <a:gd name="T68" fmla="*/ 198 w 467"/>
                <a:gd name="T69" fmla="*/ 105 h 468"/>
                <a:gd name="T70" fmla="*/ 205 w 467"/>
                <a:gd name="T71" fmla="*/ 240 h 468"/>
                <a:gd name="T72" fmla="*/ 198 w 467"/>
                <a:gd name="T73" fmla="*/ 247 h 468"/>
                <a:gd name="T74" fmla="*/ 191 w 467"/>
                <a:gd name="T75" fmla="*/ 183 h 468"/>
                <a:gd name="T76" fmla="*/ 197 w 467"/>
                <a:gd name="T77" fmla="*/ 248 h 468"/>
                <a:gd name="T78" fmla="*/ 185 w 467"/>
                <a:gd name="T79" fmla="*/ 189 h 468"/>
                <a:gd name="T80" fmla="*/ 175 w 467"/>
                <a:gd name="T81" fmla="*/ 304 h 468"/>
                <a:gd name="T82" fmla="*/ 168 w 467"/>
                <a:gd name="T83" fmla="*/ 113 h 468"/>
                <a:gd name="T84" fmla="*/ 161 w 467"/>
                <a:gd name="T85" fmla="*/ 120 h 468"/>
                <a:gd name="T86" fmla="*/ 155 w 467"/>
                <a:gd name="T87" fmla="*/ 197 h 468"/>
                <a:gd name="T88" fmla="*/ 143 w 467"/>
                <a:gd name="T89" fmla="*/ 88 h 468"/>
                <a:gd name="T90" fmla="*/ 152 w 467"/>
                <a:gd name="T91" fmla="*/ 187 h 468"/>
                <a:gd name="T92" fmla="*/ 145 w 467"/>
                <a:gd name="T93" fmla="*/ 136 h 468"/>
                <a:gd name="T94" fmla="*/ 127 w 467"/>
                <a:gd name="T95" fmla="*/ 225 h 468"/>
                <a:gd name="T96" fmla="*/ 133 w 467"/>
                <a:gd name="T97" fmla="*/ 98 h 468"/>
                <a:gd name="T98" fmla="*/ 127 w 467"/>
                <a:gd name="T99" fmla="*/ 46 h 468"/>
                <a:gd name="T100" fmla="*/ 128 w 467"/>
                <a:gd name="T101" fmla="*/ 174 h 468"/>
                <a:gd name="T102" fmla="*/ 121 w 467"/>
                <a:gd name="T103" fmla="*/ 110 h 468"/>
                <a:gd name="T104" fmla="*/ 126 w 467"/>
                <a:gd name="T105" fmla="*/ 84 h 468"/>
                <a:gd name="T106" fmla="*/ 117 w 467"/>
                <a:gd name="T107" fmla="*/ 217 h 468"/>
                <a:gd name="T108" fmla="*/ 114 w 467"/>
                <a:gd name="T109" fmla="*/ 118 h 468"/>
                <a:gd name="T110" fmla="*/ 109 w 467"/>
                <a:gd name="T111" fmla="*/ 101 h 468"/>
                <a:gd name="T112" fmla="*/ 103 w 467"/>
                <a:gd name="T113" fmla="*/ 57 h 468"/>
                <a:gd name="T114" fmla="*/ 101 w 467"/>
                <a:gd name="T115" fmla="*/ 109 h 468"/>
                <a:gd name="T116" fmla="*/ 85 w 467"/>
                <a:gd name="T117" fmla="*/ 75 h 468"/>
                <a:gd name="T118" fmla="*/ 84 w 467"/>
                <a:gd name="T119" fmla="*/ 126 h 468"/>
                <a:gd name="T120" fmla="*/ 80 w 467"/>
                <a:gd name="T121" fmla="*/ 81 h 468"/>
                <a:gd name="T122" fmla="*/ 60 w 467"/>
                <a:gd name="T123" fmla="*/ 99 h 468"/>
                <a:gd name="T124" fmla="*/ 54 w 467"/>
                <a:gd name="T125" fmla="*/ 1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7" h="468">
                  <a:moveTo>
                    <a:pt x="467" y="341"/>
                  </a:moveTo>
                  <a:cubicBezTo>
                    <a:pt x="421" y="386"/>
                    <a:pt x="421" y="386"/>
                    <a:pt x="421" y="386"/>
                  </a:cubicBezTo>
                  <a:cubicBezTo>
                    <a:pt x="421" y="343"/>
                    <a:pt x="421" y="343"/>
                    <a:pt x="421" y="343"/>
                  </a:cubicBezTo>
                  <a:cubicBezTo>
                    <a:pt x="429" y="351"/>
                    <a:pt x="429" y="351"/>
                    <a:pt x="429" y="351"/>
                  </a:cubicBezTo>
                  <a:cubicBezTo>
                    <a:pt x="432" y="347"/>
                    <a:pt x="435" y="344"/>
                    <a:pt x="439" y="341"/>
                  </a:cubicBezTo>
                  <a:cubicBezTo>
                    <a:pt x="421" y="323"/>
                    <a:pt x="421" y="323"/>
                    <a:pt x="421" y="323"/>
                  </a:cubicBezTo>
                  <a:cubicBezTo>
                    <a:pt x="421" y="295"/>
                    <a:pt x="421" y="295"/>
                    <a:pt x="421" y="295"/>
                  </a:cubicBezTo>
                  <a:lnTo>
                    <a:pt x="467" y="341"/>
                  </a:lnTo>
                  <a:close/>
                  <a:moveTo>
                    <a:pt x="421" y="386"/>
                  </a:moveTo>
                  <a:cubicBezTo>
                    <a:pt x="410" y="397"/>
                    <a:pt x="410" y="397"/>
                    <a:pt x="410" y="397"/>
                  </a:cubicBezTo>
                  <a:cubicBezTo>
                    <a:pt x="410" y="369"/>
                    <a:pt x="410" y="369"/>
                    <a:pt x="410" y="369"/>
                  </a:cubicBezTo>
                  <a:cubicBezTo>
                    <a:pt x="416" y="363"/>
                    <a:pt x="416" y="363"/>
                    <a:pt x="416" y="363"/>
                  </a:cubicBezTo>
                  <a:cubicBezTo>
                    <a:pt x="410" y="357"/>
                    <a:pt x="410" y="357"/>
                    <a:pt x="410" y="357"/>
                  </a:cubicBezTo>
                  <a:cubicBezTo>
                    <a:pt x="410" y="332"/>
                    <a:pt x="410" y="332"/>
                    <a:pt x="410" y="332"/>
                  </a:cubicBezTo>
                  <a:cubicBezTo>
                    <a:pt x="421" y="343"/>
                    <a:pt x="421" y="343"/>
                    <a:pt x="421" y="343"/>
                  </a:cubicBezTo>
                  <a:cubicBezTo>
                    <a:pt x="421" y="386"/>
                    <a:pt x="421" y="386"/>
                    <a:pt x="421" y="386"/>
                  </a:cubicBezTo>
                  <a:close/>
                  <a:moveTo>
                    <a:pt x="410" y="283"/>
                  </a:moveTo>
                  <a:cubicBezTo>
                    <a:pt x="421" y="295"/>
                    <a:pt x="421" y="295"/>
                    <a:pt x="421" y="295"/>
                  </a:cubicBezTo>
                  <a:cubicBezTo>
                    <a:pt x="421" y="323"/>
                    <a:pt x="421" y="323"/>
                    <a:pt x="421" y="323"/>
                  </a:cubicBezTo>
                  <a:cubicBezTo>
                    <a:pt x="414" y="316"/>
                    <a:pt x="414" y="316"/>
                    <a:pt x="414" y="316"/>
                  </a:cubicBezTo>
                  <a:cubicBezTo>
                    <a:pt x="410" y="320"/>
                    <a:pt x="410" y="320"/>
                    <a:pt x="410" y="320"/>
                  </a:cubicBezTo>
                  <a:lnTo>
                    <a:pt x="410" y="283"/>
                  </a:lnTo>
                  <a:close/>
                  <a:moveTo>
                    <a:pt x="410" y="397"/>
                  </a:moveTo>
                  <a:cubicBezTo>
                    <a:pt x="386" y="421"/>
                    <a:pt x="386" y="421"/>
                    <a:pt x="386" y="421"/>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7" y="393"/>
                    <a:pt x="387" y="393"/>
                    <a:pt x="387" y="393"/>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8" y="392"/>
                    <a:pt x="388" y="392"/>
                    <a:pt x="388" y="392"/>
                  </a:cubicBezTo>
                  <a:cubicBezTo>
                    <a:pt x="388" y="392"/>
                    <a:pt x="388" y="392"/>
                    <a:pt x="388" y="392"/>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90" y="390"/>
                    <a:pt x="390" y="390"/>
                    <a:pt x="390" y="390"/>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1" y="389"/>
                    <a:pt x="391" y="389"/>
                    <a:pt x="391" y="389"/>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2" y="388"/>
                    <a:pt x="392" y="388"/>
                    <a:pt x="392" y="388"/>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3" y="387"/>
                    <a:pt x="393" y="387"/>
                    <a:pt x="393" y="387"/>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4" y="385"/>
                    <a:pt x="394" y="385"/>
                    <a:pt x="394" y="385"/>
                  </a:cubicBezTo>
                  <a:cubicBezTo>
                    <a:pt x="386" y="378"/>
                    <a:pt x="386" y="378"/>
                    <a:pt x="386" y="378"/>
                  </a:cubicBezTo>
                  <a:cubicBezTo>
                    <a:pt x="386" y="353"/>
                    <a:pt x="386" y="353"/>
                    <a:pt x="386" y="353"/>
                  </a:cubicBezTo>
                  <a:cubicBezTo>
                    <a:pt x="406" y="373"/>
                    <a:pt x="406" y="373"/>
                    <a:pt x="406" y="373"/>
                  </a:cubicBezTo>
                  <a:cubicBezTo>
                    <a:pt x="410" y="369"/>
                    <a:pt x="410" y="369"/>
                    <a:pt x="410" y="369"/>
                  </a:cubicBezTo>
                  <a:cubicBezTo>
                    <a:pt x="410" y="397"/>
                    <a:pt x="410" y="397"/>
                    <a:pt x="410" y="397"/>
                  </a:cubicBezTo>
                  <a:close/>
                  <a:moveTo>
                    <a:pt x="386" y="259"/>
                  </a:moveTo>
                  <a:cubicBezTo>
                    <a:pt x="386" y="287"/>
                    <a:pt x="386" y="287"/>
                    <a:pt x="386" y="287"/>
                  </a:cubicBezTo>
                  <a:cubicBezTo>
                    <a:pt x="403" y="305"/>
                    <a:pt x="403" y="305"/>
                    <a:pt x="403" y="305"/>
                  </a:cubicBezTo>
                  <a:cubicBezTo>
                    <a:pt x="400" y="308"/>
                    <a:pt x="397" y="312"/>
                    <a:pt x="393" y="315"/>
                  </a:cubicBezTo>
                  <a:cubicBezTo>
                    <a:pt x="386" y="308"/>
                    <a:pt x="386" y="308"/>
                    <a:pt x="386" y="308"/>
                  </a:cubicBezTo>
                  <a:cubicBezTo>
                    <a:pt x="386" y="344"/>
                    <a:pt x="386" y="344"/>
                    <a:pt x="386" y="344"/>
                  </a:cubicBezTo>
                  <a:cubicBezTo>
                    <a:pt x="392" y="338"/>
                    <a:pt x="392" y="338"/>
                    <a:pt x="392" y="338"/>
                  </a:cubicBezTo>
                  <a:cubicBezTo>
                    <a:pt x="410" y="357"/>
                    <a:pt x="410" y="357"/>
                    <a:pt x="410" y="357"/>
                  </a:cubicBezTo>
                  <a:cubicBezTo>
                    <a:pt x="410" y="332"/>
                    <a:pt x="410" y="332"/>
                    <a:pt x="410" y="332"/>
                  </a:cubicBezTo>
                  <a:cubicBezTo>
                    <a:pt x="404" y="326"/>
                    <a:pt x="404" y="326"/>
                    <a:pt x="404" y="326"/>
                  </a:cubicBezTo>
                  <a:cubicBezTo>
                    <a:pt x="410" y="320"/>
                    <a:pt x="410" y="320"/>
                    <a:pt x="410" y="320"/>
                  </a:cubicBezTo>
                  <a:cubicBezTo>
                    <a:pt x="410" y="283"/>
                    <a:pt x="410" y="283"/>
                    <a:pt x="410" y="283"/>
                  </a:cubicBezTo>
                  <a:lnTo>
                    <a:pt x="386" y="259"/>
                  </a:lnTo>
                  <a:close/>
                  <a:moveTo>
                    <a:pt x="386" y="421"/>
                  </a:moveTo>
                  <a:cubicBezTo>
                    <a:pt x="375" y="432"/>
                    <a:pt x="375" y="432"/>
                    <a:pt x="375" y="432"/>
                  </a:cubicBezTo>
                  <a:cubicBezTo>
                    <a:pt x="375" y="404"/>
                    <a:pt x="375" y="404"/>
                    <a:pt x="375" y="404"/>
                  </a:cubicBezTo>
                  <a:cubicBezTo>
                    <a:pt x="383" y="396"/>
                    <a:pt x="383" y="396"/>
                    <a:pt x="383" y="396"/>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5" y="395"/>
                    <a:pt x="385" y="395"/>
                    <a:pt x="385" y="395"/>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421"/>
                    <a:pt x="386" y="421"/>
                    <a:pt x="386" y="421"/>
                  </a:cubicBezTo>
                  <a:close/>
                  <a:moveTo>
                    <a:pt x="375" y="248"/>
                  </a:moveTo>
                  <a:cubicBezTo>
                    <a:pt x="386" y="259"/>
                    <a:pt x="386" y="259"/>
                    <a:pt x="386" y="259"/>
                  </a:cubicBezTo>
                  <a:cubicBezTo>
                    <a:pt x="386" y="287"/>
                    <a:pt x="386" y="287"/>
                    <a:pt x="386" y="287"/>
                  </a:cubicBezTo>
                  <a:cubicBezTo>
                    <a:pt x="379" y="280"/>
                    <a:pt x="379" y="280"/>
                    <a:pt x="379" y="280"/>
                  </a:cubicBezTo>
                  <a:cubicBezTo>
                    <a:pt x="375" y="284"/>
                    <a:pt x="375" y="284"/>
                    <a:pt x="375" y="284"/>
                  </a:cubicBezTo>
                  <a:cubicBezTo>
                    <a:pt x="375" y="248"/>
                    <a:pt x="375" y="248"/>
                    <a:pt x="375" y="248"/>
                  </a:cubicBezTo>
                  <a:close/>
                  <a:moveTo>
                    <a:pt x="386" y="308"/>
                  </a:moveTo>
                  <a:cubicBezTo>
                    <a:pt x="386" y="344"/>
                    <a:pt x="386" y="344"/>
                    <a:pt x="386" y="344"/>
                  </a:cubicBezTo>
                  <a:cubicBezTo>
                    <a:pt x="381" y="348"/>
                    <a:pt x="381" y="348"/>
                    <a:pt x="381" y="348"/>
                  </a:cubicBezTo>
                  <a:cubicBezTo>
                    <a:pt x="386" y="353"/>
                    <a:pt x="386" y="353"/>
                    <a:pt x="386" y="353"/>
                  </a:cubicBezTo>
                  <a:cubicBezTo>
                    <a:pt x="386" y="378"/>
                    <a:pt x="386" y="378"/>
                    <a:pt x="386" y="378"/>
                  </a:cubicBezTo>
                  <a:cubicBezTo>
                    <a:pt x="375" y="366"/>
                    <a:pt x="375" y="366"/>
                    <a:pt x="375" y="366"/>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6" y="333"/>
                    <a:pt x="376" y="333"/>
                    <a:pt x="376" y="333"/>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7" y="332"/>
                    <a:pt x="377" y="332"/>
                    <a:pt x="377" y="332"/>
                  </a:cubicBezTo>
                  <a:cubicBezTo>
                    <a:pt x="377" y="332"/>
                    <a:pt x="377" y="332"/>
                    <a:pt x="377" y="332"/>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9" y="330"/>
                    <a:pt x="379" y="330"/>
                    <a:pt x="379" y="330"/>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80" y="329"/>
                    <a:pt x="380" y="329"/>
                    <a:pt x="380" y="329"/>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1" y="328"/>
                    <a:pt x="381" y="328"/>
                    <a:pt x="381" y="328"/>
                  </a:cubicBezTo>
                  <a:cubicBezTo>
                    <a:pt x="381" y="327"/>
                    <a:pt x="381" y="327"/>
                    <a:pt x="381" y="327"/>
                  </a:cubicBezTo>
                  <a:cubicBezTo>
                    <a:pt x="381" y="327"/>
                    <a:pt x="381" y="327"/>
                    <a:pt x="381" y="327"/>
                  </a:cubicBezTo>
                  <a:cubicBezTo>
                    <a:pt x="375" y="321"/>
                    <a:pt x="375" y="321"/>
                    <a:pt x="375" y="321"/>
                  </a:cubicBezTo>
                  <a:cubicBezTo>
                    <a:pt x="375" y="296"/>
                    <a:pt x="375" y="296"/>
                    <a:pt x="375" y="296"/>
                  </a:cubicBezTo>
                  <a:lnTo>
                    <a:pt x="386" y="308"/>
                  </a:lnTo>
                  <a:close/>
                  <a:moveTo>
                    <a:pt x="375" y="432"/>
                  </a:moveTo>
                  <a:cubicBezTo>
                    <a:pt x="354" y="453"/>
                    <a:pt x="354" y="453"/>
                    <a:pt x="354" y="453"/>
                  </a:cubicBezTo>
                  <a:cubicBezTo>
                    <a:pt x="354" y="425"/>
                    <a:pt x="354" y="425"/>
                    <a:pt x="354" y="425"/>
                  </a:cubicBezTo>
                  <a:cubicBezTo>
                    <a:pt x="361" y="418"/>
                    <a:pt x="361" y="418"/>
                    <a:pt x="361" y="418"/>
                  </a:cubicBezTo>
                  <a:cubicBezTo>
                    <a:pt x="371" y="408"/>
                    <a:pt x="371" y="408"/>
                    <a:pt x="371" y="408"/>
                  </a:cubicBezTo>
                  <a:cubicBezTo>
                    <a:pt x="375" y="404"/>
                    <a:pt x="375" y="404"/>
                    <a:pt x="375" y="404"/>
                  </a:cubicBezTo>
                  <a:cubicBezTo>
                    <a:pt x="375" y="432"/>
                    <a:pt x="375" y="432"/>
                    <a:pt x="375" y="432"/>
                  </a:cubicBezTo>
                  <a:close/>
                  <a:moveTo>
                    <a:pt x="354" y="226"/>
                  </a:moveTo>
                  <a:cubicBezTo>
                    <a:pt x="375" y="248"/>
                    <a:pt x="375" y="248"/>
                    <a:pt x="375" y="248"/>
                  </a:cubicBezTo>
                  <a:cubicBezTo>
                    <a:pt x="375" y="284"/>
                    <a:pt x="375" y="284"/>
                    <a:pt x="375" y="284"/>
                  </a:cubicBezTo>
                  <a:cubicBezTo>
                    <a:pt x="369" y="290"/>
                    <a:pt x="369" y="290"/>
                    <a:pt x="369" y="290"/>
                  </a:cubicBezTo>
                  <a:cubicBezTo>
                    <a:pt x="375" y="296"/>
                    <a:pt x="375" y="296"/>
                    <a:pt x="375" y="296"/>
                  </a:cubicBezTo>
                  <a:cubicBezTo>
                    <a:pt x="375" y="321"/>
                    <a:pt x="375" y="321"/>
                    <a:pt x="375" y="321"/>
                  </a:cubicBezTo>
                  <a:cubicBezTo>
                    <a:pt x="356" y="302"/>
                    <a:pt x="356" y="302"/>
                    <a:pt x="356" y="302"/>
                  </a:cubicBezTo>
                  <a:cubicBezTo>
                    <a:pt x="356" y="303"/>
                    <a:pt x="356" y="303"/>
                    <a:pt x="356" y="303"/>
                  </a:cubicBezTo>
                  <a:cubicBezTo>
                    <a:pt x="356" y="303"/>
                    <a:pt x="356" y="303"/>
                    <a:pt x="356" y="303"/>
                  </a:cubicBezTo>
                  <a:cubicBezTo>
                    <a:pt x="356" y="303"/>
                    <a:pt x="356" y="303"/>
                    <a:pt x="356" y="303"/>
                  </a:cubicBezTo>
                  <a:cubicBezTo>
                    <a:pt x="356" y="303"/>
                    <a:pt x="356" y="303"/>
                    <a:pt x="356" y="303"/>
                  </a:cubicBezTo>
                  <a:cubicBezTo>
                    <a:pt x="355" y="303"/>
                    <a:pt x="355" y="303"/>
                    <a:pt x="355" y="303"/>
                  </a:cubicBezTo>
                  <a:cubicBezTo>
                    <a:pt x="355" y="303"/>
                    <a:pt x="355" y="303"/>
                    <a:pt x="355" y="303"/>
                  </a:cubicBezTo>
                  <a:cubicBezTo>
                    <a:pt x="355" y="303"/>
                    <a:pt x="355" y="303"/>
                    <a:pt x="355" y="303"/>
                  </a:cubicBezTo>
                  <a:cubicBezTo>
                    <a:pt x="355" y="303"/>
                    <a:pt x="355" y="303"/>
                    <a:pt x="355" y="303"/>
                  </a:cubicBezTo>
                  <a:cubicBezTo>
                    <a:pt x="355" y="304"/>
                    <a:pt x="355" y="304"/>
                    <a:pt x="355" y="304"/>
                  </a:cubicBezTo>
                  <a:cubicBezTo>
                    <a:pt x="355" y="304"/>
                    <a:pt x="355" y="304"/>
                    <a:pt x="355" y="304"/>
                  </a:cubicBezTo>
                  <a:cubicBezTo>
                    <a:pt x="355" y="304"/>
                    <a:pt x="355" y="304"/>
                    <a:pt x="355" y="304"/>
                  </a:cubicBezTo>
                  <a:cubicBezTo>
                    <a:pt x="354" y="304"/>
                    <a:pt x="354" y="304"/>
                    <a:pt x="354" y="304"/>
                  </a:cubicBezTo>
                  <a:cubicBezTo>
                    <a:pt x="354" y="304"/>
                    <a:pt x="354" y="304"/>
                    <a:pt x="354" y="304"/>
                  </a:cubicBezTo>
                  <a:cubicBezTo>
                    <a:pt x="354" y="304"/>
                    <a:pt x="354" y="304"/>
                    <a:pt x="354" y="304"/>
                  </a:cubicBezTo>
                  <a:cubicBezTo>
                    <a:pt x="354" y="304"/>
                    <a:pt x="354" y="304"/>
                    <a:pt x="354" y="304"/>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275"/>
                    <a:pt x="354" y="275"/>
                    <a:pt x="354" y="275"/>
                  </a:cubicBezTo>
                  <a:cubicBezTo>
                    <a:pt x="358" y="279"/>
                    <a:pt x="358" y="279"/>
                    <a:pt x="358" y="279"/>
                  </a:cubicBezTo>
                  <a:cubicBezTo>
                    <a:pt x="361" y="276"/>
                    <a:pt x="364" y="273"/>
                    <a:pt x="368" y="269"/>
                  </a:cubicBezTo>
                  <a:cubicBezTo>
                    <a:pt x="354" y="255"/>
                    <a:pt x="354" y="255"/>
                    <a:pt x="354" y="255"/>
                  </a:cubicBezTo>
                  <a:cubicBezTo>
                    <a:pt x="354" y="226"/>
                    <a:pt x="354" y="226"/>
                    <a:pt x="354" y="226"/>
                  </a:cubicBezTo>
                  <a:close/>
                  <a:moveTo>
                    <a:pt x="375" y="333"/>
                  </a:moveTo>
                  <a:cubicBezTo>
                    <a:pt x="375" y="366"/>
                    <a:pt x="375" y="366"/>
                    <a:pt x="375" y="366"/>
                  </a:cubicBezTo>
                  <a:cubicBezTo>
                    <a:pt x="369" y="361"/>
                    <a:pt x="369" y="361"/>
                    <a:pt x="369" y="361"/>
                  </a:cubicBezTo>
                  <a:cubicBezTo>
                    <a:pt x="369" y="361"/>
                    <a:pt x="369" y="361"/>
                    <a:pt x="369" y="361"/>
                  </a:cubicBezTo>
                  <a:cubicBezTo>
                    <a:pt x="369" y="361"/>
                    <a:pt x="369" y="361"/>
                    <a:pt x="369" y="361"/>
                  </a:cubicBezTo>
                  <a:cubicBezTo>
                    <a:pt x="368" y="361"/>
                    <a:pt x="368" y="361"/>
                    <a:pt x="368" y="361"/>
                  </a:cubicBezTo>
                  <a:cubicBezTo>
                    <a:pt x="368" y="361"/>
                    <a:pt x="368" y="361"/>
                    <a:pt x="368" y="361"/>
                  </a:cubicBezTo>
                  <a:cubicBezTo>
                    <a:pt x="368" y="361"/>
                    <a:pt x="368" y="361"/>
                    <a:pt x="368" y="361"/>
                  </a:cubicBezTo>
                  <a:cubicBezTo>
                    <a:pt x="368" y="361"/>
                    <a:pt x="368" y="361"/>
                    <a:pt x="368" y="361"/>
                  </a:cubicBezTo>
                  <a:cubicBezTo>
                    <a:pt x="368" y="362"/>
                    <a:pt x="368" y="362"/>
                    <a:pt x="368" y="362"/>
                  </a:cubicBezTo>
                  <a:cubicBezTo>
                    <a:pt x="368" y="362"/>
                    <a:pt x="368" y="362"/>
                    <a:pt x="368" y="362"/>
                  </a:cubicBezTo>
                  <a:cubicBezTo>
                    <a:pt x="368" y="362"/>
                    <a:pt x="368" y="362"/>
                    <a:pt x="368" y="362"/>
                  </a:cubicBezTo>
                  <a:cubicBezTo>
                    <a:pt x="367" y="362"/>
                    <a:pt x="367" y="362"/>
                    <a:pt x="367" y="362"/>
                  </a:cubicBezTo>
                  <a:cubicBezTo>
                    <a:pt x="367" y="362"/>
                    <a:pt x="367" y="362"/>
                    <a:pt x="367" y="362"/>
                  </a:cubicBezTo>
                  <a:cubicBezTo>
                    <a:pt x="367" y="362"/>
                    <a:pt x="367" y="362"/>
                    <a:pt x="367" y="362"/>
                  </a:cubicBezTo>
                  <a:cubicBezTo>
                    <a:pt x="367" y="362"/>
                    <a:pt x="367" y="362"/>
                    <a:pt x="367" y="362"/>
                  </a:cubicBezTo>
                  <a:cubicBezTo>
                    <a:pt x="367" y="363"/>
                    <a:pt x="367" y="363"/>
                    <a:pt x="367" y="363"/>
                  </a:cubicBezTo>
                  <a:cubicBezTo>
                    <a:pt x="367" y="363"/>
                    <a:pt x="367" y="363"/>
                    <a:pt x="367" y="363"/>
                  </a:cubicBezTo>
                  <a:cubicBezTo>
                    <a:pt x="367" y="363"/>
                    <a:pt x="367" y="363"/>
                    <a:pt x="367"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4"/>
                    <a:pt x="366" y="364"/>
                    <a:pt x="366" y="364"/>
                  </a:cubicBezTo>
                  <a:cubicBezTo>
                    <a:pt x="366" y="364"/>
                    <a:pt x="366" y="364"/>
                    <a:pt x="366" y="364"/>
                  </a:cubicBezTo>
                  <a:cubicBezTo>
                    <a:pt x="366" y="364"/>
                    <a:pt x="366" y="364"/>
                    <a:pt x="366" y="364"/>
                  </a:cubicBezTo>
                  <a:cubicBezTo>
                    <a:pt x="365" y="364"/>
                    <a:pt x="365" y="364"/>
                    <a:pt x="365" y="364"/>
                  </a:cubicBezTo>
                  <a:cubicBezTo>
                    <a:pt x="365" y="364"/>
                    <a:pt x="365" y="364"/>
                    <a:pt x="365" y="364"/>
                  </a:cubicBezTo>
                  <a:cubicBezTo>
                    <a:pt x="365" y="364"/>
                    <a:pt x="365" y="364"/>
                    <a:pt x="365" y="364"/>
                  </a:cubicBezTo>
                  <a:cubicBezTo>
                    <a:pt x="365" y="364"/>
                    <a:pt x="365" y="364"/>
                    <a:pt x="365" y="364"/>
                  </a:cubicBezTo>
                  <a:cubicBezTo>
                    <a:pt x="365" y="365"/>
                    <a:pt x="365" y="365"/>
                    <a:pt x="365" y="365"/>
                  </a:cubicBezTo>
                  <a:cubicBezTo>
                    <a:pt x="365" y="365"/>
                    <a:pt x="365" y="365"/>
                    <a:pt x="365" y="365"/>
                  </a:cubicBezTo>
                  <a:cubicBezTo>
                    <a:pt x="365" y="365"/>
                    <a:pt x="365" y="365"/>
                    <a:pt x="365" y="365"/>
                  </a:cubicBezTo>
                  <a:cubicBezTo>
                    <a:pt x="365" y="365"/>
                    <a:pt x="365" y="365"/>
                    <a:pt x="365" y="365"/>
                  </a:cubicBezTo>
                  <a:cubicBezTo>
                    <a:pt x="364" y="365"/>
                    <a:pt x="364" y="365"/>
                    <a:pt x="364" y="365"/>
                  </a:cubicBezTo>
                  <a:cubicBezTo>
                    <a:pt x="364" y="365"/>
                    <a:pt x="364" y="365"/>
                    <a:pt x="364" y="365"/>
                  </a:cubicBezTo>
                  <a:cubicBezTo>
                    <a:pt x="364" y="365"/>
                    <a:pt x="364" y="365"/>
                    <a:pt x="364" y="365"/>
                  </a:cubicBezTo>
                  <a:cubicBezTo>
                    <a:pt x="364" y="366"/>
                    <a:pt x="364" y="366"/>
                    <a:pt x="364" y="366"/>
                  </a:cubicBezTo>
                  <a:cubicBezTo>
                    <a:pt x="364" y="366"/>
                    <a:pt x="364" y="366"/>
                    <a:pt x="364" y="366"/>
                  </a:cubicBezTo>
                  <a:cubicBezTo>
                    <a:pt x="364" y="366"/>
                    <a:pt x="364" y="366"/>
                    <a:pt x="364" y="366"/>
                  </a:cubicBezTo>
                  <a:cubicBezTo>
                    <a:pt x="364" y="366"/>
                    <a:pt x="364" y="366"/>
                    <a:pt x="364" y="366"/>
                  </a:cubicBezTo>
                  <a:cubicBezTo>
                    <a:pt x="363" y="366"/>
                    <a:pt x="363" y="366"/>
                    <a:pt x="363" y="366"/>
                  </a:cubicBezTo>
                  <a:cubicBezTo>
                    <a:pt x="363" y="366"/>
                    <a:pt x="363" y="366"/>
                    <a:pt x="363" y="366"/>
                  </a:cubicBezTo>
                  <a:cubicBezTo>
                    <a:pt x="363" y="366"/>
                    <a:pt x="363" y="366"/>
                    <a:pt x="363" y="366"/>
                  </a:cubicBezTo>
                  <a:cubicBezTo>
                    <a:pt x="363" y="366"/>
                    <a:pt x="363" y="366"/>
                    <a:pt x="363" y="366"/>
                  </a:cubicBezTo>
                  <a:cubicBezTo>
                    <a:pt x="363" y="367"/>
                    <a:pt x="363" y="367"/>
                    <a:pt x="363" y="367"/>
                  </a:cubicBezTo>
                  <a:cubicBezTo>
                    <a:pt x="363" y="367"/>
                    <a:pt x="363" y="367"/>
                    <a:pt x="363" y="367"/>
                  </a:cubicBezTo>
                  <a:cubicBezTo>
                    <a:pt x="363" y="367"/>
                    <a:pt x="363" y="367"/>
                    <a:pt x="363"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8"/>
                    <a:pt x="362" y="368"/>
                    <a:pt x="362" y="368"/>
                  </a:cubicBezTo>
                  <a:cubicBezTo>
                    <a:pt x="362" y="368"/>
                    <a:pt x="362" y="368"/>
                    <a:pt x="362" y="368"/>
                  </a:cubicBezTo>
                  <a:cubicBezTo>
                    <a:pt x="362" y="368"/>
                    <a:pt x="362" y="368"/>
                    <a:pt x="362" y="368"/>
                  </a:cubicBezTo>
                  <a:cubicBezTo>
                    <a:pt x="361" y="368"/>
                    <a:pt x="361" y="368"/>
                    <a:pt x="361" y="368"/>
                  </a:cubicBezTo>
                  <a:cubicBezTo>
                    <a:pt x="361" y="368"/>
                    <a:pt x="361" y="368"/>
                    <a:pt x="361" y="368"/>
                  </a:cubicBezTo>
                  <a:cubicBezTo>
                    <a:pt x="361" y="368"/>
                    <a:pt x="361" y="368"/>
                    <a:pt x="361" y="368"/>
                  </a:cubicBezTo>
                  <a:cubicBezTo>
                    <a:pt x="361" y="368"/>
                    <a:pt x="361" y="368"/>
                    <a:pt x="361" y="368"/>
                  </a:cubicBezTo>
                  <a:cubicBezTo>
                    <a:pt x="361" y="369"/>
                    <a:pt x="361" y="369"/>
                    <a:pt x="361" y="369"/>
                  </a:cubicBezTo>
                  <a:cubicBezTo>
                    <a:pt x="361" y="369"/>
                    <a:pt x="361" y="369"/>
                    <a:pt x="361" y="369"/>
                  </a:cubicBezTo>
                  <a:cubicBezTo>
                    <a:pt x="361" y="369"/>
                    <a:pt x="361" y="369"/>
                    <a:pt x="361"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70"/>
                    <a:pt x="360" y="370"/>
                    <a:pt x="360" y="370"/>
                  </a:cubicBezTo>
                  <a:cubicBezTo>
                    <a:pt x="360" y="370"/>
                    <a:pt x="360" y="370"/>
                    <a:pt x="360"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1"/>
                    <a:pt x="359" y="371"/>
                    <a:pt x="359" y="371"/>
                  </a:cubicBezTo>
                  <a:cubicBezTo>
                    <a:pt x="359" y="371"/>
                    <a:pt x="359" y="371"/>
                    <a:pt x="359" y="371"/>
                  </a:cubicBezTo>
                  <a:cubicBezTo>
                    <a:pt x="354" y="376"/>
                    <a:pt x="354" y="376"/>
                    <a:pt x="354" y="376"/>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3"/>
                    <a:pt x="354" y="353"/>
                    <a:pt x="354"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2"/>
                    <a:pt x="355" y="352"/>
                    <a:pt x="355"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0"/>
                    <a:pt x="357" y="350"/>
                    <a:pt x="357"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3" y="336"/>
                    <a:pt x="373" y="336"/>
                    <a:pt x="373" y="336"/>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5" y="333"/>
                    <a:pt x="375" y="333"/>
                    <a:pt x="375" y="333"/>
                  </a:cubicBezTo>
                  <a:close/>
                  <a:moveTo>
                    <a:pt x="354" y="453"/>
                  </a:moveTo>
                  <a:cubicBezTo>
                    <a:pt x="339" y="467"/>
                    <a:pt x="339" y="467"/>
                    <a:pt x="339" y="467"/>
                  </a:cubicBezTo>
                  <a:cubicBezTo>
                    <a:pt x="339" y="439"/>
                    <a:pt x="339" y="439"/>
                    <a:pt x="339" y="439"/>
                  </a:cubicBezTo>
                  <a:cubicBezTo>
                    <a:pt x="354" y="425"/>
                    <a:pt x="354" y="425"/>
                    <a:pt x="354" y="425"/>
                  </a:cubicBezTo>
                  <a:cubicBezTo>
                    <a:pt x="354" y="453"/>
                    <a:pt x="354" y="453"/>
                    <a:pt x="354" y="453"/>
                  </a:cubicBezTo>
                  <a:close/>
                  <a:moveTo>
                    <a:pt x="339" y="212"/>
                  </a:moveTo>
                  <a:cubicBezTo>
                    <a:pt x="354" y="226"/>
                    <a:pt x="354" y="226"/>
                    <a:pt x="354" y="226"/>
                  </a:cubicBezTo>
                  <a:cubicBezTo>
                    <a:pt x="354" y="255"/>
                    <a:pt x="354" y="255"/>
                    <a:pt x="354" y="255"/>
                  </a:cubicBezTo>
                  <a:cubicBezTo>
                    <a:pt x="343" y="244"/>
                    <a:pt x="343" y="244"/>
                    <a:pt x="343" y="244"/>
                  </a:cubicBezTo>
                  <a:cubicBezTo>
                    <a:pt x="339" y="248"/>
                    <a:pt x="339" y="248"/>
                    <a:pt x="339" y="248"/>
                  </a:cubicBezTo>
                  <a:cubicBezTo>
                    <a:pt x="339" y="212"/>
                    <a:pt x="339" y="212"/>
                    <a:pt x="339" y="212"/>
                  </a:cubicBezTo>
                  <a:close/>
                  <a:moveTo>
                    <a:pt x="354" y="275"/>
                  </a:moveTo>
                  <a:cubicBezTo>
                    <a:pt x="354" y="305"/>
                    <a:pt x="354" y="305"/>
                    <a:pt x="354" y="305"/>
                  </a:cubicBezTo>
                  <a:cubicBezTo>
                    <a:pt x="353" y="305"/>
                    <a:pt x="353" y="305"/>
                    <a:pt x="353" y="305"/>
                  </a:cubicBezTo>
                  <a:cubicBezTo>
                    <a:pt x="353" y="305"/>
                    <a:pt x="353" y="305"/>
                    <a:pt x="353" y="305"/>
                  </a:cubicBezTo>
                  <a:cubicBezTo>
                    <a:pt x="353" y="305"/>
                    <a:pt x="353" y="305"/>
                    <a:pt x="353" y="305"/>
                  </a:cubicBezTo>
                  <a:cubicBezTo>
                    <a:pt x="353" y="306"/>
                    <a:pt x="353" y="306"/>
                    <a:pt x="353" y="306"/>
                  </a:cubicBezTo>
                  <a:cubicBezTo>
                    <a:pt x="353" y="306"/>
                    <a:pt x="353" y="306"/>
                    <a:pt x="353" y="306"/>
                  </a:cubicBezTo>
                  <a:cubicBezTo>
                    <a:pt x="353" y="306"/>
                    <a:pt x="353" y="306"/>
                    <a:pt x="353" y="306"/>
                  </a:cubicBezTo>
                  <a:cubicBezTo>
                    <a:pt x="353" y="306"/>
                    <a:pt x="353" y="306"/>
                    <a:pt x="353" y="306"/>
                  </a:cubicBezTo>
                  <a:cubicBezTo>
                    <a:pt x="352" y="306"/>
                    <a:pt x="352" y="306"/>
                    <a:pt x="352" y="306"/>
                  </a:cubicBezTo>
                  <a:cubicBezTo>
                    <a:pt x="352" y="306"/>
                    <a:pt x="352" y="306"/>
                    <a:pt x="352" y="306"/>
                  </a:cubicBezTo>
                  <a:cubicBezTo>
                    <a:pt x="352" y="306"/>
                    <a:pt x="352" y="306"/>
                    <a:pt x="352" y="306"/>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1" y="307"/>
                    <a:pt x="351" y="307"/>
                    <a:pt x="351" y="307"/>
                  </a:cubicBezTo>
                  <a:cubicBezTo>
                    <a:pt x="351" y="307"/>
                    <a:pt x="351" y="307"/>
                    <a:pt x="351" y="307"/>
                  </a:cubicBezTo>
                  <a:cubicBezTo>
                    <a:pt x="351" y="307"/>
                    <a:pt x="351" y="307"/>
                    <a:pt x="351" y="307"/>
                  </a:cubicBezTo>
                  <a:cubicBezTo>
                    <a:pt x="351" y="308"/>
                    <a:pt x="351" y="308"/>
                    <a:pt x="351" y="308"/>
                  </a:cubicBezTo>
                  <a:cubicBezTo>
                    <a:pt x="351" y="308"/>
                    <a:pt x="351" y="308"/>
                    <a:pt x="351" y="308"/>
                  </a:cubicBezTo>
                  <a:cubicBezTo>
                    <a:pt x="351" y="308"/>
                    <a:pt x="351" y="308"/>
                    <a:pt x="351" y="308"/>
                  </a:cubicBezTo>
                  <a:cubicBezTo>
                    <a:pt x="351" y="308"/>
                    <a:pt x="351" y="308"/>
                    <a:pt x="351" y="308"/>
                  </a:cubicBezTo>
                  <a:cubicBezTo>
                    <a:pt x="350" y="308"/>
                    <a:pt x="350" y="308"/>
                    <a:pt x="350" y="308"/>
                  </a:cubicBezTo>
                  <a:cubicBezTo>
                    <a:pt x="350" y="308"/>
                    <a:pt x="350" y="308"/>
                    <a:pt x="350" y="308"/>
                  </a:cubicBezTo>
                  <a:cubicBezTo>
                    <a:pt x="350" y="308"/>
                    <a:pt x="350" y="308"/>
                    <a:pt x="350" y="308"/>
                  </a:cubicBezTo>
                  <a:cubicBezTo>
                    <a:pt x="350" y="308"/>
                    <a:pt x="350" y="308"/>
                    <a:pt x="350" y="308"/>
                  </a:cubicBezTo>
                  <a:cubicBezTo>
                    <a:pt x="350" y="309"/>
                    <a:pt x="350" y="309"/>
                    <a:pt x="350" y="309"/>
                  </a:cubicBezTo>
                  <a:cubicBezTo>
                    <a:pt x="350" y="309"/>
                    <a:pt x="350" y="309"/>
                    <a:pt x="350" y="309"/>
                  </a:cubicBezTo>
                  <a:cubicBezTo>
                    <a:pt x="350" y="309"/>
                    <a:pt x="350" y="309"/>
                    <a:pt x="350" y="309"/>
                  </a:cubicBezTo>
                  <a:cubicBezTo>
                    <a:pt x="349" y="309"/>
                    <a:pt x="349" y="309"/>
                    <a:pt x="349" y="309"/>
                  </a:cubicBezTo>
                  <a:cubicBezTo>
                    <a:pt x="349" y="309"/>
                    <a:pt x="349" y="309"/>
                    <a:pt x="349" y="309"/>
                  </a:cubicBezTo>
                  <a:cubicBezTo>
                    <a:pt x="349" y="309"/>
                    <a:pt x="349" y="309"/>
                    <a:pt x="349" y="309"/>
                  </a:cubicBezTo>
                  <a:cubicBezTo>
                    <a:pt x="349" y="309"/>
                    <a:pt x="349" y="309"/>
                    <a:pt x="349" y="309"/>
                  </a:cubicBezTo>
                  <a:cubicBezTo>
                    <a:pt x="349" y="310"/>
                    <a:pt x="349" y="310"/>
                    <a:pt x="349" y="310"/>
                  </a:cubicBezTo>
                  <a:cubicBezTo>
                    <a:pt x="349" y="310"/>
                    <a:pt x="349" y="310"/>
                    <a:pt x="349" y="310"/>
                  </a:cubicBezTo>
                  <a:cubicBezTo>
                    <a:pt x="349" y="310"/>
                    <a:pt x="349" y="310"/>
                    <a:pt x="349"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1"/>
                    <a:pt x="348" y="311"/>
                    <a:pt x="348" y="311"/>
                  </a:cubicBezTo>
                  <a:cubicBezTo>
                    <a:pt x="348" y="311"/>
                    <a:pt x="348" y="311"/>
                    <a:pt x="348" y="311"/>
                  </a:cubicBezTo>
                  <a:cubicBezTo>
                    <a:pt x="348" y="311"/>
                    <a:pt x="348" y="311"/>
                    <a:pt x="348" y="311"/>
                  </a:cubicBezTo>
                  <a:cubicBezTo>
                    <a:pt x="348" y="311"/>
                    <a:pt x="348" y="311"/>
                    <a:pt x="348" y="311"/>
                  </a:cubicBezTo>
                  <a:cubicBezTo>
                    <a:pt x="347" y="311"/>
                    <a:pt x="347" y="311"/>
                    <a:pt x="347" y="311"/>
                  </a:cubicBezTo>
                  <a:cubicBezTo>
                    <a:pt x="347" y="311"/>
                    <a:pt x="347" y="311"/>
                    <a:pt x="347" y="311"/>
                  </a:cubicBezTo>
                  <a:cubicBezTo>
                    <a:pt x="347" y="311"/>
                    <a:pt x="347" y="311"/>
                    <a:pt x="347" y="311"/>
                  </a:cubicBezTo>
                  <a:cubicBezTo>
                    <a:pt x="347" y="312"/>
                    <a:pt x="347" y="312"/>
                    <a:pt x="347" y="312"/>
                  </a:cubicBezTo>
                  <a:cubicBezTo>
                    <a:pt x="347" y="312"/>
                    <a:pt x="347" y="312"/>
                    <a:pt x="347" y="312"/>
                  </a:cubicBezTo>
                  <a:cubicBezTo>
                    <a:pt x="347" y="312"/>
                    <a:pt x="347" y="312"/>
                    <a:pt x="347" y="312"/>
                  </a:cubicBezTo>
                  <a:cubicBezTo>
                    <a:pt x="347" y="312"/>
                    <a:pt x="347" y="312"/>
                    <a:pt x="347" y="312"/>
                  </a:cubicBezTo>
                  <a:cubicBezTo>
                    <a:pt x="346" y="312"/>
                    <a:pt x="346" y="312"/>
                    <a:pt x="346" y="312"/>
                  </a:cubicBezTo>
                  <a:cubicBezTo>
                    <a:pt x="346" y="312"/>
                    <a:pt x="346" y="312"/>
                    <a:pt x="346" y="312"/>
                  </a:cubicBezTo>
                  <a:cubicBezTo>
                    <a:pt x="346" y="312"/>
                    <a:pt x="346" y="312"/>
                    <a:pt x="346" y="312"/>
                  </a:cubicBezTo>
                  <a:cubicBezTo>
                    <a:pt x="346" y="312"/>
                    <a:pt x="346" y="312"/>
                    <a:pt x="346" y="312"/>
                  </a:cubicBezTo>
                  <a:cubicBezTo>
                    <a:pt x="339" y="319"/>
                    <a:pt x="339" y="319"/>
                    <a:pt x="339" y="319"/>
                  </a:cubicBezTo>
                  <a:cubicBezTo>
                    <a:pt x="339" y="298"/>
                    <a:pt x="339" y="298"/>
                    <a:pt x="339" y="298"/>
                  </a:cubicBezTo>
                  <a:cubicBezTo>
                    <a:pt x="345" y="292"/>
                    <a:pt x="345" y="292"/>
                    <a:pt x="345" y="292"/>
                  </a:cubicBezTo>
                  <a:cubicBezTo>
                    <a:pt x="339" y="285"/>
                    <a:pt x="339" y="285"/>
                    <a:pt x="339" y="285"/>
                  </a:cubicBezTo>
                  <a:cubicBezTo>
                    <a:pt x="339" y="261"/>
                    <a:pt x="339" y="261"/>
                    <a:pt x="339" y="261"/>
                  </a:cubicBezTo>
                  <a:cubicBezTo>
                    <a:pt x="354" y="275"/>
                    <a:pt x="354" y="275"/>
                    <a:pt x="354" y="275"/>
                  </a:cubicBezTo>
                  <a:close/>
                  <a:moveTo>
                    <a:pt x="354" y="354"/>
                  </a:moveTo>
                  <a:cubicBezTo>
                    <a:pt x="354" y="376"/>
                    <a:pt x="354" y="376"/>
                    <a:pt x="354" y="376"/>
                  </a:cubicBezTo>
                  <a:cubicBezTo>
                    <a:pt x="346" y="383"/>
                    <a:pt x="346" y="383"/>
                    <a:pt x="346" y="383"/>
                  </a:cubicBezTo>
                  <a:cubicBezTo>
                    <a:pt x="339" y="390"/>
                    <a:pt x="339" y="390"/>
                    <a:pt x="339" y="390"/>
                  </a:cubicBezTo>
                  <a:cubicBezTo>
                    <a:pt x="339" y="368"/>
                    <a:pt x="339" y="368"/>
                    <a:pt x="339" y="368"/>
                  </a:cubicBezTo>
                  <a:cubicBezTo>
                    <a:pt x="348" y="360"/>
                    <a:pt x="348" y="360"/>
                    <a:pt x="348" y="360"/>
                  </a:cubicBezTo>
                  <a:cubicBezTo>
                    <a:pt x="348" y="360"/>
                    <a:pt x="348" y="360"/>
                    <a:pt x="348" y="360"/>
                  </a:cubicBezTo>
                  <a:cubicBezTo>
                    <a:pt x="348" y="360"/>
                    <a:pt x="348" y="360"/>
                    <a:pt x="348" y="360"/>
                  </a:cubicBezTo>
                  <a:cubicBezTo>
                    <a:pt x="348" y="359"/>
                    <a:pt x="348" y="359"/>
                    <a:pt x="348"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8"/>
                    <a:pt x="349" y="358"/>
                    <a:pt x="349"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7"/>
                    <a:pt x="350" y="357"/>
                    <a:pt x="350"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6"/>
                    <a:pt x="351" y="356"/>
                    <a:pt x="351" y="356"/>
                  </a:cubicBezTo>
                  <a:cubicBezTo>
                    <a:pt x="351" y="356"/>
                    <a:pt x="351" y="356"/>
                    <a:pt x="351"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5"/>
                    <a:pt x="352" y="355"/>
                    <a:pt x="352"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4" y="354"/>
                    <a:pt x="354" y="354"/>
                    <a:pt x="354" y="354"/>
                  </a:cubicBezTo>
                  <a:close/>
                  <a:moveTo>
                    <a:pt x="339" y="467"/>
                  </a:moveTo>
                  <a:cubicBezTo>
                    <a:pt x="338" y="468"/>
                    <a:pt x="338" y="468"/>
                    <a:pt x="338" y="468"/>
                  </a:cubicBezTo>
                  <a:cubicBezTo>
                    <a:pt x="328" y="458"/>
                    <a:pt x="328" y="458"/>
                    <a:pt x="328" y="458"/>
                  </a:cubicBezTo>
                  <a:cubicBezTo>
                    <a:pt x="328" y="430"/>
                    <a:pt x="328" y="430"/>
                    <a:pt x="328" y="430"/>
                  </a:cubicBezTo>
                  <a:cubicBezTo>
                    <a:pt x="338" y="440"/>
                    <a:pt x="338" y="440"/>
                    <a:pt x="338" y="440"/>
                  </a:cubicBezTo>
                  <a:cubicBezTo>
                    <a:pt x="339" y="439"/>
                    <a:pt x="339" y="439"/>
                    <a:pt x="339" y="439"/>
                  </a:cubicBezTo>
                  <a:cubicBezTo>
                    <a:pt x="339" y="467"/>
                    <a:pt x="339" y="467"/>
                    <a:pt x="339" y="467"/>
                  </a:cubicBezTo>
                  <a:close/>
                  <a:moveTo>
                    <a:pt x="328" y="200"/>
                  </a:moveTo>
                  <a:cubicBezTo>
                    <a:pt x="339" y="212"/>
                    <a:pt x="339" y="212"/>
                    <a:pt x="339" y="212"/>
                  </a:cubicBezTo>
                  <a:cubicBezTo>
                    <a:pt x="339" y="248"/>
                    <a:pt x="339" y="248"/>
                    <a:pt x="339" y="248"/>
                  </a:cubicBezTo>
                  <a:cubicBezTo>
                    <a:pt x="333" y="254"/>
                    <a:pt x="333" y="254"/>
                    <a:pt x="333" y="254"/>
                  </a:cubicBezTo>
                  <a:cubicBezTo>
                    <a:pt x="339" y="261"/>
                    <a:pt x="339" y="261"/>
                    <a:pt x="339" y="261"/>
                  </a:cubicBezTo>
                  <a:cubicBezTo>
                    <a:pt x="339" y="285"/>
                    <a:pt x="339" y="285"/>
                    <a:pt x="339" y="285"/>
                  </a:cubicBezTo>
                  <a:cubicBezTo>
                    <a:pt x="328" y="274"/>
                    <a:pt x="328" y="274"/>
                    <a:pt x="328" y="274"/>
                  </a:cubicBezTo>
                  <a:cubicBezTo>
                    <a:pt x="328" y="238"/>
                    <a:pt x="328" y="238"/>
                    <a:pt x="328" y="238"/>
                  </a:cubicBezTo>
                  <a:cubicBezTo>
                    <a:pt x="333" y="233"/>
                    <a:pt x="333" y="233"/>
                    <a:pt x="333" y="233"/>
                  </a:cubicBezTo>
                  <a:cubicBezTo>
                    <a:pt x="328" y="229"/>
                    <a:pt x="328" y="229"/>
                    <a:pt x="328" y="229"/>
                  </a:cubicBezTo>
                  <a:cubicBezTo>
                    <a:pt x="328" y="200"/>
                    <a:pt x="328" y="200"/>
                    <a:pt x="328" y="200"/>
                  </a:cubicBezTo>
                  <a:close/>
                  <a:moveTo>
                    <a:pt x="339" y="298"/>
                  </a:moveTo>
                  <a:cubicBezTo>
                    <a:pt x="339" y="319"/>
                    <a:pt x="339" y="319"/>
                    <a:pt x="339" y="319"/>
                  </a:cubicBezTo>
                  <a:cubicBezTo>
                    <a:pt x="334" y="325"/>
                    <a:pt x="334" y="325"/>
                    <a:pt x="334" y="325"/>
                  </a:cubicBezTo>
                  <a:cubicBezTo>
                    <a:pt x="333" y="325"/>
                    <a:pt x="333" y="325"/>
                    <a:pt x="333" y="325"/>
                  </a:cubicBezTo>
                  <a:cubicBezTo>
                    <a:pt x="333" y="325"/>
                    <a:pt x="333" y="325"/>
                    <a:pt x="333" y="325"/>
                  </a:cubicBezTo>
                  <a:cubicBezTo>
                    <a:pt x="333" y="325"/>
                    <a:pt x="333" y="325"/>
                    <a:pt x="333" y="325"/>
                  </a:cubicBezTo>
                  <a:cubicBezTo>
                    <a:pt x="333" y="325"/>
                    <a:pt x="333" y="325"/>
                    <a:pt x="333" y="325"/>
                  </a:cubicBezTo>
                  <a:cubicBezTo>
                    <a:pt x="333" y="326"/>
                    <a:pt x="333" y="326"/>
                    <a:pt x="333" y="326"/>
                  </a:cubicBezTo>
                  <a:cubicBezTo>
                    <a:pt x="333" y="326"/>
                    <a:pt x="333" y="326"/>
                    <a:pt x="333" y="326"/>
                  </a:cubicBezTo>
                  <a:cubicBezTo>
                    <a:pt x="333" y="326"/>
                    <a:pt x="333" y="326"/>
                    <a:pt x="333"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7"/>
                    <a:pt x="332" y="327"/>
                    <a:pt x="332" y="327"/>
                  </a:cubicBezTo>
                  <a:cubicBezTo>
                    <a:pt x="332" y="327"/>
                    <a:pt x="332" y="327"/>
                    <a:pt x="332"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8"/>
                    <a:pt x="331" y="328"/>
                    <a:pt x="331" y="328"/>
                  </a:cubicBezTo>
                  <a:cubicBezTo>
                    <a:pt x="331" y="328"/>
                    <a:pt x="331" y="328"/>
                    <a:pt x="331"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9"/>
                    <a:pt x="330" y="329"/>
                    <a:pt x="330" y="329"/>
                  </a:cubicBezTo>
                  <a:cubicBezTo>
                    <a:pt x="330" y="329"/>
                    <a:pt x="330" y="329"/>
                    <a:pt x="330"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30"/>
                    <a:pt x="329" y="330"/>
                    <a:pt x="329" y="330"/>
                  </a:cubicBezTo>
                  <a:cubicBezTo>
                    <a:pt x="329" y="330"/>
                    <a:pt x="329" y="330"/>
                    <a:pt x="329"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294"/>
                    <a:pt x="328" y="294"/>
                    <a:pt x="328" y="294"/>
                  </a:cubicBezTo>
                  <a:cubicBezTo>
                    <a:pt x="335" y="302"/>
                    <a:pt x="335" y="302"/>
                    <a:pt x="335" y="302"/>
                  </a:cubicBezTo>
                  <a:cubicBezTo>
                    <a:pt x="339" y="298"/>
                    <a:pt x="339" y="298"/>
                    <a:pt x="339" y="298"/>
                  </a:cubicBezTo>
                  <a:close/>
                  <a:moveTo>
                    <a:pt x="339" y="368"/>
                  </a:moveTo>
                  <a:cubicBezTo>
                    <a:pt x="339" y="390"/>
                    <a:pt x="339" y="390"/>
                    <a:pt x="339" y="390"/>
                  </a:cubicBezTo>
                  <a:cubicBezTo>
                    <a:pt x="336" y="393"/>
                    <a:pt x="336" y="393"/>
                    <a:pt x="336" y="393"/>
                  </a:cubicBezTo>
                  <a:cubicBezTo>
                    <a:pt x="328" y="401"/>
                    <a:pt x="328" y="401"/>
                    <a:pt x="328" y="401"/>
                  </a:cubicBezTo>
                  <a:cubicBezTo>
                    <a:pt x="328" y="380"/>
                    <a:pt x="328" y="380"/>
                    <a:pt x="328" y="380"/>
                  </a:cubicBezTo>
                  <a:lnTo>
                    <a:pt x="339" y="368"/>
                  </a:lnTo>
                  <a:close/>
                  <a:moveTo>
                    <a:pt x="328" y="458"/>
                  </a:moveTo>
                  <a:cubicBezTo>
                    <a:pt x="317" y="447"/>
                    <a:pt x="317" y="447"/>
                    <a:pt x="317" y="447"/>
                  </a:cubicBezTo>
                  <a:cubicBezTo>
                    <a:pt x="317" y="419"/>
                    <a:pt x="317" y="419"/>
                    <a:pt x="317" y="419"/>
                  </a:cubicBezTo>
                  <a:cubicBezTo>
                    <a:pt x="328" y="430"/>
                    <a:pt x="328" y="430"/>
                    <a:pt x="328" y="430"/>
                  </a:cubicBezTo>
                  <a:cubicBezTo>
                    <a:pt x="328" y="458"/>
                    <a:pt x="328" y="458"/>
                    <a:pt x="328" y="458"/>
                  </a:cubicBezTo>
                  <a:close/>
                  <a:moveTo>
                    <a:pt x="317" y="189"/>
                  </a:moveTo>
                  <a:cubicBezTo>
                    <a:pt x="328" y="200"/>
                    <a:pt x="328" y="200"/>
                    <a:pt x="328" y="200"/>
                  </a:cubicBezTo>
                  <a:cubicBezTo>
                    <a:pt x="328" y="229"/>
                    <a:pt x="328" y="229"/>
                    <a:pt x="328" y="229"/>
                  </a:cubicBezTo>
                  <a:cubicBezTo>
                    <a:pt x="317" y="217"/>
                    <a:pt x="317" y="217"/>
                    <a:pt x="317" y="217"/>
                  </a:cubicBezTo>
                  <a:cubicBezTo>
                    <a:pt x="317" y="189"/>
                    <a:pt x="317" y="189"/>
                    <a:pt x="317" y="189"/>
                  </a:cubicBezTo>
                  <a:close/>
                  <a:moveTo>
                    <a:pt x="328" y="238"/>
                  </a:moveTo>
                  <a:cubicBezTo>
                    <a:pt x="328" y="274"/>
                    <a:pt x="328" y="274"/>
                    <a:pt x="328" y="274"/>
                  </a:cubicBezTo>
                  <a:cubicBezTo>
                    <a:pt x="321" y="267"/>
                    <a:pt x="321" y="267"/>
                    <a:pt x="321" y="267"/>
                  </a:cubicBezTo>
                  <a:cubicBezTo>
                    <a:pt x="317" y="271"/>
                    <a:pt x="317" y="271"/>
                    <a:pt x="317" y="271"/>
                  </a:cubicBezTo>
                  <a:cubicBezTo>
                    <a:pt x="317" y="249"/>
                    <a:pt x="317" y="249"/>
                    <a:pt x="317" y="249"/>
                  </a:cubicBezTo>
                  <a:cubicBezTo>
                    <a:pt x="328" y="238"/>
                    <a:pt x="328" y="238"/>
                    <a:pt x="328" y="238"/>
                  </a:cubicBezTo>
                  <a:close/>
                  <a:moveTo>
                    <a:pt x="328" y="294"/>
                  </a:moveTo>
                  <a:cubicBezTo>
                    <a:pt x="328" y="330"/>
                    <a:pt x="328" y="330"/>
                    <a:pt x="328" y="330"/>
                  </a:cubicBezTo>
                  <a:cubicBezTo>
                    <a:pt x="328" y="330"/>
                    <a:pt x="328" y="330"/>
                    <a:pt x="328" y="330"/>
                  </a:cubicBezTo>
                  <a:cubicBezTo>
                    <a:pt x="328" y="331"/>
                    <a:pt x="328" y="331"/>
                    <a:pt x="328" y="331"/>
                  </a:cubicBezTo>
                  <a:cubicBezTo>
                    <a:pt x="328" y="331"/>
                    <a:pt x="328" y="331"/>
                    <a:pt x="328" y="331"/>
                  </a:cubicBezTo>
                  <a:cubicBezTo>
                    <a:pt x="328" y="331"/>
                    <a:pt x="328" y="331"/>
                    <a:pt x="328" y="331"/>
                  </a:cubicBezTo>
                  <a:cubicBezTo>
                    <a:pt x="327" y="331"/>
                    <a:pt x="327" y="331"/>
                    <a:pt x="327" y="331"/>
                  </a:cubicBezTo>
                  <a:cubicBezTo>
                    <a:pt x="327" y="331"/>
                    <a:pt x="327" y="331"/>
                    <a:pt x="327" y="331"/>
                  </a:cubicBezTo>
                  <a:cubicBezTo>
                    <a:pt x="327" y="331"/>
                    <a:pt x="327" y="331"/>
                    <a:pt x="327" y="331"/>
                  </a:cubicBezTo>
                  <a:cubicBezTo>
                    <a:pt x="327" y="331"/>
                    <a:pt x="327" y="331"/>
                    <a:pt x="327" y="331"/>
                  </a:cubicBezTo>
                  <a:cubicBezTo>
                    <a:pt x="327" y="332"/>
                    <a:pt x="327" y="332"/>
                    <a:pt x="327" y="332"/>
                  </a:cubicBezTo>
                  <a:cubicBezTo>
                    <a:pt x="327" y="332"/>
                    <a:pt x="327" y="332"/>
                    <a:pt x="327" y="332"/>
                  </a:cubicBezTo>
                  <a:cubicBezTo>
                    <a:pt x="327" y="332"/>
                    <a:pt x="327" y="332"/>
                    <a:pt x="327"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3"/>
                    <a:pt x="326" y="333"/>
                    <a:pt x="326"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4"/>
                    <a:pt x="325" y="334"/>
                    <a:pt x="325" y="334"/>
                  </a:cubicBezTo>
                  <a:cubicBezTo>
                    <a:pt x="325" y="334"/>
                    <a:pt x="325" y="334"/>
                    <a:pt x="325"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5"/>
                    <a:pt x="324" y="335"/>
                    <a:pt x="324" y="335"/>
                  </a:cubicBezTo>
                  <a:cubicBezTo>
                    <a:pt x="324" y="335"/>
                    <a:pt x="324" y="335"/>
                    <a:pt x="324" y="335"/>
                  </a:cubicBezTo>
                  <a:cubicBezTo>
                    <a:pt x="323" y="335"/>
                    <a:pt x="323" y="335"/>
                    <a:pt x="323" y="335"/>
                  </a:cubicBezTo>
                  <a:cubicBezTo>
                    <a:pt x="323" y="335"/>
                    <a:pt x="323" y="335"/>
                    <a:pt x="323" y="335"/>
                  </a:cubicBezTo>
                  <a:cubicBezTo>
                    <a:pt x="317" y="342"/>
                    <a:pt x="317" y="342"/>
                    <a:pt x="317" y="342"/>
                  </a:cubicBezTo>
                  <a:cubicBezTo>
                    <a:pt x="317" y="320"/>
                    <a:pt x="317" y="320"/>
                    <a:pt x="317" y="320"/>
                  </a:cubicBezTo>
                  <a:cubicBezTo>
                    <a:pt x="323" y="314"/>
                    <a:pt x="323" y="314"/>
                    <a:pt x="323" y="314"/>
                  </a:cubicBezTo>
                  <a:cubicBezTo>
                    <a:pt x="317" y="308"/>
                    <a:pt x="317" y="308"/>
                    <a:pt x="317" y="308"/>
                  </a:cubicBezTo>
                  <a:cubicBezTo>
                    <a:pt x="317" y="283"/>
                    <a:pt x="317" y="283"/>
                    <a:pt x="317" y="283"/>
                  </a:cubicBezTo>
                  <a:cubicBezTo>
                    <a:pt x="328" y="294"/>
                    <a:pt x="328" y="294"/>
                    <a:pt x="328" y="294"/>
                  </a:cubicBezTo>
                  <a:close/>
                  <a:moveTo>
                    <a:pt x="328" y="380"/>
                  </a:moveTo>
                  <a:cubicBezTo>
                    <a:pt x="328" y="401"/>
                    <a:pt x="328" y="401"/>
                    <a:pt x="328" y="401"/>
                  </a:cubicBezTo>
                  <a:cubicBezTo>
                    <a:pt x="317" y="412"/>
                    <a:pt x="317" y="412"/>
                    <a:pt x="317" y="412"/>
                  </a:cubicBezTo>
                  <a:cubicBezTo>
                    <a:pt x="317" y="373"/>
                    <a:pt x="317" y="373"/>
                    <a:pt x="317" y="373"/>
                  </a:cubicBezTo>
                  <a:cubicBezTo>
                    <a:pt x="325" y="382"/>
                    <a:pt x="325" y="382"/>
                    <a:pt x="325" y="382"/>
                  </a:cubicBezTo>
                  <a:lnTo>
                    <a:pt x="328" y="380"/>
                  </a:lnTo>
                  <a:close/>
                  <a:moveTo>
                    <a:pt x="317" y="447"/>
                  </a:moveTo>
                  <a:cubicBezTo>
                    <a:pt x="305" y="435"/>
                    <a:pt x="305" y="435"/>
                    <a:pt x="305" y="435"/>
                  </a:cubicBezTo>
                  <a:cubicBezTo>
                    <a:pt x="305" y="402"/>
                    <a:pt x="305" y="402"/>
                    <a:pt x="305" y="402"/>
                  </a:cubicBezTo>
                  <a:cubicBezTo>
                    <a:pt x="313" y="395"/>
                    <a:pt x="313" y="395"/>
                    <a:pt x="313" y="395"/>
                  </a:cubicBezTo>
                  <a:cubicBezTo>
                    <a:pt x="305" y="387"/>
                    <a:pt x="305" y="387"/>
                    <a:pt x="305" y="387"/>
                  </a:cubicBezTo>
                  <a:cubicBezTo>
                    <a:pt x="305" y="362"/>
                    <a:pt x="305" y="362"/>
                    <a:pt x="305" y="362"/>
                  </a:cubicBezTo>
                  <a:cubicBezTo>
                    <a:pt x="317" y="373"/>
                    <a:pt x="317" y="373"/>
                    <a:pt x="317" y="373"/>
                  </a:cubicBezTo>
                  <a:cubicBezTo>
                    <a:pt x="317" y="412"/>
                    <a:pt x="317" y="412"/>
                    <a:pt x="317" y="412"/>
                  </a:cubicBezTo>
                  <a:cubicBezTo>
                    <a:pt x="314" y="416"/>
                    <a:pt x="314" y="416"/>
                    <a:pt x="314" y="416"/>
                  </a:cubicBezTo>
                  <a:cubicBezTo>
                    <a:pt x="317" y="419"/>
                    <a:pt x="317" y="419"/>
                    <a:pt x="317" y="419"/>
                  </a:cubicBezTo>
                  <a:cubicBezTo>
                    <a:pt x="317" y="447"/>
                    <a:pt x="317" y="447"/>
                    <a:pt x="317" y="447"/>
                  </a:cubicBezTo>
                  <a:close/>
                  <a:moveTo>
                    <a:pt x="305" y="178"/>
                  </a:moveTo>
                  <a:cubicBezTo>
                    <a:pt x="317" y="189"/>
                    <a:pt x="317" y="189"/>
                    <a:pt x="317" y="189"/>
                  </a:cubicBezTo>
                  <a:cubicBezTo>
                    <a:pt x="317" y="217"/>
                    <a:pt x="317" y="217"/>
                    <a:pt x="317" y="217"/>
                  </a:cubicBezTo>
                  <a:cubicBezTo>
                    <a:pt x="308" y="209"/>
                    <a:pt x="308" y="209"/>
                    <a:pt x="308" y="209"/>
                  </a:cubicBezTo>
                  <a:cubicBezTo>
                    <a:pt x="305" y="211"/>
                    <a:pt x="305" y="211"/>
                    <a:pt x="305" y="211"/>
                  </a:cubicBezTo>
                  <a:cubicBezTo>
                    <a:pt x="305" y="178"/>
                    <a:pt x="305" y="178"/>
                    <a:pt x="305" y="178"/>
                  </a:cubicBezTo>
                  <a:close/>
                  <a:moveTo>
                    <a:pt x="317" y="249"/>
                  </a:moveTo>
                  <a:cubicBezTo>
                    <a:pt x="317" y="271"/>
                    <a:pt x="317" y="271"/>
                    <a:pt x="317" y="271"/>
                  </a:cubicBezTo>
                  <a:cubicBezTo>
                    <a:pt x="311" y="277"/>
                    <a:pt x="311" y="277"/>
                    <a:pt x="311" y="277"/>
                  </a:cubicBezTo>
                  <a:cubicBezTo>
                    <a:pt x="317" y="283"/>
                    <a:pt x="317" y="283"/>
                    <a:pt x="317" y="283"/>
                  </a:cubicBezTo>
                  <a:cubicBezTo>
                    <a:pt x="317" y="308"/>
                    <a:pt x="317" y="308"/>
                    <a:pt x="317" y="308"/>
                  </a:cubicBezTo>
                  <a:cubicBezTo>
                    <a:pt x="305" y="296"/>
                    <a:pt x="305" y="296"/>
                    <a:pt x="305" y="296"/>
                  </a:cubicBezTo>
                  <a:cubicBezTo>
                    <a:pt x="305" y="260"/>
                    <a:pt x="305" y="260"/>
                    <a:pt x="305" y="260"/>
                  </a:cubicBezTo>
                  <a:cubicBezTo>
                    <a:pt x="305" y="260"/>
                    <a:pt x="305" y="260"/>
                    <a:pt x="305"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59"/>
                    <a:pt x="306" y="259"/>
                    <a:pt x="306" y="259"/>
                  </a:cubicBezTo>
                  <a:cubicBezTo>
                    <a:pt x="306" y="259"/>
                    <a:pt x="306" y="259"/>
                    <a:pt x="306"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8"/>
                    <a:pt x="307" y="258"/>
                    <a:pt x="307" y="258"/>
                  </a:cubicBezTo>
                  <a:cubicBezTo>
                    <a:pt x="307" y="258"/>
                    <a:pt x="307" y="258"/>
                    <a:pt x="307"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7"/>
                    <a:pt x="308" y="257"/>
                    <a:pt x="308"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6"/>
                    <a:pt x="309" y="256"/>
                    <a:pt x="309" y="256"/>
                  </a:cubicBezTo>
                  <a:cubicBezTo>
                    <a:pt x="309" y="256"/>
                    <a:pt x="309" y="256"/>
                    <a:pt x="309" y="256"/>
                  </a:cubicBezTo>
                  <a:cubicBezTo>
                    <a:pt x="310" y="256"/>
                    <a:pt x="310" y="256"/>
                    <a:pt x="310" y="256"/>
                  </a:cubicBezTo>
                  <a:cubicBezTo>
                    <a:pt x="310" y="256"/>
                    <a:pt x="310" y="256"/>
                    <a:pt x="310" y="256"/>
                  </a:cubicBezTo>
                  <a:cubicBezTo>
                    <a:pt x="310" y="256"/>
                    <a:pt x="310" y="256"/>
                    <a:pt x="310" y="256"/>
                  </a:cubicBezTo>
                  <a:cubicBezTo>
                    <a:pt x="310" y="256"/>
                    <a:pt x="310" y="256"/>
                    <a:pt x="310" y="256"/>
                  </a:cubicBezTo>
                  <a:cubicBezTo>
                    <a:pt x="317" y="249"/>
                    <a:pt x="317" y="249"/>
                    <a:pt x="317" y="249"/>
                  </a:cubicBezTo>
                  <a:close/>
                  <a:moveTo>
                    <a:pt x="317" y="320"/>
                  </a:moveTo>
                  <a:cubicBezTo>
                    <a:pt x="317" y="342"/>
                    <a:pt x="317" y="342"/>
                    <a:pt x="317" y="342"/>
                  </a:cubicBezTo>
                  <a:cubicBezTo>
                    <a:pt x="305" y="353"/>
                    <a:pt x="305" y="353"/>
                    <a:pt x="305" y="353"/>
                  </a:cubicBezTo>
                  <a:cubicBezTo>
                    <a:pt x="305" y="317"/>
                    <a:pt x="305" y="317"/>
                    <a:pt x="305" y="317"/>
                  </a:cubicBezTo>
                  <a:cubicBezTo>
                    <a:pt x="313" y="324"/>
                    <a:pt x="313" y="324"/>
                    <a:pt x="313" y="324"/>
                  </a:cubicBezTo>
                  <a:lnTo>
                    <a:pt x="317" y="320"/>
                  </a:lnTo>
                  <a:close/>
                  <a:moveTo>
                    <a:pt x="305" y="435"/>
                  </a:moveTo>
                  <a:cubicBezTo>
                    <a:pt x="294" y="424"/>
                    <a:pt x="294" y="424"/>
                    <a:pt x="294" y="424"/>
                  </a:cubicBezTo>
                  <a:cubicBezTo>
                    <a:pt x="294" y="396"/>
                    <a:pt x="294" y="396"/>
                    <a:pt x="294" y="396"/>
                  </a:cubicBezTo>
                  <a:cubicBezTo>
                    <a:pt x="303" y="405"/>
                    <a:pt x="303" y="405"/>
                    <a:pt x="303" y="405"/>
                  </a:cubicBezTo>
                  <a:cubicBezTo>
                    <a:pt x="305" y="402"/>
                    <a:pt x="305" y="402"/>
                    <a:pt x="305" y="402"/>
                  </a:cubicBezTo>
                  <a:cubicBezTo>
                    <a:pt x="305" y="435"/>
                    <a:pt x="305" y="435"/>
                    <a:pt x="305" y="435"/>
                  </a:cubicBezTo>
                  <a:close/>
                  <a:moveTo>
                    <a:pt x="294" y="166"/>
                  </a:moveTo>
                  <a:cubicBezTo>
                    <a:pt x="298" y="170"/>
                    <a:pt x="298" y="170"/>
                    <a:pt x="298" y="170"/>
                  </a:cubicBezTo>
                  <a:cubicBezTo>
                    <a:pt x="305" y="178"/>
                    <a:pt x="305" y="178"/>
                    <a:pt x="305" y="178"/>
                  </a:cubicBezTo>
                  <a:cubicBezTo>
                    <a:pt x="305" y="211"/>
                    <a:pt x="305" y="211"/>
                    <a:pt x="305" y="211"/>
                  </a:cubicBezTo>
                  <a:cubicBezTo>
                    <a:pt x="294" y="222"/>
                    <a:pt x="294" y="222"/>
                    <a:pt x="294" y="222"/>
                  </a:cubicBezTo>
                  <a:cubicBezTo>
                    <a:pt x="294" y="201"/>
                    <a:pt x="294" y="201"/>
                    <a:pt x="294" y="201"/>
                  </a:cubicBezTo>
                  <a:cubicBezTo>
                    <a:pt x="297" y="198"/>
                    <a:pt x="297" y="198"/>
                    <a:pt x="297" y="198"/>
                  </a:cubicBezTo>
                  <a:cubicBezTo>
                    <a:pt x="294" y="195"/>
                    <a:pt x="294" y="195"/>
                    <a:pt x="294" y="195"/>
                  </a:cubicBezTo>
                  <a:cubicBezTo>
                    <a:pt x="294" y="166"/>
                    <a:pt x="294" y="166"/>
                    <a:pt x="294" y="166"/>
                  </a:cubicBezTo>
                  <a:close/>
                  <a:moveTo>
                    <a:pt x="305" y="260"/>
                  </a:moveTo>
                  <a:cubicBezTo>
                    <a:pt x="305" y="296"/>
                    <a:pt x="305" y="296"/>
                    <a:pt x="305" y="296"/>
                  </a:cubicBezTo>
                  <a:cubicBezTo>
                    <a:pt x="298" y="289"/>
                    <a:pt x="298" y="289"/>
                    <a:pt x="298" y="289"/>
                  </a:cubicBezTo>
                  <a:cubicBezTo>
                    <a:pt x="294" y="293"/>
                    <a:pt x="294" y="293"/>
                    <a:pt x="294" y="293"/>
                  </a:cubicBezTo>
                  <a:cubicBezTo>
                    <a:pt x="294" y="272"/>
                    <a:pt x="294" y="272"/>
                    <a:pt x="294" y="272"/>
                  </a:cubicBezTo>
                  <a:cubicBezTo>
                    <a:pt x="300" y="266"/>
                    <a:pt x="300" y="266"/>
                    <a:pt x="300" y="266"/>
                  </a:cubicBezTo>
                  <a:cubicBezTo>
                    <a:pt x="300" y="266"/>
                    <a:pt x="300" y="266"/>
                    <a:pt x="300" y="266"/>
                  </a:cubicBezTo>
                  <a:cubicBezTo>
                    <a:pt x="300" y="266"/>
                    <a:pt x="300" y="266"/>
                    <a:pt x="300" y="266"/>
                  </a:cubicBezTo>
                  <a:cubicBezTo>
                    <a:pt x="300" y="265"/>
                    <a:pt x="300" y="265"/>
                    <a:pt x="300" y="265"/>
                  </a:cubicBezTo>
                  <a:cubicBezTo>
                    <a:pt x="300" y="265"/>
                    <a:pt x="300" y="265"/>
                    <a:pt x="300"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4"/>
                    <a:pt x="301" y="264"/>
                    <a:pt x="301" y="264"/>
                  </a:cubicBezTo>
                  <a:cubicBezTo>
                    <a:pt x="301" y="264"/>
                    <a:pt x="301" y="264"/>
                    <a:pt x="301"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3"/>
                    <a:pt x="302" y="263"/>
                    <a:pt x="302" y="263"/>
                  </a:cubicBezTo>
                  <a:cubicBezTo>
                    <a:pt x="302" y="263"/>
                    <a:pt x="302" y="263"/>
                    <a:pt x="302" y="263"/>
                  </a:cubicBezTo>
                  <a:cubicBezTo>
                    <a:pt x="303" y="263"/>
                    <a:pt x="303" y="263"/>
                    <a:pt x="303" y="263"/>
                  </a:cubicBezTo>
                  <a:cubicBezTo>
                    <a:pt x="303" y="263"/>
                    <a:pt x="303" y="263"/>
                    <a:pt x="303" y="263"/>
                  </a:cubicBezTo>
                  <a:cubicBezTo>
                    <a:pt x="303" y="263"/>
                    <a:pt x="303" y="263"/>
                    <a:pt x="303" y="263"/>
                  </a:cubicBezTo>
                  <a:cubicBezTo>
                    <a:pt x="303" y="263"/>
                    <a:pt x="303" y="263"/>
                    <a:pt x="303" y="263"/>
                  </a:cubicBezTo>
                  <a:cubicBezTo>
                    <a:pt x="303" y="262"/>
                    <a:pt x="303" y="262"/>
                    <a:pt x="303" y="262"/>
                  </a:cubicBezTo>
                  <a:cubicBezTo>
                    <a:pt x="303" y="262"/>
                    <a:pt x="303" y="262"/>
                    <a:pt x="303" y="262"/>
                  </a:cubicBezTo>
                  <a:cubicBezTo>
                    <a:pt x="303" y="262"/>
                    <a:pt x="303" y="262"/>
                    <a:pt x="303"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1"/>
                    <a:pt x="304" y="261"/>
                    <a:pt x="304" y="261"/>
                  </a:cubicBezTo>
                  <a:cubicBezTo>
                    <a:pt x="304" y="261"/>
                    <a:pt x="304" y="261"/>
                    <a:pt x="304"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0"/>
                    <a:pt x="305" y="260"/>
                    <a:pt x="305" y="260"/>
                  </a:cubicBezTo>
                  <a:cubicBezTo>
                    <a:pt x="305" y="260"/>
                    <a:pt x="305" y="260"/>
                    <a:pt x="305" y="260"/>
                  </a:cubicBezTo>
                  <a:close/>
                  <a:moveTo>
                    <a:pt x="305" y="317"/>
                  </a:moveTo>
                  <a:cubicBezTo>
                    <a:pt x="305" y="353"/>
                    <a:pt x="305" y="353"/>
                    <a:pt x="305" y="353"/>
                  </a:cubicBezTo>
                  <a:cubicBezTo>
                    <a:pt x="301" y="357"/>
                    <a:pt x="301" y="357"/>
                    <a:pt x="301" y="357"/>
                  </a:cubicBezTo>
                  <a:cubicBezTo>
                    <a:pt x="305" y="362"/>
                    <a:pt x="305" y="362"/>
                    <a:pt x="305" y="362"/>
                  </a:cubicBezTo>
                  <a:cubicBezTo>
                    <a:pt x="305" y="387"/>
                    <a:pt x="305" y="387"/>
                    <a:pt x="305" y="387"/>
                  </a:cubicBezTo>
                  <a:cubicBezTo>
                    <a:pt x="294" y="375"/>
                    <a:pt x="294" y="375"/>
                    <a:pt x="294" y="375"/>
                  </a:cubicBezTo>
                  <a:cubicBezTo>
                    <a:pt x="294" y="342"/>
                    <a:pt x="294" y="342"/>
                    <a:pt x="294" y="342"/>
                  </a:cubicBezTo>
                  <a:cubicBezTo>
                    <a:pt x="294" y="342"/>
                    <a:pt x="294" y="342"/>
                    <a:pt x="294" y="342"/>
                  </a:cubicBezTo>
                  <a:cubicBezTo>
                    <a:pt x="294" y="342"/>
                    <a:pt x="294" y="342"/>
                    <a:pt x="294"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1"/>
                    <a:pt x="295" y="341"/>
                    <a:pt x="295" y="341"/>
                  </a:cubicBezTo>
                  <a:cubicBezTo>
                    <a:pt x="295" y="341"/>
                    <a:pt x="295" y="341"/>
                    <a:pt x="295" y="341"/>
                  </a:cubicBezTo>
                  <a:cubicBezTo>
                    <a:pt x="295" y="341"/>
                    <a:pt x="295" y="341"/>
                    <a:pt x="295" y="341"/>
                  </a:cubicBezTo>
                  <a:cubicBezTo>
                    <a:pt x="295" y="341"/>
                    <a:pt x="295" y="341"/>
                    <a:pt x="295" y="341"/>
                  </a:cubicBezTo>
                  <a:cubicBezTo>
                    <a:pt x="296" y="341"/>
                    <a:pt x="296" y="341"/>
                    <a:pt x="296" y="341"/>
                  </a:cubicBezTo>
                  <a:cubicBezTo>
                    <a:pt x="296" y="341"/>
                    <a:pt x="296" y="341"/>
                    <a:pt x="296" y="341"/>
                  </a:cubicBezTo>
                  <a:cubicBezTo>
                    <a:pt x="296" y="341"/>
                    <a:pt x="296" y="341"/>
                    <a:pt x="296" y="341"/>
                  </a:cubicBezTo>
                  <a:cubicBezTo>
                    <a:pt x="296" y="341"/>
                    <a:pt x="296" y="341"/>
                    <a:pt x="296" y="341"/>
                  </a:cubicBezTo>
                  <a:cubicBezTo>
                    <a:pt x="296" y="340"/>
                    <a:pt x="296" y="340"/>
                    <a:pt x="296" y="340"/>
                  </a:cubicBezTo>
                  <a:cubicBezTo>
                    <a:pt x="296" y="340"/>
                    <a:pt x="296" y="340"/>
                    <a:pt x="296" y="340"/>
                  </a:cubicBezTo>
                  <a:cubicBezTo>
                    <a:pt x="296" y="340"/>
                    <a:pt x="296" y="340"/>
                    <a:pt x="296" y="340"/>
                  </a:cubicBezTo>
                  <a:cubicBezTo>
                    <a:pt x="296" y="340"/>
                    <a:pt x="296" y="340"/>
                    <a:pt x="296" y="340"/>
                  </a:cubicBezTo>
                  <a:cubicBezTo>
                    <a:pt x="297" y="340"/>
                    <a:pt x="297" y="340"/>
                    <a:pt x="297" y="340"/>
                  </a:cubicBezTo>
                  <a:cubicBezTo>
                    <a:pt x="297" y="340"/>
                    <a:pt x="297" y="340"/>
                    <a:pt x="297" y="340"/>
                  </a:cubicBezTo>
                  <a:cubicBezTo>
                    <a:pt x="297" y="340"/>
                    <a:pt x="297" y="340"/>
                    <a:pt x="297" y="340"/>
                  </a:cubicBezTo>
                  <a:cubicBezTo>
                    <a:pt x="297" y="340"/>
                    <a:pt x="297" y="340"/>
                    <a:pt x="297" y="340"/>
                  </a:cubicBezTo>
                  <a:cubicBezTo>
                    <a:pt x="297" y="339"/>
                    <a:pt x="297" y="339"/>
                    <a:pt x="297" y="339"/>
                  </a:cubicBezTo>
                  <a:cubicBezTo>
                    <a:pt x="297" y="339"/>
                    <a:pt x="297" y="339"/>
                    <a:pt x="297" y="339"/>
                  </a:cubicBezTo>
                  <a:cubicBezTo>
                    <a:pt x="297" y="339"/>
                    <a:pt x="297" y="339"/>
                    <a:pt x="297" y="339"/>
                  </a:cubicBezTo>
                  <a:cubicBezTo>
                    <a:pt x="297" y="339"/>
                    <a:pt x="297" y="339"/>
                    <a:pt x="297" y="339"/>
                  </a:cubicBezTo>
                  <a:cubicBezTo>
                    <a:pt x="298" y="339"/>
                    <a:pt x="298" y="339"/>
                    <a:pt x="298" y="339"/>
                  </a:cubicBezTo>
                  <a:cubicBezTo>
                    <a:pt x="298" y="339"/>
                    <a:pt x="298" y="339"/>
                    <a:pt x="298" y="339"/>
                  </a:cubicBezTo>
                  <a:cubicBezTo>
                    <a:pt x="298" y="339"/>
                    <a:pt x="298" y="339"/>
                    <a:pt x="298" y="339"/>
                  </a:cubicBezTo>
                  <a:cubicBezTo>
                    <a:pt x="298" y="339"/>
                    <a:pt x="298" y="339"/>
                    <a:pt x="298" y="339"/>
                  </a:cubicBezTo>
                  <a:cubicBezTo>
                    <a:pt x="298" y="338"/>
                    <a:pt x="298" y="338"/>
                    <a:pt x="298" y="338"/>
                  </a:cubicBezTo>
                  <a:cubicBezTo>
                    <a:pt x="298" y="338"/>
                    <a:pt x="298" y="338"/>
                    <a:pt x="298" y="338"/>
                  </a:cubicBezTo>
                  <a:cubicBezTo>
                    <a:pt x="298" y="338"/>
                    <a:pt x="298" y="338"/>
                    <a:pt x="298" y="338"/>
                  </a:cubicBezTo>
                  <a:cubicBezTo>
                    <a:pt x="298" y="338"/>
                    <a:pt x="298" y="338"/>
                    <a:pt x="298" y="338"/>
                  </a:cubicBezTo>
                  <a:cubicBezTo>
                    <a:pt x="299" y="338"/>
                    <a:pt x="299" y="338"/>
                    <a:pt x="299" y="338"/>
                  </a:cubicBezTo>
                  <a:cubicBezTo>
                    <a:pt x="299" y="338"/>
                    <a:pt x="299" y="338"/>
                    <a:pt x="299" y="338"/>
                  </a:cubicBezTo>
                  <a:cubicBezTo>
                    <a:pt x="299" y="338"/>
                    <a:pt x="299" y="338"/>
                    <a:pt x="299" y="338"/>
                  </a:cubicBezTo>
                  <a:cubicBezTo>
                    <a:pt x="299" y="338"/>
                    <a:pt x="299" y="338"/>
                    <a:pt x="299" y="338"/>
                  </a:cubicBezTo>
                  <a:cubicBezTo>
                    <a:pt x="299" y="337"/>
                    <a:pt x="299" y="337"/>
                    <a:pt x="299" y="337"/>
                  </a:cubicBezTo>
                  <a:cubicBezTo>
                    <a:pt x="299" y="337"/>
                    <a:pt x="299" y="337"/>
                    <a:pt x="299" y="337"/>
                  </a:cubicBezTo>
                  <a:cubicBezTo>
                    <a:pt x="299" y="337"/>
                    <a:pt x="299" y="337"/>
                    <a:pt x="299" y="337"/>
                  </a:cubicBezTo>
                  <a:cubicBezTo>
                    <a:pt x="299" y="337"/>
                    <a:pt x="299" y="337"/>
                    <a:pt x="299" y="337"/>
                  </a:cubicBezTo>
                  <a:cubicBezTo>
                    <a:pt x="300" y="337"/>
                    <a:pt x="300" y="337"/>
                    <a:pt x="300" y="337"/>
                  </a:cubicBezTo>
                  <a:cubicBezTo>
                    <a:pt x="300" y="337"/>
                    <a:pt x="300" y="337"/>
                    <a:pt x="300" y="337"/>
                  </a:cubicBezTo>
                  <a:cubicBezTo>
                    <a:pt x="300" y="337"/>
                    <a:pt x="300" y="337"/>
                    <a:pt x="300" y="337"/>
                  </a:cubicBezTo>
                  <a:cubicBezTo>
                    <a:pt x="300" y="337"/>
                    <a:pt x="300" y="337"/>
                    <a:pt x="300" y="337"/>
                  </a:cubicBezTo>
                  <a:cubicBezTo>
                    <a:pt x="300" y="336"/>
                    <a:pt x="300" y="336"/>
                    <a:pt x="300" y="336"/>
                  </a:cubicBezTo>
                  <a:cubicBezTo>
                    <a:pt x="300" y="336"/>
                    <a:pt x="300" y="336"/>
                    <a:pt x="300" y="336"/>
                  </a:cubicBezTo>
                  <a:cubicBezTo>
                    <a:pt x="294" y="330"/>
                    <a:pt x="294" y="330"/>
                    <a:pt x="294" y="330"/>
                  </a:cubicBezTo>
                  <a:cubicBezTo>
                    <a:pt x="294" y="305"/>
                    <a:pt x="294" y="305"/>
                    <a:pt x="294" y="305"/>
                  </a:cubicBezTo>
                  <a:lnTo>
                    <a:pt x="305" y="317"/>
                  </a:lnTo>
                  <a:close/>
                  <a:moveTo>
                    <a:pt x="294" y="424"/>
                  </a:moveTo>
                  <a:cubicBezTo>
                    <a:pt x="271" y="401"/>
                    <a:pt x="271" y="401"/>
                    <a:pt x="271" y="401"/>
                  </a:cubicBezTo>
                  <a:cubicBezTo>
                    <a:pt x="271" y="365"/>
                    <a:pt x="271" y="365"/>
                    <a:pt x="271" y="365"/>
                  </a:cubicBezTo>
                  <a:cubicBezTo>
                    <a:pt x="290" y="347"/>
                    <a:pt x="290" y="347"/>
                    <a:pt x="290" y="347"/>
                  </a:cubicBezTo>
                  <a:cubicBezTo>
                    <a:pt x="290" y="347"/>
                    <a:pt x="290" y="347"/>
                    <a:pt x="290" y="347"/>
                  </a:cubicBezTo>
                  <a:cubicBezTo>
                    <a:pt x="290" y="346"/>
                    <a:pt x="290" y="346"/>
                    <a:pt x="290" y="346"/>
                  </a:cubicBezTo>
                  <a:cubicBezTo>
                    <a:pt x="290" y="346"/>
                    <a:pt x="290" y="346"/>
                    <a:pt x="290" y="346"/>
                  </a:cubicBezTo>
                  <a:cubicBezTo>
                    <a:pt x="290" y="346"/>
                    <a:pt x="290" y="346"/>
                    <a:pt x="290" y="346"/>
                  </a:cubicBezTo>
                  <a:cubicBezTo>
                    <a:pt x="290" y="346"/>
                    <a:pt x="290" y="346"/>
                    <a:pt x="290"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5"/>
                    <a:pt x="291" y="345"/>
                    <a:pt x="291" y="345"/>
                  </a:cubicBezTo>
                  <a:cubicBezTo>
                    <a:pt x="291" y="345"/>
                    <a:pt x="291" y="345"/>
                    <a:pt x="291" y="345"/>
                  </a:cubicBezTo>
                  <a:cubicBezTo>
                    <a:pt x="291" y="345"/>
                    <a:pt x="291" y="345"/>
                    <a:pt x="291" y="345"/>
                  </a:cubicBezTo>
                  <a:cubicBezTo>
                    <a:pt x="291" y="345"/>
                    <a:pt x="291" y="345"/>
                    <a:pt x="291" y="345"/>
                  </a:cubicBezTo>
                  <a:cubicBezTo>
                    <a:pt x="292" y="345"/>
                    <a:pt x="292" y="345"/>
                    <a:pt x="292" y="345"/>
                  </a:cubicBezTo>
                  <a:cubicBezTo>
                    <a:pt x="292" y="345"/>
                    <a:pt x="292" y="345"/>
                    <a:pt x="292" y="345"/>
                  </a:cubicBezTo>
                  <a:cubicBezTo>
                    <a:pt x="292" y="345"/>
                    <a:pt x="292" y="345"/>
                    <a:pt x="292" y="345"/>
                  </a:cubicBezTo>
                  <a:cubicBezTo>
                    <a:pt x="292" y="345"/>
                    <a:pt x="292" y="345"/>
                    <a:pt x="292" y="345"/>
                  </a:cubicBezTo>
                  <a:cubicBezTo>
                    <a:pt x="292" y="344"/>
                    <a:pt x="292" y="344"/>
                    <a:pt x="292" y="344"/>
                  </a:cubicBezTo>
                  <a:cubicBezTo>
                    <a:pt x="292" y="344"/>
                    <a:pt x="292" y="344"/>
                    <a:pt x="292" y="344"/>
                  </a:cubicBezTo>
                  <a:cubicBezTo>
                    <a:pt x="292" y="344"/>
                    <a:pt x="292" y="344"/>
                    <a:pt x="292"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3"/>
                    <a:pt x="293" y="343"/>
                    <a:pt x="293" y="343"/>
                  </a:cubicBezTo>
                  <a:cubicBezTo>
                    <a:pt x="293" y="343"/>
                    <a:pt x="293" y="343"/>
                    <a:pt x="293" y="343"/>
                  </a:cubicBezTo>
                  <a:cubicBezTo>
                    <a:pt x="293" y="343"/>
                    <a:pt x="293" y="343"/>
                    <a:pt x="293"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2"/>
                    <a:pt x="294" y="342"/>
                    <a:pt x="294" y="342"/>
                  </a:cubicBezTo>
                  <a:cubicBezTo>
                    <a:pt x="294" y="342"/>
                    <a:pt x="294" y="342"/>
                    <a:pt x="294" y="342"/>
                  </a:cubicBezTo>
                  <a:cubicBezTo>
                    <a:pt x="294" y="375"/>
                    <a:pt x="294" y="375"/>
                    <a:pt x="294" y="375"/>
                  </a:cubicBezTo>
                  <a:cubicBezTo>
                    <a:pt x="288" y="370"/>
                    <a:pt x="288" y="370"/>
                    <a:pt x="288" y="370"/>
                  </a:cubicBezTo>
                  <a:cubicBezTo>
                    <a:pt x="285" y="373"/>
                    <a:pt x="281" y="376"/>
                    <a:pt x="278" y="380"/>
                  </a:cubicBezTo>
                  <a:cubicBezTo>
                    <a:pt x="294" y="396"/>
                    <a:pt x="294" y="396"/>
                    <a:pt x="294" y="396"/>
                  </a:cubicBezTo>
                  <a:cubicBezTo>
                    <a:pt x="294" y="424"/>
                    <a:pt x="294" y="424"/>
                    <a:pt x="294" y="424"/>
                  </a:cubicBezTo>
                  <a:close/>
                  <a:moveTo>
                    <a:pt x="271" y="143"/>
                  </a:moveTo>
                  <a:cubicBezTo>
                    <a:pt x="294" y="166"/>
                    <a:pt x="294" y="166"/>
                    <a:pt x="294" y="166"/>
                  </a:cubicBezTo>
                  <a:cubicBezTo>
                    <a:pt x="294" y="195"/>
                    <a:pt x="294" y="195"/>
                    <a:pt x="294" y="195"/>
                  </a:cubicBezTo>
                  <a:cubicBezTo>
                    <a:pt x="272" y="173"/>
                    <a:pt x="272" y="173"/>
                    <a:pt x="272" y="173"/>
                  </a:cubicBezTo>
                  <a:cubicBezTo>
                    <a:pt x="271" y="174"/>
                    <a:pt x="271" y="174"/>
                    <a:pt x="271" y="174"/>
                  </a:cubicBezTo>
                  <a:cubicBezTo>
                    <a:pt x="271" y="143"/>
                    <a:pt x="271" y="143"/>
                    <a:pt x="271" y="143"/>
                  </a:cubicBezTo>
                  <a:close/>
                  <a:moveTo>
                    <a:pt x="294" y="201"/>
                  </a:moveTo>
                  <a:cubicBezTo>
                    <a:pt x="287" y="208"/>
                    <a:pt x="287" y="208"/>
                    <a:pt x="287" y="208"/>
                  </a:cubicBezTo>
                  <a:cubicBezTo>
                    <a:pt x="271" y="192"/>
                    <a:pt x="271" y="192"/>
                    <a:pt x="271" y="192"/>
                  </a:cubicBezTo>
                  <a:cubicBezTo>
                    <a:pt x="271" y="217"/>
                    <a:pt x="271" y="217"/>
                    <a:pt x="271" y="217"/>
                  </a:cubicBezTo>
                  <a:cubicBezTo>
                    <a:pt x="275" y="220"/>
                    <a:pt x="275" y="220"/>
                    <a:pt x="275" y="220"/>
                  </a:cubicBezTo>
                  <a:cubicBezTo>
                    <a:pt x="271" y="223"/>
                    <a:pt x="271" y="223"/>
                    <a:pt x="271" y="223"/>
                  </a:cubicBezTo>
                  <a:cubicBezTo>
                    <a:pt x="271" y="245"/>
                    <a:pt x="271" y="245"/>
                    <a:pt x="271" y="245"/>
                  </a:cubicBezTo>
                  <a:cubicBezTo>
                    <a:pt x="275" y="241"/>
                    <a:pt x="275" y="241"/>
                    <a:pt x="275" y="241"/>
                  </a:cubicBezTo>
                  <a:cubicBezTo>
                    <a:pt x="275" y="241"/>
                    <a:pt x="275" y="241"/>
                    <a:pt x="275" y="241"/>
                  </a:cubicBezTo>
                  <a:cubicBezTo>
                    <a:pt x="275" y="241"/>
                    <a:pt x="275" y="241"/>
                    <a:pt x="275" y="241"/>
                  </a:cubicBezTo>
                  <a:cubicBezTo>
                    <a:pt x="276" y="241"/>
                    <a:pt x="276" y="241"/>
                    <a:pt x="276" y="241"/>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7" y="240"/>
                    <a:pt x="277" y="240"/>
                    <a:pt x="277" y="240"/>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9" y="238"/>
                    <a:pt x="279" y="238"/>
                    <a:pt x="279" y="238"/>
                  </a:cubicBezTo>
                  <a:cubicBezTo>
                    <a:pt x="279" y="238"/>
                    <a:pt x="279" y="238"/>
                    <a:pt x="279" y="238"/>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80" y="237"/>
                    <a:pt x="280" y="237"/>
                    <a:pt x="280" y="237"/>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1" y="236"/>
                    <a:pt x="281" y="236"/>
                    <a:pt x="281" y="236"/>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2" y="235"/>
                    <a:pt x="282" y="235"/>
                    <a:pt x="282" y="235"/>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3" y="234"/>
                    <a:pt x="283" y="234"/>
                    <a:pt x="283" y="234"/>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4" y="233"/>
                    <a:pt x="284" y="233"/>
                    <a:pt x="284" y="233"/>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5" y="232"/>
                    <a:pt x="285" y="232"/>
                    <a:pt x="285" y="232"/>
                  </a:cubicBezTo>
                  <a:cubicBezTo>
                    <a:pt x="285" y="232"/>
                    <a:pt x="285" y="232"/>
                    <a:pt x="285" y="232"/>
                  </a:cubicBezTo>
                  <a:cubicBezTo>
                    <a:pt x="285" y="232"/>
                    <a:pt x="285" y="232"/>
                    <a:pt x="285" y="232"/>
                  </a:cubicBezTo>
                  <a:cubicBezTo>
                    <a:pt x="285" y="231"/>
                    <a:pt x="285" y="231"/>
                    <a:pt x="285" y="231"/>
                  </a:cubicBezTo>
                  <a:cubicBezTo>
                    <a:pt x="285" y="231"/>
                    <a:pt x="285" y="231"/>
                    <a:pt x="285" y="231"/>
                  </a:cubicBezTo>
                  <a:cubicBezTo>
                    <a:pt x="285" y="231"/>
                    <a:pt x="285" y="231"/>
                    <a:pt x="285" y="231"/>
                  </a:cubicBezTo>
                  <a:cubicBezTo>
                    <a:pt x="285" y="231"/>
                    <a:pt x="285" y="231"/>
                    <a:pt x="285" y="231"/>
                  </a:cubicBezTo>
                  <a:cubicBezTo>
                    <a:pt x="294" y="222"/>
                    <a:pt x="294" y="222"/>
                    <a:pt x="294" y="222"/>
                  </a:cubicBezTo>
                  <a:cubicBezTo>
                    <a:pt x="294" y="201"/>
                    <a:pt x="294" y="201"/>
                    <a:pt x="294" y="201"/>
                  </a:cubicBezTo>
                  <a:close/>
                  <a:moveTo>
                    <a:pt x="294" y="272"/>
                  </a:moveTo>
                  <a:cubicBezTo>
                    <a:pt x="294" y="293"/>
                    <a:pt x="294" y="293"/>
                    <a:pt x="294" y="293"/>
                  </a:cubicBezTo>
                  <a:cubicBezTo>
                    <a:pt x="288" y="299"/>
                    <a:pt x="288" y="299"/>
                    <a:pt x="288" y="299"/>
                  </a:cubicBezTo>
                  <a:cubicBezTo>
                    <a:pt x="294" y="305"/>
                    <a:pt x="294" y="305"/>
                    <a:pt x="294" y="305"/>
                  </a:cubicBezTo>
                  <a:cubicBezTo>
                    <a:pt x="294" y="330"/>
                    <a:pt x="294" y="330"/>
                    <a:pt x="294" y="330"/>
                  </a:cubicBezTo>
                  <a:cubicBezTo>
                    <a:pt x="276" y="311"/>
                    <a:pt x="276" y="311"/>
                    <a:pt x="276" y="311"/>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1" y="316"/>
                    <a:pt x="271" y="316"/>
                    <a:pt x="271" y="316"/>
                  </a:cubicBezTo>
                  <a:cubicBezTo>
                    <a:pt x="271" y="316"/>
                    <a:pt x="271" y="316"/>
                    <a:pt x="271" y="316"/>
                  </a:cubicBezTo>
                  <a:cubicBezTo>
                    <a:pt x="271" y="294"/>
                    <a:pt x="271" y="294"/>
                    <a:pt x="271" y="294"/>
                  </a:cubicBezTo>
                  <a:cubicBezTo>
                    <a:pt x="277" y="288"/>
                    <a:pt x="277" y="288"/>
                    <a:pt x="277" y="288"/>
                  </a:cubicBezTo>
                  <a:cubicBezTo>
                    <a:pt x="287" y="278"/>
                    <a:pt x="287" y="278"/>
                    <a:pt x="287" y="278"/>
                  </a:cubicBezTo>
                  <a:lnTo>
                    <a:pt x="294" y="272"/>
                  </a:lnTo>
                  <a:close/>
                  <a:moveTo>
                    <a:pt x="271" y="401"/>
                  </a:moveTo>
                  <a:cubicBezTo>
                    <a:pt x="244" y="374"/>
                    <a:pt x="244" y="374"/>
                    <a:pt x="244" y="374"/>
                  </a:cubicBezTo>
                  <a:cubicBezTo>
                    <a:pt x="244" y="346"/>
                    <a:pt x="244" y="346"/>
                    <a:pt x="244" y="346"/>
                  </a:cubicBezTo>
                  <a:cubicBezTo>
                    <a:pt x="267" y="369"/>
                    <a:pt x="267" y="369"/>
                    <a:pt x="267" y="369"/>
                  </a:cubicBezTo>
                  <a:cubicBezTo>
                    <a:pt x="271" y="365"/>
                    <a:pt x="271" y="365"/>
                    <a:pt x="271" y="365"/>
                  </a:cubicBezTo>
                  <a:cubicBezTo>
                    <a:pt x="271" y="401"/>
                    <a:pt x="271" y="401"/>
                    <a:pt x="271" y="401"/>
                  </a:cubicBezTo>
                  <a:close/>
                  <a:moveTo>
                    <a:pt x="244" y="116"/>
                  </a:moveTo>
                  <a:cubicBezTo>
                    <a:pt x="271" y="143"/>
                    <a:pt x="271" y="143"/>
                    <a:pt x="271" y="143"/>
                  </a:cubicBezTo>
                  <a:cubicBezTo>
                    <a:pt x="271" y="174"/>
                    <a:pt x="271" y="174"/>
                    <a:pt x="271" y="174"/>
                  </a:cubicBezTo>
                  <a:cubicBezTo>
                    <a:pt x="262" y="183"/>
                    <a:pt x="262" y="183"/>
                    <a:pt x="262" y="183"/>
                  </a:cubicBezTo>
                  <a:cubicBezTo>
                    <a:pt x="271" y="192"/>
                    <a:pt x="271" y="192"/>
                    <a:pt x="271" y="192"/>
                  </a:cubicBezTo>
                  <a:cubicBezTo>
                    <a:pt x="271" y="217"/>
                    <a:pt x="271" y="217"/>
                    <a:pt x="271" y="217"/>
                  </a:cubicBezTo>
                  <a:cubicBezTo>
                    <a:pt x="250" y="195"/>
                    <a:pt x="250" y="195"/>
                    <a:pt x="250" y="195"/>
                  </a:cubicBezTo>
                  <a:cubicBezTo>
                    <a:pt x="244" y="201"/>
                    <a:pt x="244" y="201"/>
                    <a:pt x="244" y="201"/>
                  </a:cubicBezTo>
                  <a:cubicBezTo>
                    <a:pt x="244" y="165"/>
                    <a:pt x="244" y="165"/>
                    <a:pt x="244" y="165"/>
                  </a:cubicBezTo>
                  <a:cubicBezTo>
                    <a:pt x="251" y="172"/>
                    <a:pt x="251" y="172"/>
                    <a:pt x="251" y="172"/>
                  </a:cubicBezTo>
                  <a:cubicBezTo>
                    <a:pt x="255" y="169"/>
                    <a:pt x="258" y="165"/>
                    <a:pt x="262" y="162"/>
                  </a:cubicBezTo>
                  <a:cubicBezTo>
                    <a:pt x="244" y="144"/>
                    <a:pt x="244" y="144"/>
                    <a:pt x="244" y="144"/>
                  </a:cubicBezTo>
                  <a:cubicBezTo>
                    <a:pt x="244" y="116"/>
                    <a:pt x="244" y="116"/>
                    <a:pt x="244" y="116"/>
                  </a:cubicBezTo>
                  <a:close/>
                  <a:moveTo>
                    <a:pt x="271" y="223"/>
                  </a:moveTo>
                  <a:cubicBezTo>
                    <a:pt x="264" y="230"/>
                    <a:pt x="264" y="230"/>
                    <a:pt x="264" y="230"/>
                  </a:cubicBezTo>
                  <a:cubicBezTo>
                    <a:pt x="244" y="210"/>
                    <a:pt x="244" y="210"/>
                    <a:pt x="244" y="210"/>
                  </a:cubicBezTo>
                  <a:cubicBezTo>
                    <a:pt x="244" y="235"/>
                    <a:pt x="244" y="235"/>
                    <a:pt x="244" y="235"/>
                  </a:cubicBezTo>
                  <a:cubicBezTo>
                    <a:pt x="252" y="243"/>
                    <a:pt x="252" y="243"/>
                    <a:pt x="252" y="243"/>
                  </a:cubicBezTo>
                  <a:cubicBezTo>
                    <a:pt x="252" y="243"/>
                    <a:pt x="252" y="243"/>
                    <a:pt x="252" y="243"/>
                  </a:cubicBezTo>
                  <a:cubicBezTo>
                    <a:pt x="252" y="243"/>
                    <a:pt x="252" y="243"/>
                    <a:pt x="252"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4"/>
                    <a:pt x="251" y="244"/>
                    <a:pt x="251" y="244"/>
                  </a:cubicBezTo>
                  <a:cubicBezTo>
                    <a:pt x="251" y="244"/>
                    <a:pt x="251" y="244"/>
                    <a:pt x="251"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5"/>
                    <a:pt x="250" y="245"/>
                    <a:pt x="250" y="245"/>
                  </a:cubicBezTo>
                  <a:cubicBezTo>
                    <a:pt x="250" y="245"/>
                    <a:pt x="250" y="245"/>
                    <a:pt x="250"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6"/>
                    <a:pt x="249" y="246"/>
                    <a:pt x="249" y="246"/>
                  </a:cubicBezTo>
                  <a:cubicBezTo>
                    <a:pt x="249" y="246"/>
                    <a:pt x="249" y="246"/>
                    <a:pt x="249"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7"/>
                    <a:pt x="248" y="247"/>
                    <a:pt x="248" y="247"/>
                  </a:cubicBezTo>
                  <a:cubicBezTo>
                    <a:pt x="248" y="247"/>
                    <a:pt x="248" y="247"/>
                    <a:pt x="248" y="247"/>
                  </a:cubicBezTo>
                  <a:cubicBezTo>
                    <a:pt x="248" y="247"/>
                    <a:pt x="248" y="247"/>
                    <a:pt x="248" y="247"/>
                  </a:cubicBezTo>
                  <a:cubicBezTo>
                    <a:pt x="248" y="247"/>
                    <a:pt x="248" y="247"/>
                    <a:pt x="248" y="247"/>
                  </a:cubicBezTo>
                  <a:cubicBezTo>
                    <a:pt x="247" y="247"/>
                    <a:pt x="247" y="247"/>
                    <a:pt x="247" y="247"/>
                  </a:cubicBezTo>
                  <a:cubicBezTo>
                    <a:pt x="247" y="247"/>
                    <a:pt x="247" y="247"/>
                    <a:pt x="247" y="247"/>
                  </a:cubicBezTo>
                  <a:cubicBezTo>
                    <a:pt x="247" y="247"/>
                    <a:pt x="247" y="247"/>
                    <a:pt x="247" y="247"/>
                  </a:cubicBezTo>
                  <a:cubicBezTo>
                    <a:pt x="247" y="247"/>
                    <a:pt x="247" y="247"/>
                    <a:pt x="247" y="247"/>
                  </a:cubicBezTo>
                  <a:cubicBezTo>
                    <a:pt x="247" y="248"/>
                    <a:pt x="247" y="248"/>
                    <a:pt x="247" y="248"/>
                  </a:cubicBezTo>
                  <a:cubicBezTo>
                    <a:pt x="247" y="248"/>
                    <a:pt x="247" y="248"/>
                    <a:pt x="247" y="248"/>
                  </a:cubicBezTo>
                  <a:cubicBezTo>
                    <a:pt x="247" y="248"/>
                    <a:pt x="247" y="248"/>
                    <a:pt x="247" y="248"/>
                  </a:cubicBezTo>
                  <a:cubicBezTo>
                    <a:pt x="246" y="248"/>
                    <a:pt x="246" y="248"/>
                    <a:pt x="246" y="248"/>
                  </a:cubicBezTo>
                  <a:cubicBezTo>
                    <a:pt x="246" y="248"/>
                    <a:pt x="246" y="248"/>
                    <a:pt x="246" y="248"/>
                  </a:cubicBezTo>
                  <a:cubicBezTo>
                    <a:pt x="246" y="248"/>
                    <a:pt x="246" y="248"/>
                    <a:pt x="246" y="248"/>
                  </a:cubicBezTo>
                  <a:cubicBezTo>
                    <a:pt x="246" y="248"/>
                    <a:pt x="246" y="248"/>
                    <a:pt x="246" y="248"/>
                  </a:cubicBezTo>
                  <a:cubicBezTo>
                    <a:pt x="246" y="249"/>
                    <a:pt x="246" y="249"/>
                    <a:pt x="246" y="249"/>
                  </a:cubicBezTo>
                  <a:cubicBezTo>
                    <a:pt x="246" y="249"/>
                    <a:pt x="246" y="249"/>
                    <a:pt x="246" y="249"/>
                  </a:cubicBezTo>
                  <a:cubicBezTo>
                    <a:pt x="246" y="249"/>
                    <a:pt x="246" y="249"/>
                    <a:pt x="246"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50"/>
                    <a:pt x="245" y="250"/>
                    <a:pt x="245" y="250"/>
                  </a:cubicBezTo>
                  <a:cubicBezTo>
                    <a:pt x="245" y="250"/>
                    <a:pt x="245" y="250"/>
                    <a:pt x="245" y="250"/>
                  </a:cubicBezTo>
                  <a:cubicBezTo>
                    <a:pt x="245" y="250"/>
                    <a:pt x="245" y="250"/>
                    <a:pt x="245" y="250"/>
                  </a:cubicBezTo>
                  <a:cubicBezTo>
                    <a:pt x="244" y="250"/>
                    <a:pt x="244" y="250"/>
                    <a:pt x="244" y="250"/>
                  </a:cubicBezTo>
                  <a:cubicBezTo>
                    <a:pt x="244" y="250"/>
                    <a:pt x="244" y="250"/>
                    <a:pt x="244" y="250"/>
                  </a:cubicBezTo>
                  <a:cubicBezTo>
                    <a:pt x="244" y="272"/>
                    <a:pt x="244" y="272"/>
                    <a:pt x="244" y="272"/>
                  </a:cubicBezTo>
                  <a:cubicBezTo>
                    <a:pt x="252" y="263"/>
                    <a:pt x="252" y="263"/>
                    <a:pt x="252" y="263"/>
                  </a:cubicBezTo>
                  <a:cubicBezTo>
                    <a:pt x="263" y="253"/>
                    <a:pt x="263" y="253"/>
                    <a:pt x="263" y="253"/>
                  </a:cubicBezTo>
                  <a:cubicBezTo>
                    <a:pt x="271" y="245"/>
                    <a:pt x="271" y="245"/>
                    <a:pt x="271" y="245"/>
                  </a:cubicBezTo>
                  <a:cubicBezTo>
                    <a:pt x="271" y="223"/>
                    <a:pt x="271" y="223"/>
                    <a:pt x="271" y="223"/>
                  </a:cubicBezTo>
                  <a:close/>
                  <a:moveTo>
                    <a:pt x="271" y="294"/>
                  </a:move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0" y="316"/>
                    <a:pt x="270" y="316"/>
                    <a:pt x="270" y="316"/>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6" y="320"/>
                    <a:pt x="266" y="320"/>
                    <a:pt x="266" y="320"/>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5" y="322"/>
                    <a:pt x="265" y="322"/>
                    <a:pt x="265" y="322"/>
                  </a:cubicBezTo>
                  <a:cubicBezTo>
                    <a:pt x="265" y="322"/>
                    <a:pt x="265" y="322"/>
                    <a:pt x="265" y="322"/>
                  </a:cubicBezTo>
                  <a:cubicBezTo>
                    <a:pt x="265" y="322"/>
                    <a:pt x="265" y="322"/>
                    <a:pt x="265" y="322"/>
                  </a:cubicBezTo>
                  <a:cubicBezTo>
                    <a:pt x="244" y="343"/>
                    <a:pt x="244" y="343"/>
                    <a:pt x="244" y="343"/>
                  </a:cubicBezTo>
                  <a:cubicBezTo>
                    <a:pt x="244" y="301"/>
                    <a:pt x="244" y="301"/>
                    <a:pt x="244" y="301"/>
                  </a:cubicBezTo>
                  <a:cubicBezTo>
                    <a:pt x="254" y="311"/>
                    <a:pt x="254" y="311"/>
                    <a:pt x="254" y="311"/>
                  </a:cubicBezTo>
                  <a:cubicBezTo>
                    <a:pt x="255" y="311"/>
                    <a:pt x="255" y="311"/>
                    <a:pt x="255" y="311"/>
                  </a:cubicBezTo>
                  <a:cubicBezTo>
                    <a:pt x="255" y="311"/>
                    <a:pt x="255" y="311"/>
                    <a:pt x="255" y="311"/>
                  </a:cubicBezTo>
                  <a:cubicBezTo>
                    <a:pt x="255" y="310"/>
                    <a:pt x="255" y="310"/>
                    <a:pt x="255" y="310"/>
                  </a:cubicBezTo>
                  <a:cubicBezTo>
                    <a:pt x="255" y="310"/>
                    <a:pt x="255" y="310"/>
                    <a:pt x="255" y="310"/>
                  </a:cubicBezTo>
                  <a:cubicBezTo>
                    <a:pt x="255" y="310"/>
                    <a:pt x="255" y="310"/>
                    <a:pt x="255" y="310"/>
                  </a:cubicBezTo>
                  <a:cubicBezTo>
                    <a:pt x="255" y="310"/>
                    <a:pt x="255" y="310"/>
                    <a:pt x="255" y="310"/>
                  </a:cubicBezTo>
                  <a:cubicBezTo>
                    <a:pt x="256" y="310"/>
                    <a:pt x="256" y="310"/>
                    <a:pt x="256" y="310"/>
                  </a:cubicBezTo>
                  <a:cubicBezTo>
                    <a:pt x="256" y="310"/>
                    <a:pt x="256" y="310"/>
                    <a:pt x="256" y="310"/>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7" y="309"/>
                    <a:pt x="257" y="309"/>
                    <a:pt x="257" y="309"/>
                  </a:cubicBezTo>
                  <a:cubicBezTo>
                    <a:pt x="257" y="309"/>
                    <a:pt x="257" y="309"/>
                    <a:pt x="257" y="309"/>
                  </a:cubicBezTo>
                  <a:cubicBezTo>
                    <a:pt x="257" y="308"/>
                    <a:pt x="257" y="308"/>
                    <a:pt x="257" y="308"/>
                  </a:cubicBezTo>
                  <a:cubicBezTo>
                    <a:pt x="257" y="308"/>
                    <a:pt x="257" y="308"/>
                    <a:pt x="257" y="308"/>
                  </a:cubicBezTo>
                  <a:cubicBezTo>
                    <a:pt x="257" y="308"/>
                    <a:pt x="257" y="308"/>
                    <a:pt x="257" y="308"/>
                  </a:cubicBezTo>
                  <a:cubicBezTo>
                    <a:pt x="257" y="308"/>
                    <a:pt x="257" y="308"/>
                    <a:pt x="257" y="308"/>
                  </a:cubicBezTo>
                  <a:cubicBezTo>
                    <a:pt x="258" y="308"/>
                    <a:pt x="258" y="308"/>
                    <a:pt x="258" y="308"/>
                  </a:cubicBezTo>
                  <a:cubicBezTo>
                    <a:pt x="258" y="308"/>
                    <a:pt x="258" y="308"/>
                    <a:pt x="258" y="308"/>
                  </a:cubicBezTo>
                  <a:cubicBezTo>
                    <a:pt x="258" y="307"/>
                    <a:pt x="258" y="307"/>
                    <a:pt x="258" y="307"/>
                  </a:cubicBezTo>
                  <a:cubicBezTo>
                    <a:pt x="258" y="307"/>
                    <a:pt x="258" y="307"/>
                    <a:pt x="258" y="307"/>
                  </a:cubicBezTo>
                  <a:cubicBezTo>
                    <a:pt x="258" y="307"/>
                    <a:pt x="258" y="307"/>
                    <a:pt x="258" y="307"/>
                  </a:cubicBezTo>
                  <a:cubicBezTo>
                    <a:pt x="258" y="307"/>
                    <a:pt x="258" y="307"/>
                    <a:pt x="258" y="307"/>
                  </a:cubicBezTo>
                  <a:cubicBezTo>
                    <a:pt x="259" y="307"/>
                    <a:pt x="259" y="307"/>
                    <a:pt x="259" y="307"/>
                  </a:cubicBezTo>
                  <a:cubicBezTo>
                    <a:pt x="259" y="307"/>
                    <a:pt x="259" y="307"/>
                    <a:pt x="259" y="307"/>
                  </a:cubicBezTo>
                  <a:cubicBezTo>
                    <a:pt x="259" y="306"/>
                    <a:pt x="259" y="306"/>
                    <a:pt x="259" y="306"/>
                  </a:cubicBezTo>
                  <a:cubicBezTo>
                    <a:pt x="259" y="306"/>
                    <a:pt x="259" y="306"/>
                    <a:pt x="259" y="306"/>
                  </a:cubicBezTo>
                  <a:cubicBezTo>
                    <a:pt x="259" y="306"/>
                    <a:pt x="259" y="306"/>
                    <a:pt x="259" y="306"/>
                  </a:cubicBezTo>
                  <a:cubicBezTo>
                    <a:pt x="259" y="306"/>
                    <a:pt x="259" y="306"/>
                    <a:pt x="259" y="306"/>
                  </a:cubicBezTo>
                  <a:cubicBezTo>
                    <a:pt x="260" y="306"/>
                    <a:pt x="260" y="306"/>
                    <a:pt x="260" y="306"/>
                  </a:cubicBezTo>
                  <a:cubicBezTo>
                    <a:pt x="260" y="306"/>
                    <a:pt x="260" y="306"/>
                    <a:pt x="260" y="306"/>
                  </a:cubicBezTo>
                  <a:cubicBezTo>
                    <a:pt x="260" y="305"/>
                    <a:pt x="260" y="305"/>
                    <a:pt x="260" y="305"/>
                  </a:cubicBezTo>
                  <a:cubicBezTo>
                    <a:pt x="260" y="305"/>
                    <a:pt x="260" y="305"/>
                    <a:pt x="260" y="305"/>
                  </a:cubicBezTo>
                  <a:cubicBezTo>
                    <a:pt x="260" y="305"/>
                    <a:pt x="260" y="305"/>
                    <a:pt x="260" y="305"/>
                  </a:cubicBezTo>
                  <a:cubicBezTo>
                    <a:pt x="260" y="305"/>
                    <a:pt x="260" y="305"/>
                    <a:pt x="260" y="305"/>
                  </a:cubicBezTo>
                  <a:cubicBezTo>
                    <a:pt x="261" y="305"/>
                    <a:pt x="261" y="305"/>
                    <a:pt x="261" y="305"/>
                  </a:cubicBezTo>
                  <a:cubicBezTo>
                    <a:pt x="261" y="305"/>
                    <a:pt x="261" y="305"/>
                    <a:pt x="261" y="305"/>
                  </a:cubicBezTo>
                  <a:cubicBezTo>
                    <a:pt x="261" y="304"/>
                    <a:pt x="261" y="304"/>
                    <a:pt x="261" y="304"/>
                  </a:cubicBezTo>
                  <a:cubicBezTo>
                    <a:pt x="261" y="304"/>
                    <a:pt x="261" y="304"/>
                    <a:pt x="261" y="304"/>
                  </a:cubicBezTo>
                  <a:cubicBezTo>
                    <a:pt x="261" y="304"/>
                    <a:pt x="261" y="304"/>
                    <a:pt x="261" y="304"/>
                  </a:cubicBezTo>
                  <a:cubicBezTo>
                    <a:pt x="261" y="304"/>
                    <a:pt x="261" y="304"/>
                    <a:pt x="261" y="304"/>
                  </a:cubicBezTo>
                  <a:cubicBezTo>
                    <a:pt x="262" y="304"/>
                    <a:pt x="262" y="304"/>
                    <a:pt x="262" y="304"/>
                  </a:cubicBezTo>
                  <a:cubicBezTo>
                    <a:pt x="262" y="304"/>
                    <a:pt x="262" y="304"/>
                    <a:pt x="262" y="304"/>
                  </a:cubicBezTo>
                  <a:cubicBezTo>
                    <a:pt x="262" y="304"/>
                    <a:pt x="262" y="304"/>
                    <a:pt x="262" y="304"/>
                  </a:cubicBezTo>
                  <a:cubicBezTo>
                    <a:pt x="262" y="303"/>
                    <a:pt x="262" y="303"/>
                    <a:pt x="262" y="303"/>
                  </a:cubicBezTo>
                  <a:cubicBezTo>
                    <a:pt x="262" y="303"/>
                    <a:pt x="262" y="303"/>
                    <a:pt x="262" y="303"/>
                  </a:cubicBezTo>
                  <a:cubicBezTo>
                    <a:pt x="262" y="303"/>
                    <a:pt x="262" y="303"/>
                    <a:pt x="262" y="303"/>
                  </a:cubicBezTo>
                  <a:cubicBezTo>
                    <a:pt x="263" y="303"/>
                    <a:pt x="263" y="303"/>
                    <a:pt x="263" y="303"/>
                  </a:cubicBezTo>
                  <a:cubicBezTo>
                    <a:pt x="263" y="303"/>
                    <a:pt x="263" y="303"/>
                    <a:pt x="263" y="303"/>
                  </a:cubicBezTo>
                  <a:cubicBezTo>
                    <a:pt x="263" y="303"/>
                    <a:pt x="263" y="303"/>
                    <a:pt x="263" y="303"/>
                  </a:cubicBezTo>
                  <a:cubicBezTo>
                    <a:pt x="263" y="302"/>
                    <a:pt x="263" y="302"/>
                    <a:pt x="263" y="302"/>
                  </a:cubicBezTo>
                  <a:cubicBezTo>
                    <a:pt x="263" y="302"/>
                    <a:pt x="263" y="302"/>
                    <a:pt x="263" y="302"/>
                  </a:cubicBezTo>
                  <a:cubicBezTo>
                    <a:pt x="263" y="302"/>
                    <a:pt x="263" y="302"/>
                    <a:pt x="263" y="302"/>
                  </a:cubicBezTo>
                  <a:cubicBezTo>
                    <a:pt x="263" y="302"/>
                    <a:pt x="263" y="302"/>
                    <a:pt x="263" y="302"/>
                  </a:cubicBezTo>
                  <a:cubicBezTo>
                    <a:pt x="264" y="302"/>
                    <a:pt x="264" y="302"/>
                    <a:pt x="264" y="302"/>
                  </a:cubicBezTo>
                  <a:cubicBezTo>
                    <a:pt x="264" y="302"/>
                    <a:pt x="264" y="302"/>
                    <a:pt x="264" y="302"/>
                  </a:cubicBezTo>
                  <a:cubicBezTo>
                    <a:pt x="264" y="301"/>
                    <a:pt x="264" y="301"/>
                    <a:pt x="264" y="301"/>
                  </a:cubicBezTo>
                  <a:cubicBezTo>
                    <a:pt x="264" y="301"/>
                    <a:pt x="264" y="301"/>
                    <a:pt x="264" y="301"/>
                  </a:cubicBezTo>
                  <a:cubicBezTo>
                    <a:pt x="264" y="301"/>
                    <a:pt x="264" y="301"/>
                    <a:pt x="264" y="301"/>
                  </a:cubicBezTo>
                  <a:cubicBezTo>
                    <a:pt x="264" y="301"/>
                    <a:pt x="264" y="301"/>
                    <a:pt x="264" y="301"/>
                  </a:cubicBezTo>
                  <a:cubicBezTo>
                    <a:pt x="265" y="301"/>
                    <a:pt x="265" y="301"/>
                    <a:pt x="265" y="301"/>
                  </a:cubicBezTo>
                  <a:cubicBezTo>
                    <a:pt x="265" y="301"/>
                    <a:pt x="265" y="301"/>
                    <a:pt x="265" y="301"/>
                  </a:cubicBezTo>
                  <a:lnTo>
                    <a:pt x="271" y="294"/>
                  </a:lnTo>
                  <a:close/>
                  <a:moveTo>
                    <a:pt x="244" y="374"/>
                  </a:moveTo>
                  <a:cubicBezTo>
                    <a:pt x="233" y="362"/>
                    <a:pt x="233" y="362"/>
                    <a:pt x="233" y="362"/>
                  </a:cubicBezTo>
                  <a:cubicBezTo>
                    <a:pt x="233" y="332"/>
                    <a:pt x="233" y="332"/>
                    <a:pt x="233" y="332"/>
                  </a:cubicBezTo>
                  <a:cubicBezTo>
                    <a:pt x="242" y="323"/>
                    <a:pt x="242" y="323"/>
                    <a:pt x="242" y="323"/>
                  </a:cubicBezTo>
                  <a:cubicBezTo>
                    <a:pt x="233" y="314"/>
                    <a:pt x="233" y="314"/>
                    <a:pt x="233" y="314"/>
                  </a:cubicBezTo>
                  <a:cubicBezTo>
                    <a:pt x="233" y="289"/>
                    <a:pt x="233" y="289"/>
                    <a:pt x="233" y="289"/>
                  </a:cubicBezTo>
                  <a:cubicBezTo>
                    <a:pt x="244" y="301"/>
                    <a:pt x="244" y="301"/>
                    <a:pt x="244" y="301"/>
                  </a:cubicBezTo>
                  <a:cubicBezTo>
                    <a:pt x="244" y="343"/>
                    <a:pt x="244" y="343"/>
                    <a:pt x="244" y="343"/>
                  </a:cubicBezTo>
                  <a:cubicBezTo>
                    <a:pt x="243" y="344"/>
                    <a:pt x="243" y="344"/>
                    <a:pt x="243" y="344"/>
                  </a:cubicBezTo>
                  <a:cubicBezTo>
                    <a:pt x="244" y="346"/>
                    <a:pt x="244" y="346"/>
                    <a:pt x="244" y="346"/>
                  </a:cubicBezTo>
                  <a:cubicBezTo>
                    <a:pt x="244" y="374"/>
                    <a:pt x="244" y="374"/>
                    <a:pt x="244" y="374"/>
                  </a:cubicBezTo>
                  <a:close/>
                  <a:moveTo>
                    <a:pt x="233" y="105"/>
                  </a:moveTo>
                  <a:cubicBezTo>
                    <a:pt x="244" y="116"/>
                    <a:pt x="244" y="116"/>
                    <a:pt x="244" y="116"/>
                  </a:cubicBezTo>
                  <a:cubicBezTo>
                    <a:pt x="244" y="144"/>
                    <a:pt x="244" y="144"/>
                    <a:pt x="244" y="144"/>
                  </a:cubicBezTo>
                  <a:cubicBezTo>
                    <a:pt x="237" y="137"/>
                    <a:pt x="237" y="137"/>
                    <a:pt x="237" y="137"/>
                  </a:cubicBezTo>
                  <a:cubicBezTo>
                    <a:pt x="233" y="141"/>
                    <a:pt x="233" y="141"/>
                    <a:pt x="233" y="141"/>
                  </a:cubicBezTo>
                  <a:cubicBezTo>
                    <a:pt x="233" y="105"/>
                    <a:pt x="233" y="105"/>
                    <a:pt x="233" y="105"/>
                  </a:cubicBezTo>
                  <a:close/>
                  <a:moveTo>
                    <a:pt x="244" y="165"/>
                  </a:moveTo>
                  <a:cubicBezTo>
                    <a:pt x="244" y="201"/>
                    <a:pt x="244" y="201"/>
                    <a:pt x="244" y="201"/>
                  </a:cubicBezTo>
                  <a:cubicBezTo>
                    <a:pt x="240" y="205"/>
                    <a:pt x="240" y="205"/>
                    <a:pt x="240" y="205"/>
                  </a:cubicBezTo>
                  <a:cubicBezTo>
                    <a:pt x="244" y="210"/>
                    <a:pt x="244" y="210"/>
                    <a:pt x="244" y="210"/>
                  </a:cubicBezTo>
                  <a:cubicBezTo>
                    <a:pt x="244" y="235"/>
                    <a:pt x="244" y="235"/>
                    <a:pt x="244" y="235"/>
                  </a:cubicBezTo>
                  <a:cubicBezTo>
                    <a:pt x="233" y="223"/>
                    <a:pt x="233" y="223"/>
                    <a:pt x="233" y="223"/>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4" y="190"/>
                    <a:pt x="234" y="190"/>
                    <a:pt x="234" y="190"/>
                  </a:cubicBezTo>
                  <a:cubicBezTo>
                    <a:pt x="234" y="190"/>
                    <a:pt x="234" y="190"/>
                    <a:pt x="234" y="190"/>
                  </a:cubicBezTo>
                  <a:cubicBezTo>
                    <a:pt x="234" y="190"/>
                    <a:pt x="234" y="190"/>
                    <a:pt x="234" y="190"/>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5" y="189"/>
                    <a:pt x="235" y="189"/>
                    <a:pt x="235" y="189"/>
                  </a:cubicBezTo>
                  <a:cubicBezTo>
                    <a:pt x="235" y="189"/>
                    <a:pt x="235" y="189"/>
                    <a:pt x="235" y="189"/>
                  </a:cubicBezTo>
                  <a:cubicBezTo>
                    <a:pt x="235" y="189"/>
                    <a:pt x="235" y="189"/>
                    <a:pt x="235" y="189"/>
                  </a:cubicBezTo>
                  <a:cubicBezTo>
                    <a:pt x="235" y="188"/>
                    <a:pt x="235" y="188"/>
                    <a:pt x="235" y="188"/>
                  </a:cubicBezTo>
                  <a:cubicBezTo>
                    <a:pt x="235" y="188"/>
                    <a:pt x="235" y="188"/>
                    <a:pt x="235" y="188"/>
                  </a:cubicBezTo>
                  <a:cubicBezTo>
                    <a:pt x="235" y="188"/>
                    <a:pt x="235" y="188"/>
                    <a:pt x="235" y="188"/>
                  </a:cubicBezTo>
                  <a:cubicBezTo>
                    <a:pt x="235" y="188"/>
                    <a:pt x="235" y="188"/>
                    <a:pt x="235" y="188"/>
                  </a:cubicBezTo>
                  <a:cubicBezTo>
                    <a:pt x="236" y="188"/>
                    <a:pt x="236" y="188"/>
                    <a:pt x="236" y="188"/>
                  </a:cubicBezTo>
                  <a:cubicBezTo>
                    <a:pt x="236" y="188"/>
                    <a:pt x="236" y="188"/>
                    <a:pt x="236" y="188"/>
                  </a:cubicBezTo>
                  <a:cubicBezTo>
                    <a:pt x="236" y="188"/>
                    <a:pt x="236" y="188"/>
                    <a:pt x="236" y="188"/>
                  </a:cubicBezTo>
                  <a:cubicBezTo>
                    <a:pt x="236" y="188"/>
                    <a:pt x="236" y="188"/>
                    <a:pt x="236" y="188"/>
                  </a:cubicBezTo>
                  <a:cubicBezTo>
                    <a:pt x="236" y="187"/>
                    <a:pt x="236" y="187"/>
                    <a:pt x="236" y="187"/>
                  </a:cubicBezTo>
                  <a:cubicBezTo>
                    <a:pt x="236" y="187"/>
                    <a:pt x="236" y="187"/>
                    <a:pt x="236" y="187"/>
                  </a:cubicBezTo>
                  <a:cubicBezTo>
                    <a:pt x="236" y="187"/>
                    <a:pt x="236" y="187"/>
                    <a:pt x="236" y="187"/>
                  </a:cubicBezTo>
                  <a:cubicBezTo>
                    <a:pt x="237" y="187"/>
                    <a:pt x="237" y="187"/>
                    <a:pt x="237" y="187"/>
                  </a:cubicBezTo>
                  <a:cubicBezTo>
                    <a:pt x="237" y="187"/>
                    <a:pt x="237" y="187"/>
                    <a:pt x="237" y="187"/>
                  </a:cubicBezTo>
                  <a:cubicBezTo>
                    <a:pt x="237" y="187"/>
                    <a:pt x="237" y="187"/>
                    <a:pt x="237" y="187"/>
                  </a:cubicBezTo>
                  <a:cubicBezTo>
                    <a:pt x="237" y="187"/>
                    <a:pt x="237" y="187"/>
                    <a:pt x="237" y="187"/>
                  </a:cubicBezTo>
                  <a:cubicBezTo>
                    <a:pt x="237" y="186"/>
                    <a:pt x="237" y="186"/>
                    <a:pt x="237" y="186"/>
                  </a:cubicBezTo>
                  <a:cubicBezTo>
                    <a:pt x="237" y="186"/>
                    <a:pt x="237" y="186"/>
                    <a:pt x="237" y="186"/>
                  </a:cubicBezTo>
                  <a:cubicBezTo>
                    <a:pt x="237" y="186"/>
                    <a:pt x="237" y="186"/>
                    <a:pt x="237" y="186"/>
                  </a:cubicBezTo>
                  <a:cubicBezTo>
                    <a:pt x="237" y="186"/>
                    <a:pt x="237" y="186"/>
                    <a:pt x="237" y="186"/>
                  </a:cubicBezTo>
                  <a:cubicBezTo>
                    <a:pt x="238" y="186"/>
                    <a:pt x="238" y="186"/>
                    <a:pt x="238" y="186"/>
                  </a:cubicBezTo>
                  <a:cubicBezTo>
                    <a:pt x="238" y="186"/>
                    <a:pt x="238" y="186"/>
                    <a:pt x="238" y="186"/>
                  </a:cubicBezTo>
                  <a:cubicBezTo>
                    <a:pt x="238" y="186"/>
                    <a:pt x="238" y="186"/>
                    <a:pt x="238" y="186"/>
                  </a:cubicBezTo>
                  <a:cubicBezTo>
                    <a:pt x="238" y="185"/>
                    <a:pt x="238" y="185"/>
                    <a:pt x="238" y="185"/>
                  </a:cubicBezTo>
                  <a:cubicBezTo>
                    <a:pt x="238" y="185"/>
                    <a:pt x="238" y="185"/>
                    <a:pt x="238" y="185"/>
                  </a:cubicBezTo>
                  <a:cubicBezTo>
                    <a:pt x="238" y="185"/>
                    <a:pt x="238" y="185"/>
                    <a:pt x="238" y="185"/>
                  </a:cubicBezTo>
                  <a:cubicBezTo>
                    <a:pt x="238" y="185"/>
                    <a:pt x="238" y="185"/>
                    <a:pt x="238" y="185"/>
                  </a:cubicBezTo>
                  <a:cubicBezTo>
                    <a:pt x="239" y="185"/>
                    <a:pt x="239" y="185"/>
                    <a:pt x="239" y="185"/>
                  </a:cubicBezTo>
                  <a:cubicBezTo>
                    <a:pt x="239" y="185"/>
                    <a:pt x="239" y="185"/>
                    <a:pt x="239" y="185"/>
                  </a:cubicBezTo>
                  <a:cubicBezTo>
                    <a:pt x="239" y="185"/>
                    <a:pt x="239" y="185"/>
                    <a:pt x="239" y="185"/>
                  </a:cubicBezTo>
                  <a:cubicBezTo>
                    <a:pt x="239" y="184"/>
                    <a:pt x="239" y="184"/>
                    <a:pt x="239" y="184"/>
                  </a:cubicBezTo>
                  <a:cubicBezTo>
                    <a:pt x="239" y="184"/>
                    <a:pt x="239" y="184"/>
                    <a:pt x="239" y="184"/>
                  </a:cubicBezTo>
                  <a:cubicBezTo>
                    <a:pt x="233" y="178"/>
                    <a:pt x="233" y="178"/>
                    <a:pt x="233" y="178"/>
                  </a:cubicBezTo>
                  <a:cubicBezTo>
                    <a:pt x="233" y="153"/>
                    <a:pt x="233" y="153"/>
                    <a:pt x="233" y="153"/>
                  </a:cubicBezTo>
                  <a:cubicBezTo>
                    <a:pt x="244" y="165"/>
                    <a:pt x="244" y="165"/>
                    <a:pt x="244" y="165"/>
                  </a:cubicBezTo>
                  <a:close/>
                  <a:moveTo>
                    <a:pt x="244" y="250"/>
                  </a:moveTo>
                  <a:cubicBezTo>
                    <a:pt x="244" y="272"/>
                    <a:pt x="244" y="272"/>
                    <a:pt x="244" y="272"/>
                  </a:cubicBezTo>
                  <a:cubicBezTo>
                    <a:pt x="240" y="276"/>
                    <a:pt x="240" y="276"/>
                    <a:pt x="240" y="276"/>
                  </a:cubicBezTo>
                  <a:cubicBezTo>
                    <a:pt x="240" y="276"/>
                    <a:pt x="240" y="276"/>
                    <a:pt x="240" y="276"/>
                  </a:cubicBezTo>
                  <a:cubicBezTo>
                    <a:pt x="240" y="276"/>
                    <a:pt x="240" y="276"/>
                    <a:pt x="240" y="276"/>
                  </a:cubicBezTo>
                  <a:cubicBezTo>
                    <a:pt x="240" y="276"/>
                    <a:pt x="240" y="276"/>
                    <a:pt x="240" y="276"/>
                  </a:cubicBezTo>
                  <a:cubicBezTo>
                    <a:pt x="239" y="276"/>
                    <a:pt x="239" y="276"/>
                    <a:pt x="239" y="276"/>
                  </a:cubicBezTo>
                  <a:cubicBezTo>
                    <a:pt x="239" y="276"/>
                    <a:pt x="239" y="276"/>
                    <a:pt x="239" y="276"/>
                  </a:cubicBezTo>
                  <a:cubicBezTo>
                    <a:pt x="239" y="277"/>
                    <a:pt x="239" y="277"/>
                    <a:pt x="239" y="277"/>
                  </a:cubicBezTo>
                  <a:cubicBezTo>
                    <a:pt x="239" y="277"/>
                    <a:pt x="239" y="277"/>
                    <a:pt x="239" y="277"/>
                  </a:cubicBezTo>
                  <a:cubicBezTo>
                    <a:pt x="239" y="277"/>
                    <a:pt x="239" y="277"/>
                    <a:pt x="239" y="277"/>
                  </a:cubicBezTo>
                  <a:cubicBezTo>
                    <a:pt x="239" y="277"/>
                    <a:pt x="239" y="277"/>
                    <a:pt x="239" y="277"/>
                  </a:cubicBezTo>
                  <a:cubicBezTo>
                    <a:pt x="238" y="277"/>
                    <a:pt x="238" y="277"/>
                    <a:pt x="238" y="277"/>
                  </a:cubicBezTo>
                  <a:cubicBezTo>
                    <a:pt x="238" y="277"/>
                    <a:pt x="238" y="277"/>
                    <a:pt x="238" y="277"/>
                  </a:cubicBezTo>
                  <a:cubicBezTo>
                    <a:pt x="238" y="278"/>
                    <a:pt x="238" y="278"/>
                    <a:pt x="238" y="278"/>
                  </a:cubicBezTo>
                  <a:cubicBezTo>
                    <a:pt x="238" y="278"/>
                    <a:pt x="238" y="278"/>
                    <a:pt x="238" y="278"/>
                  </a:cubicBezTo>
                  <a:cubicBezTo>
                    <a:pt x="238" y="278"/>
                    <a:pt x="238" y="278"/>
                    <a:pt x="238" y="278"/>
                  </a:cubicBezTo>
                  <a:cubicBezTo>
                    <a:pt x="238" y="278"/>
                    <a:pt x="238" y="278"/>
                    <a:pt x="238" y="278"/>
                  </a:cubicBezTo>
                  <a:cubicBezTo>
                    <a:pt x="237" y="278"/>
                    <a:pt x="237" y="278"/>
                    <a:pt x="237" y="278"/>
                  </a:cubicBezTo>
                  <a:cubicBezTo>
                    <a:pt x="237" y="278"/>
                    <a:pt x="237" y="278"/>
                    <a:pt x="237" y="278"/>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6" y="279"/>
                    <a:pt x="236" y="279"/>
                    <a:pt x="236" y="279"/>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5" y="280"/>
                    <a:pt x="235" y="280"/>
                    <a:pt x="235" y="280"/>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4" y="281"/>
                    <a:pt x="234" y="281"/>
                    <a:pt x="234" y="281"/>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3" y="282"/>
                    <a:pt x="233" y="282"/>
                    <a:pt x="233" y="282"/>
                  </a:cubicBezTo>
                  <a:cubicBezTo>
                    <a:pt x="233" y="282"/>
                    <a:pt x="233" y="282"/>
                    <a:pt x="233" y="282"/>
                  </a:cubicBezTo>
                  <a:cubicBezTo>
                    <a:pt x="233" y="283"/>
                    <a:pt x="233" y="283"/>
                    <a:pt x="233" y="283"/>
                  </a:cubicBezTo>
                  <a:cubicBezTo>
                    <a:pt x="233" y="283"/>
                    <a:pt x="233" y="283"/>
                    <a:pt x="233" y="283"/>
                  </a:cubicBezTo>
                  <a:cubicBezTo>
                    <a:pt x="233" y="261"/>
                    <a:pt x="233" y="261"/>
                    <a:pt x="233" y="261"/>
                  </a:cubicBezTo>
                  <a:cubicBezTo>
                    <a:pt x="242" y="253"/>
                    <a:pt x="242" y="253"/>
                    <a:pt x="242" y="253"/>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3" y="252"/>
                    <a:pt x="243" y="252"/>
                    <a:pt x="243" y="252"/>
                  </a:cubicBezTo>
                  <a:cubicBezTo>
                    <a:pt x="243" y="252"/>
                    <a:pt x="243" y="252"/>
                    <a:pt x="243" y="252"/>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4" y="251"/>
                    <a:pt x="244" y="251"/>
                    <a:pt x="244" y="251"/>
                  </a:cubicBezTo>
                  <a:cubicBezTo>
                    <a:pt x="244" y="251"/>
                    <a:pt x="244" y="251"/>
                    <a:pt x="244" y="251"/>
                  </a:cubicBezTo>
                  <a:cubicBezTo>
                    <a:pt x="244" y="250"/>
                    <a:pt x="244" y="250"/>
                    <a:pt x="244" y="250"/>
                  </a:cubicBezTo>
                  <a:cubicBezTo>
                    <a:pt x="244" y="250"/>
                    <a:pt x="244" y="250"/>
                    <a:pt x="244" y="250"/>
                  </a:cubicBezTo>
                  <a:cubicBezTo>
                    <a:pt x="244" y="250"/>
                    <a:pt x="244" y="250"/>
                    <a:pt x="244" y="250"/>
                  </a:cubicBezTo>
                  <a:cubicBezTo>
                    <a:pt x="244" y="250"/>
                    <a:pt x="244" y="250"/>
                    <a:pt x="244" y="250"/>
                  </a:cubicBezTo>
                  <a:close/>
                  <a:moveTo>
                    <a:pt x="233" y="362"/>
                  </a:moveTo>
                  <a:cubicBezTo>
                    <a:pt x="209" y="338"/>
                    <a:pt x="209" y="338"/>
                    <a:pt x="209" y="338"/>
                  </a:cubicBezTo>
                  <a:cubicBezTo>
                    <a:pt x="209" y="310"/>
                    <a:pt x="209" y="310"/>
                    <a:pt x="209" y="310"/>
                  </a:cubicBezTo>
                  <a:cubicBezTo>
                    <a:pt x="232" y="333"/>
                    <a:pt x="232" y="333"/>
                    <a:pt x="232" y="333"/>
                  </a:cubicBezTo>
                  <a:cubicBezTo>
                    <a:pt x="233" y="332"/>
                    <a:pt x="233" y="332"/>
                    <a:pt x="233" y="332"/>
                  </a:cubicBezTo>
                  <a:cubicBezTo>
                    <a:pt x="233" y="362"/>
                    <a:pt x="233" y="362"/>
                    <a:pt x="233" y="362"/>
                  </a:cubicBezTo>
                  <a:close/>
                  <a:moveTo>
                    <a:pt x="209" y="80"/>
                  </a:moveTo>
                  <a:cubicBezTo>
                    <a:pt x="233" y="105"/>
                    <a:pt x="233" y="105"/>
                    <a:pt x="233" y="105"/>
                  </a:cubicBezTo>
                  <a:cubicBezTo>
                    <a:pt x="233" y="141"/>
                    <a:pt x="233" y="141"/>
                    <a:pt x="233" y="141"/>
                  </a:cubicBezTo>
                  <a:cubicBezTo>
                    <a:pt x="227" y="147"/>
                    <a:pt x="227" y="147"/>
                    <a:pt x="227" y="147"/>
                  </a:cubicBezTo>
                  <a:cubicBezTo>
                    <a:pt x="233" y="153"/>
                    <a:pt x="233" y="153"/>
                    <a:pt x="233" y="153"/>
                  </a:cubicBezTo>
                  <a:cubicBezTo>
                    <a:pt x="233" y="178"/>
                    <a:pt x="233" y="178"/>
                    <a:pt x="233" y="178"/>
                  </a:cubicBezTo>
                  <a:cubicBezTo>
                    <a:pt x="214" y="159"/>
                    <a:pt x="214" y="159"/>
                    <a:pt x="214" y="159"/>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3" y="160"/>
                    <a:pt x="213" y="160"/>
                    <a:pt x="213" y="160"/>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2" y="161"/>
                    <a:pt x="212" y="161"/>
                    <a:pt x="212" y="161"/>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1" y="162"/>
                    <a:pt x="211" y="162"/>
                    <a:pt x="211" y="162"/>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0" y="163"/>
                    <a:pt x="210" y="163"/>
                    <a:pt x="210" y="163"/>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09" y="164"/>
                    <a:pt x="209" y="164"/>
                    <a:pt x="209" y="164"/>
                  </a:cubicBezTo>
                  <a:cubicBezTo>
                    <a:pt x="209" y="164"/>
                    <a:pt x="209" y="164"/>
                    <a:pt x="209" y="164"/>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29"/>
                    <a:pt x="209" y="129"/>
                    <a:pt x="209" y="129"/>
                  </a:cubicBezTo>
                  <a:cubicBezTo>
                    <a:pt x="216" y="136"/>
                    <a:pt x="216" y="136"/>
                    <a:pt x="216" y="136"/>
                  </a:cubicBezTo>
                  <a:cubicBezTo>
                    <a:pt x="219" y="133"/>
                    <a:pt x="223" y="130"/>
                    <a:pt x="226" y="126"/>
                  </a:cubicBezTo>
                  <a:cubicBezTo>
                    <a:pt x="209" y="109"/>
                    <a:pt x="209" y="109"/>
                    <a:pt x="209" y="109"/>
                  </a:cubicBezTo>
                  <a:cubicBezTo>
                    <a:pt x="209" y="80"/>
                    <a:pt x="209" y="80"/>
                    <a:pt x="209" y="80"/>
                  </a:cubicBezTo>
                  <a:close/>
                  <a:moveTo>
                    <a:pt x="233" y="190"/>
                  </a:moveTo>
                  <a:cubicBezTo>
                    <a:pt x="233" y="223"/>
                    <a:pt x="233" y="223"/>
                    <a:pt x="233" y="223"/>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6" y="218"/>
                    <a:pt x="226" y="218"/>
                    <a:pt x="226" y="218"/>
                  </a:cubicBezTo>
                  <a:cubicBezTo>
                    <a:pt x="226" y="218"/>
                    <a:pt x="226" y="218"/>
                    <a:pt x="226" y="218"/>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9"/>
                    <a:pt x="225" y="219"/>
                    <a:pt x="225" y="219"/>
                  </a:cubicBezTo>
                  <a:cubicBezTo>
                    <a:pt x="225" y="219"/>
                    <a:pt x="225" y="219"/>
                    <a:pt x="225" y="219"/>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4" y="220"/>
                    <a:pt x="224" y="220"/>
                    <a:pt x="224" y="220"/>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3" y="221"/>
                    <a:pt x="223" y="221"/>
                    <a:pt x="223" y="221"/>
                  </a:cubicBezTo>
                  <a:cubicBezTo>
                    <a:pt x="223" y="221"/>
                    <a:pt x="223" y="221"/>
                    <a:pt x="223" y="221"/>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2" y="222"/>
                    <a:pt x="222" y="222"/>
                    <a:pt x="222" y="222"/>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1" y="223"/>
                    <a:pt x="221" y="223"/>
                    <a:pt x="221" y="223"/>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0" y="224"/>
                    <a:pt x="220" y="224"/>
                    <a:pt x="220" y="224"/>
                  </a:cubicBezTo>
                  <a:cubicBezTo>
                    <a:pt x="220" y="224"/>
                    <a:pt x="220" y="224"/>
                    <a:pt x="220" y="224"/>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19" y="225"/>
                    <a:pt x="219" y="225"/>
                    <a:pt x="219" y="225"/>
                  </a:cubicBezTo>
                  <a:cubicBezTo>
                    <a:pt x="219" y="225"/>
                    <a:pt x="219" y="225"/>
                    <a:pt x="219" y="225"/>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8" y="226"/>
                    <a:pt x="218" y="226"/>
                    <a:pt x="218" y="226"/>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7" y="227"/>
                    <a:pt x="217" y="227"/>
                    <a:pt x="217" y="227"/>
                  </a:cubicBezTo>
                  <a:cubicBezTo>
                    <a:pt x="217" y="227"/>
                    <a:pt x="217" y="227"/>
                    <a:pt x="217" y="227"/>
                  </a:cubicBezTo>
                  <a:cubicBezTo>
                    <a:pt x="217" y="228"/>
                    <a:pt x="217" y="228"/>
                    <a:pt x="217" y="228"/>
                  </a:cubicBezTo>
                  <a:cubicBezTo>
                    <a:pt x="217" y="228"/>
                    <a:pt x="217" y="228"/>
                    <a:pt x="217" y="228"/>
                  </a:cubicBezTo>
                  <a:cubicBezTo>
                    <a:pt x="209" y="236"/>
                    <a:pt x="209" y="236"/>
                    <a:pt x="209" y="236"/>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10" y="214"/>
                    <a:pt x="210" y="214"/>
                    <a:pt x="210" y="214"/>
                  </a:cubicBezTo>
                  <a:cubicBezTo>
                    <a:pt x="210" y="214"/>
                    <a:pt x="210" y="214"/>
                    <a:pt x="210" y="214"/>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1" y="213"/>
                    <a:pt x="211" y="213"/>
                    <a:pt x="211" y="213"/>
                  </a:cubicBezTo>
                  <a:cubicBezTo>
                    <a:pt x="211" y="213"/>
                    <a:pt x="211" y="213"/>
                    <a:pt x="211" y="213"/>
                  </a:cubicBezTo>
                  <a:cubicBezTo>
                    <a:pt x="211" y="213"/>
                    <a:pt x="211" y="213"/>
                    <a:pt x="211" y="213"/>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2" y="212"/>
                    <a:pt x="212" y="212"/>
                    <a:pt x="212" y="212"/>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3" y="211"/>
                    <a:pt x="213" y="211"/>
                    <a:pt x="213" y="211"/>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4" y="210"/>
                    <a:pt x="214" y="210"/>
                    <a:pt x="214" y="210"/>
                  </a:cubicBezTo>
                  <a:cubicBezTo>
                    <a:pt x="214" y="210"/>
                    <a:pt x="214" y="210"/>
                    <a:pt x="214" y="210"/>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5" y="209"/>
                    <a:pt x="215" y="209"/>
                    <a:pt x="215" y="209"/>
                  </a:cubicBezTo>
                  <a:cubicBezTo>
                    <a:pt x="215" y="209"/>
                    <a:pt x="215" y="209"/>
                    <a:pt x="215" y="209"/>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6" y="208"/>
                    <a:pt x="216" y="208"/>
                    <a:pt x="216" y="208"/>
                  </a:cubicBezTo>
                  <a:cubicBezTo>
                    <a:pt x="216" y="208"/>
                    <a:pt x="216" y="208"/>
                    <a:pt x="216" y="208"/>
                  </a:cubicBezTo>
                  <a:cubicBezTo>
                    <a:pt x="216" y="208"/>
                    <a:pt x="216" y="208"/>
                    <a:pt x="216" y="208"/>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29" y="194"/>
                    <a:pt x="229" y="194"/>
                    <a:pt x="229" y="194"/>
                  </a:cubicBezTo>
                  <a:cubicBezTo>
                    <a:pt x="229" y="194"/>
                    <a:pt x="229" y="194"/>
                    <a:pt x="229" y="194"/>
                  </a:cubicBezTo>
                  <a:cubicBezTo>
                    <a:pt x="229" y="194"/>
                    <a:pt x="229" y="194"/>
                    <a:pt x="229" y="194"/>
                  </a:cubicBezTo>
                  <a:cubicBezTo>
                    <a:pt x="229" y="194"/>
                    <a:pt x="229" y="194"/>
                    <a:pt x="229" y="194"/>
                  </a:cubicBezTo>
                  <a:cubicBezTo>
                    <a:pt x="230" y="194"/>
                    <a:pt x="230" y="194"/>
                    <a:pt x="230" y="194"/>
                  </a:cubicBezTo>
                  <a:cubicBezTo>
                    <a:pt x="230" y="194"/>
                    <a:pt x="230" y="194"/>
                    <a:pt x="230" y="194"/>
                  </a:cubicBezTo>
                  <a:cubicBezTo>
                    <a:pt x="230" y="194"/>
                    <a:pt x="230" y="194"/>
                    <a:pt x="230" y="194"/>
                  </a:cubicBezTo>
                  <a:cubicBezTo>
                    <a:pt x="230" y="194"/>
                    <a:pt x="230" y="194"/>
                    <a:pt x="230" y="194"/>
                  </a:cubicBezTo>
                  <a:cubicBezTo>
                    <a:pt x="230" y="193"/>
                    <a:pt x="230" y="193"/>
                    <a:pt x="230" y="193"/>
                  </a:cubicBezTo>
                  <a:cubicBezTo>
                    <a:pt x="230" y="193"/>
                    <a:pt x="230" y="193"/>
                    <a:pt x="230" y="193"/>
                  </a:cubicBezTo>
                  <a:cubicBezTo>
                    <a:pt x="230" y="193"/>
                    <a:pt x="230" y="193"/>
                    <a:pt x="230" y="193"/>
                  </a:cubicBezTo>
                  <a:cubicBezTo>
                    <a:pt x="230" y="193"/>
                    <a:pt x="230" y="193"/>
                    <a:pt x="230" y="193"/>
                  </a:cubicBezTo>
                  <a:cubicBezTo>
                    <a:pt x="231" y="193"/>
                    <a:pt x="231" y="193"/>
                    <a:pt x="231" y="193"/>
                  </a:cubicBezTo>
                  <a:cubicBezTo>
                    <a:pt x="231" y="193"/>
                    <a:pt x="231" y="193"/>
                    <a:pt x="231" y="193"/>
                  </a:cubicBezTo>
                  <a:cubicBezTo>
                    <a:pt x="231" y="193"/>
                    <a:pt x="231" y="193"/>
                    <a:pt x="231" y="193"/>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2" y="192"/>
                    <a:pt x="232" y="192"/>
                    <a:pt x="232" y="192"/>
                  </a:cubicBezTo>
                  <a:cubicBezTo>
                    <a:pt x="232" y="192"/>
                    <a:pt x="232" y="192"/>
                    <a:pt x="232" y="192"/>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3" y="191"/>
                    <a:pt x="233" y="191"/>
                    <a:pt x="233" y="191"/>
                  </a:cubicBezTo>
                  <a:cubicBezTo>
                    <a:pt x="233" y="191"/>
                    <a:pt x="233" y="191"/>
                    <a:pt x="233" y="191"/>
                  </a:cubicBezTo>
                  <a:cubicBezTo>
                    <a:pt x="233" y="191"/>
                    <a:pt x="233" y="191"/>
                    <a:pt x="233" y="191"/>
                  </a:cubicBezTo>
                  <a:cubicBezTo>
                    <a:pt x="233" y="190"/>
                    <a:pt x="233" y="190"/>
                    <a:pt x="233" y="190"/>
                  </a:cubicBezTo>
                  <a:close/>
                  <a:moveTo>
                    <a:pt x="233" y="261"/>
                  </a:move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6"/>
                    <a:pt x="229" y="266"/>
                    <a:pt x="229" y="266"/>
                  </a:cubicBezTo>
                  <a:cubicBezTo>
                    <a:pt x="229" y="266"/>
                    <a:pt x="229" y="266"/>
                    <a:pt x="229"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7"/>
                    <a:pt x="228" y="267"/>
                    <a:pt x="228" y="267"/>
                  </a:cubicBezTo>
                  <a:cubicBezTo>
                    <a:pt x="228" y="267"/>
                    <a:pt x="228" y="267"/>
                    <a:pt x="228"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8"/>
                    <a:pt x="227" y="268"/>
                    <a:pt x="227"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9"/>
                    <a:pt x="226" y="269"/>
                    <a:pt x="226"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70"/>
                    <a:pt x="225" y="270"/>
                    <a:pt x="225"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1"/>
                    <a:pt x="224" y="271"/>
                    <a:pt x="224"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2"/>
                    <a:pt x="223" y="272"/>
                    <a:pt x="223" y="272"/>
                  </a:cubicBezTo>
                  <a:cubicBezTo>
                    <a:pt x="223" y="272"/>
                    <a:pt x="223" y="272"/>
                    <a:pt x="223"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3"/>
                    <a:pt x="222" y="273"/>
                    <a:pt x="222" y="273"/>
                  </a:cubicBezTo>
                  <a:cubicBezTo>
                    <a:pt x="222" y="273"/>
                    <a:pt x="222" y="273"/>
                    <a:pt x="222"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4"/>
                    <a:pt x="221" y="274"/>
                    <a:pt x="221"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5"/>
                    <a:pt x="220" y="275"/>
                    <a:pt x="220" y="275"/>
                  </a:cubicBezTo>
                  <a:cubicBezTo>
                    <a:pt x="219" y="275"/>
                    <a:pt x="219" y="275"/>
                    <a:pt x="219" y="275"/>
                  </a:cubicBezTo>
                  <a:cubicBezTo>
                    <a:pt x="219" y="275"/>
                    <a:pt x="219" y="275"/>
                    <a:pt x="219" y="275"/>
                  </a:cubicBezTo>
                  <a:cubicBezTo>
                    <a:pt x="219" y="275"/>
                    <a:pt x="219" y="275"/>
                    <a:pt x="219" y="275"/>
                  </a:cubicBezTo>
                  <a:cubicBezTo>
                    <a:pt x="219" y="275"/>
                    <a:pt x="219" y="275"/>
                    <a:pt x="219" y="275"/>
                  </a:cubicBezTo>
                  <a:cubicBezTo>
                    <a:pt x="209" y="285"/>
                    <a:pt x="209" y="285"/>
                    <a:pt x="209" y="285"/>
                  </a:cubicBezTo>
                  <a:cubicBezTo>
                    <a:pt x="209" y="307"/>
                    <a:pt x="209" y="307"/>
                    <a:pt x="209" y="307"/>
                  </a:cubicBezTo>
                  <a:cubicBezTo>
                    <a:pt x="217" y="298"/>
                    <a:pt x="217" y="298"/>
                    <a:pt x="217" y="298"/>
                  </a:cubicBezTo>
                  <a:cubicBezTo>
                    <a:pt x="233" y="314"/>
                    <a:pt x="233" y="314"/>
                    <a:pt x="233" y="314"/>
                  </a:cubicBezTo>
                  <a:cubicBezTo>
                    <a:pt x="233" y="289"/>
                    <a:pt x="233" y="289"/>
                    <a:pt x="233" y="289"/>
                  </a:cubicBezTo>
                  <a:cubicBezTo>
                    <a:pt x="230" y="286"/>
                    <a:pt x="230" y="286"/>
                    <a:pt x="230" y="286"/>
                  </a:cubicBezTo>
                  <a:cubicBezTo>
                    <a:pt x="230" y="286"/>
                    <a:pt x="230" y="286"/>
                    <a:pt x="230" y="286"/>
                  </a:cubicBezTo>
                  <a:cubicBezTo>
                    <a:pt x="230" y="286"/>
                    <a:pt x="230" y="286"/>
                    <a:pt x="230" y="286"/>
                  </a:cubicBezTo>
                  <a:cubicBezTo>
                    <a:pt x="230" y="286"/>
                    <a:pt x="230" y="286"/>
                    <a:pt x="230" y="286"/>
                  </a:cubicBezTo>
                  <a:cubicBezTo>
                    <a:pt x="230" y="285"/>
                    <a:pt x="230" y="285"/>
                    <a:pt x="230"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4"/>
                    <a:pt x="231" y="284"/>
                    <a:pt x="231" y="284"/>
                  </a:cubicBezTo>
                  <a:cubicBezTo>
                    <a:pt x="231" y="284"/>
                    <a:pt x="231" y="284"/>
                    <a:pt x="231" y="284"/>
                  </a:cubicBezTo>
                  <a:cubicBezTo>
                    <a:pt x="232" y="284"/>
                    <a:pt x="232" y="284"/>
                    <a:pt x="232" y="284"/>
                  </a:cubicBezTo>
                  <a:cubicBezTo>
                    <a:pt x="232" y="284"/>
                    <a:pt x="232" y="284"/>
                    <a:pt x="232" y="284"/>
                  </a:cubicBezTo>
                  <a:cubicBezTo>
                    <a:pt x="232" y="284"/>
                    <a:pt x="232" y="284"/>
                    <a:pt x="232" y="284"/>
                  </a:cubicBezTo>
                  <a:cubicBezTo>
                    <a:pt x="232" y="284"/>
                    <a:pt x="232" y="284"/>
                    <a:pt x="232" y="284"/>
                  </a:cubicBezTo>
                  <a:cubicBezTo>
                    <a:pt x="232" y="283"/>
                    <a:pt x="232" y="283"/>
                    <a:pt x="232" y="283"/>
                  </a:cubicBezTo>
                  <a:cubicBezTo>
                    <a:pt x="232" y="283"/>
                    <a:pt x="232" y="283"/>
                    <a:pt x="232" y="283"/>
                  </a:cubicBezTo>
                  <a:cubicBezTo>
                    <a:pt x="233" y="283"/>
                    <a:pt x="233" y="283"/>
                    <a:pt x="233" y="283"/>
                  </a:cubicBezTo>
                  <a:cubicBezTo>
                    <a:pt x="233" y="283"/>
                    <a:pt x="233" y="283"/>
                    <a:pt x="233" y="283"/>
                  </a:cubicBezTo>
                  <a:cubicBezTo>
                    <a:pt x="233" y="283"/>
                    <a:pt x="233" y="283"/>
                    <a:pt x="233" y="283"/>
                  </a:cubicBezTo>
                  <a:cubicBezTo>
                    <a:pt x="233" y="283"/>
                    <a:pt x="233" y="283"/>
                    <a:pt x="233" y="283"/>
                  </a:cubicBezTo>
                  <a:lnTo>
                    <a:pt x="233" y="261"/>
                  </a:lnTo>
                  <a:close/>
                  <a:moveTo>
                    <a:pt x="209" y="338"/>
                  </a:moveTo>
                  <a:cubicBezTo>
                    <a:pt x="198" y="327"/>
                    <a:pt x="198" y="327"/>
                    <a:pt x="198" y="327"/>
                  </a:cubicBezTo>
                  <a:cubicBezTo>
                    <a:pt x="198" y="296"/>
                    <a:pt x="198" y="296"/>
                    <a:pt x="198" y="296"/>
                  </a:cubicBezTo>
                  <a:cubicBezTo>
                    <a:pt x="209" y="285"/>
                    <a:pt x="209" y="285"/>
                    <a:pt x="209" y="285"/>
                  </a:cubicBezTo>
                  <a:cubicBezTo>
                    <a:pt x="209" y="307"/>
                    <a:pt x="209" y="307"/>
                    <a:pt x="209" y="307"/>
                  </a:cubicBezTo>
                  <a:cubicBezTo>
                    <a:pt x="207" y="308"/>
                    <a:pt x="207" y="308"/>
                    <a:pt x="207" y="308"/>
                  </a:cubicBezTo>
                  <a:cubicBezTo>
                    <a:pt x="209" y="310"/>
                    <a:pt x="209" y="310"/>
                    <a:pt x="209" y="310"/>
                  </a:cubicBezTo>
                  <a:cubicBezTo>
                    <a:pt x="209" y="338"/>
                    <a:pt x="209" y="338"/>
                    <a:pt x="209" y="338"/>
                  </a:cubicBezTo>
                  <a:close/>
                  <a:moveTo>
                    <a:pt x="198" y="69"/>
                  </a:moveTo>
                  <a:cubicBezTo>
                    <a:pt x="209" y="80"/>
                    <a:pt x="209" y="80"/>
                    <a:pt x="209" y="80"/>
                  </a:cubicBezTo>
                  <a:cubicBezTo>
                    <a:pt x="209" y="109"/>
                    <a:pt x="209" y="109"/>
                    <a:pt x="209" y="109"/>
                  </a:cubicBezTo>
                  <a:cubicBezTo>
                    <a:pt x="202" y="101"/>
                    <a:pt x="202" y="101"/>
                    <a:pt x="202" y="101"/>
                  </a:cubicBezTo>
                  <a:cubicBezTo>
                    <a:pt x="198" y="105"/>
                    <a:pt x="198" y="105"/>
                    <a:pt x="198" y="105"/>
                  </a:cubicBezTo>
                  <a:cubicBezTo>
                    <a:pt x="198" y="69"/>
                    <a:pt x="198" y="69"/>
                    <a:pt x="198" y="69"/>
                  </a:cubicBezTo>
                  <a:close/>
                  <a:moveTo>
                    <a:pt x="209" y="129"/>
                  </a:moveTo>
                  <a:cubicBezTo>
                    <a:pt x="209" y="165"/>
                    <a:pt x="209" y="165"/>
                    <a:pt x="209" y="165"/>
                  </a:cubicBezTo>
                  <a:cubicBezTo>
                    <a:pt x="209" y="165"/>
                    <a:pt x="209" y="165"/>
                    <a:pt x="209" y="165"/>
                  </a:cubicBezTo>
                  <a:cubicBezTo>
                    <a:pt x="208" y="165"/>
                    <a:pt x="208" y="165"/>
                    <a:pt x="208" y="165"/>
                  </a:cubicBezTo>
                  <a:cubicBezTo>
                    <a:pt x="208" y="165"/>
                    <a:pt x="208" y="165"/>
                    <a:pt x="208" y="165"/>
                  </a:cubicBezTo>
                  <a:cubicBezTo>
                    <a:pt x="208" y="165"/>
                    <a:pt x="208" y="165"/>
                    <a:pt x="208" y="165"/>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7" y="166"/>
                    <a:pt x="207" y="166"/>
                    <a:pt x="207" y="166"/>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6" y="167"/>
                    <a:pt x="206" y="167"/>
                    <a:pt x="206" y="167"/>
                  </a:cubicBezTo>
                  <a:cubicBezTo>
                    <a:pt x="206" y="167"/>
                    <a:pt x="206" y="167"/>
                    <a:pt x="206" y="167"/>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5" y="168"/>
                    <a:pt x="205" y="168"/>
                    <a:pt x="205" y="168"/>
                  </a:cubicBezTo>
                  <a:cubicBezTo>
                    <a:pt x="205" y="168"/>
                    <a:pt x="205" y="168"/>
                    <a:pt x="205" y="168"/>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4" y="169"/>
                    <a:pt x="204" y="169"/>
                    <a:pt x="204" y="169"/>
                  </a:cubicBezTo>
                  <a:cubicBezTo>
                    <a:pt x="204" y="170"/>
                    <a:pt x="204" y="170"/>
                    <a:pt x="204" y="170"/>
                  </a:cubicBezTo>
                  <a:cubicBezTo>
                    <a:pt x="198" y="176"/>
                    <a:pt x="198" y="176"/>
                    <a:pt x="198" y="176"/>
                  </a:cubicBezTo>
                  <a:cubicBezTo>
                    <a:pt x="198" y="155"/>
                    <a:pt x="198" y="155"/>
                    <a:pt x="198" y="155"/>
                  </a:cubicBezTo>
                  <a:cubicBezTo>
                    <a:pt x="204" y="149"/>
                    <a:pt x="204" y="149"/>
                    <a:pt x="204" y="149"/>
                  </a:cubicBezTo>
                  <a:cubicBezTo>
                    <a:pt x="198" y="142"/>
                    <a:pt x="198" y="142"/>
                    <a:pt x="198" y="142"/>
                  </a:cubicBezTo>
                  <a:cubicBezTo>
                    <a:pt x="198" y="118"/>
                    <a:pt x="198" y="118"/>
                    <a:pt x="198" y="118"/>
                  </a:cubicBezTo>
                  <a:cubicBezTo>
                    <a:pt x="209" y="129"/>
                    <a:pt x="209" y="129"/>
                    <a:pt x="209" y="129"/>
                  </a:cubicBezTo>
                  <a:close/>
                  <a:moveTo>
                    <a:pt x="209" y="214"/>
                  </a:moveTo>
                  <a:cubicBezTo>
                    <a:pt x="209" y="236"/>
                    <a:pt x="209" y="236"/>
                    <a:pt x="209" y="236"/>
                  </a:cubicBezTo>
                  <a:cubicBezTo>
                    <a:pt x="205" y="240"/>
                    <a:pt x="205" y="240"/>
                    <a:pt x="205" y="240"/>
                  </a:cubicBezTo>
                  <a:cubicBezTo>
                    <a:pt x="205" y="240"/>
                    <a:pt x="205" y="240"/>
                    <a:pt x="205" y="240"/>
                  </a:cubicBezTo>
                  <a:cubicBezTo>
                    <a:pt x="205" y="240"/>
                    <a:pt x="205" y="240"/>
                    <a:pt x="205" y="240"/>
                  </a:cubicBezTo>
                  <a:cubicBezTo>
                    <a:pt x="204" y="240"/>
                    <a:pt x="204" y="240"/>
                    <a:pt x="204" y="240"/>
                  </a:cubicBezTo>
                  <a:cubicBezTo>
                    <a:pt x="204" y="240"/>
                    <a:pt x="204" y="240"/>
                    <a:pt x="204" y="240"/>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3" y="241"/>
                    <a:pt x="203" y="241"/>
                    <a:pt x="203" y="241"/>
                  </a:cubicBezTo>
                  <a:cubicBezTo>
                    <a:pt x="203" y="241"/>
                    <a:pt x="203" y="241"/>
                    <a:pt x="203" y="241"/>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2" y="242"/>
                    <a:pt x="202" y="242"/>
                    <a:pt x="202" y="242"/>
                  </a:cubicBezTo>
                  <a:cubicBezTo>
                    <a:pt x="202" y="242"/>
                    <a:pt x="202" y="242"/>
                    <a:pt x="202" y="242"/>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1" y="243"/>
                    <a:pt x="201" y="243"/>
                    <a:pt x="201" y="243"/>
                  </a:cubicBezTo>
                  <a:cubicBezTo>
                    <a:pt x="201" y="243"/>
                    <a:pt x="201" y="243"/>
                    <a:pt x="201" y="243"/>
                  </a:cubicBezTo>
                  <a:cubicBezTo>
                    <a:pt x="201" y="243"/>
                    <a:pt x="201" y="243"/>
                    <a:pt x="201" y="243"/>
                  </a:cubicBezTo>
                  <a:cubicBezTo>
                    <a:pt x="201" y="244"/>
                    <a:pt x="201" y="244"/>
                    <a:pt x="201" y="244"/>
                  </a:cubicBezTo>
                  <a:cubicBezTo>
                    <a:pt x="201" y="244"/>
                    <a:pt x="201" y="244"/>
                    <a:pt x="201" y="244"/>
                  </a:cubicBezTo>
                  <a:cubicBezTo>
                    <a:pt x="201" y="244"/>
                    <a:pt x="201" y="244"/>
                    <a:pt x="201" y="244"/>
                  </a:cubicBezTo>
                  <a:cubicBezTo>
                    <a:pt x="201" y="244"/>
                    <a:pt x="201" y="244"/>
                    <a:pt x="201" y="244"/>
                  </a:cubicBezTo>
                  <a:cubicBezTo>
                    <a:pt x="200" y="244"/>
                    <a:pt x="200" y="244"/>
                    <a:pt x="200" y="244"/>
                  </a:cubicBezTo>
                  <a:cubicBezTo>
                    <a:pt x="200" y="244"/>
                    <a:pt x="200" y="244"/>
                    <a:pt x="200" y="244"/>
                  </a:cubicBezTo>
                  <a:cubicBezTo>
                    <a:pt x="200" y="244"/>
                    <a:pt x="200" y="244"/>
                    <a:pt x="200" y="244"/>
                  </a:cubicBezTo>
                  <a:cubicBezTo>
                    <a:pt x="200" y="245"/>
                    <a:pt x="200" y="245"/>
                    <a:pt x="200" y="245"/>
                  </a:cubicBezTo>
                  <a:cubicBezTo>
                    <a:pt x="200" y="245"/>
                    <a:pt x="200" y="245"/>
                    <a:pt x="200" y="245"/>
                  </a:cubicBezTo>
                  <a:cubicBezTo>
                    <a:pt x="200" y="245"/>
                    <a:pt x="200" y="245"/>
                    <a:pt x="200" y="245"/>
                  </a:cubicBezTo>
                  <a:cubicBezTo>
                    <a:pt x="200" y="245"/>
                    <a:pt x="200" y="245"/>
                    <a:pt x="200" y="245"/>
                  </a:cubicBezTo>
                  <a:cubicBezTo>
                    <a:pt x="199" y="245"/>
                    <a:pt x="199" y="245"/>
                    <a:pt x="199" y="245"/>
                  </a:cubicBezTo>
                  <a:cubicBezTo>
                    <a:pt x="199" y="245"/>
                    <a:pt x="199" y="245"/>
                    <a:pt x="199" y="245"/>
                  </a:cubicBezTo>
                  <a:cubicBezTo>
                    <a:pt x="199" y="245"/>
                    <a:pt x="199" y="245"/>
                    <a:pt x="199" y="245"/>
                  </a:cubicBezTo>
                  <a:cubicBezTo>
                    <a:pt x="199" y="246"/>
                    <a:pt x="199" y="246"/>
                    <a:pt x="199" y="246"/>
                  </a:cubicBezTo>
                  <a:cubicBezTo>
                    <a:pt x="199" y="246"/>
                    <a:pt x="199" y="246"/>
                    <a:pt x="199" y="246"/>
                  </a:cubicBezTo>
                  <a:cubicBezTo>
                    <a:pt x="199" y="246"/>
                    <a:pt x="199" y="246"/>
                    <a:pt x="199" y="246"/>
                  </a:cubicBezTo>
                  <a:cubicBezTo>
                    <a:pt x="199" y="246"/>
                    <a:pt x="199" y="246"/>
                    <a:pt x="199" y="246"/>
                  </a:cubicBezTo>
                  <a:cubicBezTo>
                    <a:pt x="198" y="246"/>
                    <a:pt x="198" y="246"/>
                    <a:pt x="198" y="246"/>
                  </a:cubicBezTo>
                  <a:cubicBezTo>
                    <a:pt x="198" y="246"/>
                    <a:pt x="198" y="246"/>
                    <a:pt x="198" y="246"/>
                  </a:cubicBezTo>
                  <a:cubicBezTo>
                    <a:pt x="198" y="246"/>
                    <a:pt x="198" y="246"/>
                    <a:pt x="198" y="246"/>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26"/>
                    <a:pt x="198" y="226"/>
                    <a:pt x="198" y="226"/>
                  </a:cubicBezTo>
                  <a:cubicBezTo>
                    <a:pt x="206" y="217"/>
                    <a:pt x="206" y="217"/>
                    <a:pt x="206" y="217"/>
                  </a:cubicBezTo>
                  <a:cubicBezTo>
                    <a:pt x="206" y="217"/>
                    <a:pt x="206" y="217"/>
                    <a:pt x="206" y="217"/>
                  </a:cubicBezTo>
                  <a:cubicBezTo>
                    <a:pt x="207" y="217"/>
                    <a:pt x="207" y="217"/>
                    <a:pt x="207" y="217"/>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8" y="216"/>
                    <a:pt x="208" y="216"/>
                    <a:pt x="208" y="216"/>
                  </a:cubicBezTo>
                  <a:cubicBezTo>
                    <a:pt x="208" y="216"/>
                    <a:pt x="208" y="216"/>
                    <a:pt x="208" y="216"/>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9" y="215"/>
                    <a:pt x="209" y="215"/>
                    <a:pt x="209" y="215"/>
                  </a:cubicBezTo>
                  <a:cubicBezTo>
                    <a:pt x="209" y="214"/>
                    <a:pt x="209" y="214"/>
                    <a:pt x="209" y="214"/>
                  </a:cubicBezTo>
                  <a:close/>
                  <a:moveTo>
                    <a:pt x="198" y="327"/>
                  </a:moveTo>
                  <a:cubicBezTo>
                    <a:pt x="186" y="315"/>
                    <a:pt x="186" y="315"/>
                    <a:pt x="186" y="315"/>
                  </a:cubicBezTo>
                  <a:cubicBezTo>
                    <a:pt x="186" y="287"/>
                    <a:pt x="186" y="287"/>
                    <a:pt x="186" y="287"/>
                  </a:cubicBezTo>
                  <a:cubicBezTo>
                    <a:pt x="196" y="297"/>
                    <a:pt x="196" y="297"/>
                    <a:pt x="196" y="297"/>
                  </a:cubicBezTo>
                  <a:cubicBezTo>
                    <a:pt x="198" y="296"/>
                    <a:pt x="198" y="296"/>
                    <a:pt x="198" y="296"/>
                  </a:cubicBezTo>
                  <a:cubicBezTo>
                    <a:pt x="198" y="327"/>
                    <a:pt x="198" y="327"/>
                    <a:pt x="198" y="327"/>
                  </a:cubicBezTo>
                  <a:close/>
                  <a:moveTo>
                    <a:pt x="186" y="57"/>
                  </a:moveTo>
                  <a:cubicBezTo>
                    <a:pt x="198" y="69"/>
                    <a:pt x="198" y="69"/>
                    <a:pt x="198" y="69"/>
                  </a:cubicBezTo>
                  <a:cubicBezTo>
                    <a:pt x="198" y="105"/>
                    <a:pt x="198" y="105"/>
                    <a:pt x="198" y="105"/>
                  </a:cubicBezTo>
                  <a:cubicBezTo>
                    <a:pt x="191" y="111"/>
                    <a:pt x="191" y="111"/>
                    <a:pt x="191" y="111"/>
                  </a:cubicBezTo>
                  <a:cubicBezTo>
                    <a:pt x="198" y="118"/>
                    <a:pt x="198" y="118"/>
                    <a:pt x="198" y="118"/>
                  </a:cubicBezTo>
                  <a:cubicBezTo>
                    <a:pt x="198" y="142"/>
                    <a:pt x="198" y="142"/>
                    <a:pt x="198" y="142"/>
                  </a:cubicBezTo>
                  <a:cubicBezTo>
                    <a:pt x="186" y="131"/>
                    <a:pt x="186" y="131"/>
                    <a:pt x="186" y="131"/>
                  </a:cubicBezTo>
                  <a:cubicBezTo>
                    <a:pt x="186" y="95"/>
                    <a:pt x="186" y="95"/>
                    <a:pt x="186" y="95"/>
                  </a:cubicBezTo>
                  <a:cubicBezTo>
                    <a:pt x="191" y="90"/>
                    <a:pt x="191" y="90"/>
                    <a:pt x="191" y="90"/>
                  </a:cubicBezTo>
                  <a:cubicBezTo>
                    <a:pt x="186" y="86"/>
                    <a:pt x="186" y="86"/>
                    <a:pt x="186" y="86"/>
                  </a:cubicBezTo>
                  <a:cubicBezTo>
                    <a:pt x="186" y="57"/>
                    <a:pt x="186" y="57"/>
                    <a:pt x="186" y="57"/>
                  </a:cubicBezTo>
                  <a:close/>
                  <a:moveTo>
                    <a:pt x="198" y="155"/>
                  </a:moveTo>
                  <a:cubicBezTo>
                    <a:pt x="198" y="176"/>
                    <a:pt x="198" y="176"/>
                    <a:pt x="198" y="176"/>
                  </a:cubicBezTo>
                  <a:cubicBezTo>
                    <a:pt x="192" y="182"/>
                    <a:pt x="192" y="182"/>
                    <a:pt x="192" y="182"/>
                  </a:cubicBezTo>
                  <a:cubicBezTo>
                    <a:pt x="192" y="182"/>
                    <a:pt x="192" y="182"/>
                    <a:pt x="192" y="182"/>
                  </a:cubicBezTo>
                  <a:cubicBezTo>
                    <a:pt x="191" y="182"/>
                    <a:pt x="191" y="182"/>
                    <a:pt x="191" y="182"/>
                  </a:cubicBezTo>
                  <a:cubicBezTo>
                    <a:pt x="191" y="182"/>
                    <a:pt x="191" y="182"/>
                    <a:pt x="191" y="182"/>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0" y="183"/>
                    <a:pt x="190" y="183"/>
                    <a:pt x="190" y="183"/>
                  </a:cubicBezTo>
                  <a:cubicBezTo>
                    <a:pt x="190" y="183"/>
                    <a:pt x="190" y="183"/>
                    <a:pt x="190" y="183"/>
                  </a:cubicBezTo>
                  <a:cubicBezTo>
                    <a:pt x="190" y="183"/>
                    <a:pt x="190" y="183"/>
                    <a:pt x="190" y="183"/>
                  </a:cubicBezTo>
                  <a:cubicBezTo>
                    <a:pt x="190" y="183"/>
                    <a:pt x="190" y="183"/>
                    <a:pt x="190" y="183"/>
                  </a:cubicBezTo>
                  <a:cubicBezTo>
                    <a:pt x="190" y="184"/>
                    <a:pt x="190" y="184"/>
                    <a:pt x="190" y="184"/>
                  </a:cubicBezTo>
                  <a:cubicBezTo>
                    <a:pt x="190" y="184"/>
                    <a:pt x="190" y="184"/>
                    <a:pt x="190" y="184"/>
                  </a:cubicBezTo>
                  <a:cubicBezTo>
                    <a:pt x="190" y="184"/>
                    <a:pt x="190" y="184"/>
                    <a:pt x="190" y="184"/>
                  </a:cubicBezTo>
                  <a:cubicBezTo>
                    <a:pt x="189" y="184"/>
                    <a:pt x="189" y="184"/>
                    <a:pt x="189" y="184"/>
                  </a:cubicBezTo>
                  <a:cubicBezTo>
                    <a:pt x="189" y="184"/>
                    <a:pt x="189" y="184"/>
                    <a:pt x="189" y="184"/>
                  </a:cubicBezTo>
                  <a:cubicBezTo>
                    <a:pt x="189" y="184"/>
                    <a:pt x="189" y="184"/>
                    <a:pt x="189" y="184"/>
                  </a:cubicBezTo>
                  <a:cubicBezTo>
                    <a:pt x="189" y="184"/>
                    <a:pt x="189" y="184"/>
                    <a:pt x="189" y="184"/>
                  </a:cubicBezTo>
                  <a:cubicBezTo>
                    <a:pt x="189" y="185"/>
                    <a:pt x="189" y="185"/>
                    <a:pt x="189" y="185"/>
                  </a:cubicBezTo>
                  <a:cubicBezTo>
                    <a:pt x="189" y="185"/>
                    <a:pt x="189" y="185"/>
                    <a:pt x="189" y="185"/>
                  </a:cubicBezTo>
                  <a:cubicBezTo>
                    <a:pt x="189" y="185"/>
                    <a:pt x="189" y="185"/>
                    <a:pt x="189" y="185"/>
                  </a:cubicBezTo>
                  <a:cubicBezTo>
                    <a:pt x="189" y="185"/>
                    <a:pt x="189" y="185"/>
                    <a:pt x="189" y="185"/>
                  </a:cubicBezTo>
                  <a:cubicBezTo>
                    <a:pt x="188" y="185"/>
                    <a:pt x="188" y="185"/>
                    <a:pt x="188" y="185"/>
                  </a:cubicBezTo>
                  <a:cubicBezTo>
                    <a:pt x="188" y="185"/>
                    <a:pt x="188" y="185"/>
                    <a:pt x="188" y="185"/>
                  </a:cubicBezTo>
                  <a:cubicBezTo>
                    <a:pt x="188" y="185"/>
                    <a:pt x="188" y="185"/>
                    <a:pt x="188" y="185"/>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7" y="186"/>
                    <a:pt x="187" y="186"/>
                    <a:pt x="187" y="186"/>
                  </a:cubicBezTo>
                  <a:cubicBezTo>
                    <a:pt x="187" y="186"/>
                    <a:pt x="187" y="186"/>
                    <a:pt x="187" y="186"/>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6" y="187"/>
                    <a:pt x="186" y="187"/>
                    <a:pt x="186" y="187"/>
                  </a:cubicBezTo>
                  <a:cubicBezTo>
                    <a:pt x="186" y="187"/>
                    <a:pt x="186" y="187"/>
                    <a:pt x="186" y="187"/>
                  </a:cubicBezTo>
                  <a:cubicBezTo>
                    <a:pt x="186" y="187"/>
                    <a:pt x="186" y="187"/>
                    <a:pt x="186" y="187"/>
                  </a:cubicBezTo>
                  <a:cubicBezTo>
                    <a:pt x="186" y="151"/>
                    <a:pt x="186" y="151"/>
                    <a:pt x="186" y="151"/>
                  </a:cubicBezTo>
                  <a:cubicBezTo>
                    <a:pt x="194" y="159"/>
                    <a:pt x="194" y="159"/>
                    <a:pt x="194" y="159"/>
                  </a:cubicBezTo>
                  <a:cubicBezTo>
                    <a:pt x="198" y="155"/>
                    <a:pt x="198" y="155"/>
                    <a:pt x="198" y="155"/>
                  </a:cubicBezTo>
                  <a:close/>
                  <a:moveTo>
                    <a:pt x="198" y="226"/>
                  </a:moveTo>
                  <a:cubicBezTo>
                    <a:pt x="198" y="247"/>
                    <a:pt x="198" y="247"/>
                    <a:pt x="198" y="247"/>
                  </a:cubicBezTo>
                  <a:cubicBezTo>
                    <a:pt x="198" y="247"/>
                    <a:pt x="198" y="247"/>
                    <a:pt x="198" y="247"/>
                  </a:cubicBezTo>
                  <a:cubicBezTo>
                    <a:pt x="197" y="247"/>
                    <a:pt x="197" y="247"/>
                    <a:pt x="197" y="247"/>
                  </a:cubicBezTo>
                  <a:cubicBezTo>
                    <a:pt x="197" y="247"/>
                    <a:pt x="197" y="247"/>
                    <a:pt x="197" y="247"/>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6" y="248"/>
                    <a:pt x="196" y="248"/>
                    <a:pt x="196" y="248"/>
                  </a:cubicBezTo>
                  <a:cubicBezTo>
                    <a:pt x="196" y="248"/>
                    <a:pt x="196" y="248"/>
                    <a:pt x="196" y="248"/>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5" y="249"/>
                    <a:pt x="195" y="249"/>
                    <a:pt x="195" y="249"/>
                  </a:cubicBezTo>
                  <a:cubicBezTo>
                    <a:pt x="195" y="249"/>
                    <a:pt x="195" y="249"/>
                    <a:pt x="195" y="249"/>
                  </a:cubicBezTo>
                  <a:cubicBezTo>
                    <a:pt x="195" y="249"/>
                    <a:pt x="195" y="249"/>
                    <a:pt x="195" y="249"/>
                  </a:cubicBezTo>
                  <a:cubicBezTo>
                    <a:pt x="195" y="249"/>
                    <a:pt x="195" y="249"/>
                    <a:pt x="195" y="249"/>
                  </a:cubicBezTo>
                  <a:cubicBezTo>
                    <a:pt x="195" y="250"/>
                    <a:pt x="195" y="250"/>
                    <a:pt x="195" y="250"/>
                  </a:cubicBezTo>
                  <a:cubicBezTo>
                    <a:pt x="195" y="250"/>
                    <a:pt x="195" y="250"/>
                    <a:pt x="195" y="250"/>
                  </a:cubicBezTo>
                  <a:cubicBezTo>
                    <a:pt x="195" y="250"/>
                    <a:pt x="195" y="250"/>
                    <a:pt x="195" y="250"/>
                  </a:cubicBezTo>
                  <a:cubicBezTo>
                    <a:pt x="194" y="250"/>
                    <a:pt x="194" y="250"/>
                    <a:pt x="194" y="250"/>
                  </a:cubicBezTo>
                  <a:cubicBezTo>
                    <a:pt x="194" y="250"/>
                    <a:pt x="194" y="250"/>
                    <a:pt x="194" y="250"/>
                  </a:cubicBezTo>
                  <a:cubicBezTo>
                    <a:pt x="186" y="258"/>
                    <a:pt x="186" y="258"/>
                    <a:pt x="186" y="258"/>
                  </a:cubicBezTo>
                  <a:cubicBezTo>
                    <a:pt x="186" y="237"/>
                    <a:pt x="186" y="237"/>
                    <a:pt x="186" y="237"/>
                  </a:cubicBezTo>
                  <a:lnTo>
                    <a:pt x="198" y="226"/>
                  </a:lnTo>
                  <a:close/>
                  <a:moveTo>
                    <a:pt x="186" y="315"/>
                  </a:moveTo>
                  <a:cubicBezTo>
                    <a:pt x="175" y="304"/>
                    <a:pt x="175" y="304"/>
                    <a:pt x="175" y="304"/>
                  </a:cubicBezTo>
                  <a:cubicBezTo>
                    <a:pt x="175" y="276"/>
                    <a:pt x="175" y="276"/>
                    <a:pt x="175" y="276"/>
                  </a:cubicBezTo>
                  <a:cubicBezTo>
                    <a:pt x="186" y="287"/>
                    <a:pt x="186" y="287"/>
                    <a:pt x="186" y="287"/>
                  </a:cubicBezTo>
                  <a:cubicBezTo>
                    <a:pt x="186" y="315"/>
                    <a:pt x="186" y="315"/>
                    <a:pt x="186" y="315"/>
                  </a:cubicBezTo>
                  <a:close/>
                  <a:moveTo>
                    <a:pt x="175" y="46"/>
                  </a:moveTo>
                  <a:cubicBezTo>
                    <a:pt x="186" y="57"/>
                    <a:pt x="186" y="57"/>
                    <a:pt x="186" y="57"/>
                  </a:cubicBezTo>
                  <a:cubicBezTo>
                    <a:pt x="186" y="86"/>
                    <a:pt x="186" y="86"/>
                    <a:pt x="186" y="86"/>
                  </a:cubicBezTo>
                  <a:cubicBezTo>
                    <a:pt x="175" y="74"/>
                    <a:pt x="175" y="74"/>
                    <a:pt x="175" y="74"/>
                  </a:cubicBezTo>
                  <a:cubicBezTo>
                    <a:pt x="175" y="46"/>
                    <a:pt x="175" y="46"/>
                    <a:pt x="175" y="46"/>
                  </a:cubicBezTo>
                  <a:close/>
                  <a:moveTo>
                    <a:pt x="186" y="95"/>
                  </a:moveTo>
                  <a:cubicBezTo>
                    <a:pt x="186" y="131"/>
                    <a:pt x="186" y="131"/>
                    <a:pt x="186" y="131"/>
                  </a:cubicBezTo>
                  <a:cubicBezTo>
                    <a:pt x="179" y="124"/>
                    <a:pt x="179" y="124"/>
                    <a:pt x="179" y="124"/>
                  </a:cubicBezTo>
                  <a:cubicBezTo>
                    <a:pt x="175" y="128"/>
                    <a:pt x="175" y="128"/>
                    <a:pt x="175" y="128"/>
                  </a:cubicBezTo>
                  <a:cubicBezTo>
                    <a:pt x="175" y="106"/>
                    <a:pt x="175" y="106"/>
                    <a:pt x="175" y="106"/>
                  </a:cubicBezTo>
                  <a:cubicBezTo>
                    <a:pt x="186" y="95"/>
                    <a:pt x="186" y="95"/>
                    <a:pt x="186" y="95"/>
                  </a:cubicBezTo>
                  <a:close/>
                  <a:moveTo>
                    <a:pt x="186" y="151"/>
                  </a:moveTo>
                  <a:cubicBezTo>
                    <a:pt x="186" y="187"/>
                    <a:pt x="186" y="187"/>
                    <a:pt x="186" y="187"/>
                  </a:cubicBezTo>
                  <a:cubicBezTo>
                    <a:pt x="186" y="187"/>
                    <a:pt x="186" y="187"/>
                    <a:pt x="186" y="187"/>
                  </a:cubicBezTo>
                  <a:cubicBezTo>
                    <a:pt x="186" y="188"/>
                    <a:pt x="186" y="188"/>
                    <a:pt x="186" y="188"/>
                  </a:cubicBezTo>
                  <a:cubicBezTo>
                    <a:pt x="186" y="188"/>
                    <a:pt x="186" y="188"/>
                    <a:pt x="186" y="188"/>
                  </a:cubicBezTo>
                  <a:cubicBezTo>
                    <a:pt x="186" y="188"/>
                    <a:pt x="186" y="188"/>
                    <a:pt x="186" y="188"/>
                  </a:cubicBezTo>
                  <a:cubicBezTo>
                    <a:pt x="186" y="188"/>
                    <a:pt x="186" y="188"/>
                    <a:pt x="186" y="188"/>
                  </a:cubicBezTo>
                  <a:cubicBezTo>
                    <a:pt x="185" y="188"/>
                    <a:pt x="185" y="188"/>
                    <a:pt x="185" y="188"/>
                  </a:cubicBezTo>
                  <a:cubicBezTo>
                    <a:pt x="185" y="188"/>
                    <a:pt x="185" y="188"/>
                    <a:pt x="185" y="188"/>
                  </a:cubicBezTo>
                  <a:cubicBezTo>
                    <a:pt x="185" y="188"/>
                    <a:pt x="185" y="188"/>
                    <a:pt x="185" y="188"/>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4" y="189"/>
                    <a:pt x="184" y="189"/>
                    <a:pt x="184" y="189"/>
                  </a:cubicBezTo>
                  <a:cubicBezTo>
                    <a:pt x="184" y="189"/>
                    <a:pt x="184" y="189"/>
                    <a:pt x="184" y="189"/>
                  </a:cubicBezTo>
                  <a:cubicBezTo>
                    <a:pt x="184" y="189"/>
                    <a:pt x="184" y="189"/>
                    <a:pt x="184" y="189"/>
                  </a:cubicBezTo>
                  <a:cubicBezTo>
                    <a:pt x="184" y="189"/>
                    <a:pt x="184" y="189"/>
                    <a:pt x="184" y="189"/>
                  </a:cubicBezTo>
                  <a:cubicBezTo>
                    <a:pt x="184" y="190"/>
                    <a:pt x="184" y="190"/>
                    <a:pt x="184" y="190"/>
                  </a:cubicBezTo>
                  <a:cubicBezTo>
                    <a:pt x="184" y="190"/>
                    <a:pt x="184" y="190"/>
                    <a:pt x="184" y="190"/>
                  </a:cubicBezTo>
                  <a:cubicBezTo>
                    <a:pt x="184" y="190"/>
                    <a:pt x="184" y="190"/>
                    <a:pt x="184" y="190"/>
                  </a:cubicBezTo>
                  <a:cubicBezTo>
                    <a:pt x="183" y="190"/>
                    <a:pt x="183" y="190"/>
                    <a:pt x="183" y="190"/>
                  </a:cubicBezTo>
                  <a:cubicBezTo>
                    <a:pt x="183" y="190"/>
                    <a:pt x="183" y="190"/>
                    <a:pt x="183" y="190"/>
                  </a:cubicBezTo>
                  <a:cubicBezTo>
                    <a:pt x="183" y="190"/>
                    <a:pt x="183" y="190"/>
                    <a:pt x="183" y="190"/>
                  </a:cubicBezTo>
                  <a:cubicBezTo>
                    <a:pt x="183" y="190"/>
                    <a:pt x="183" y="190"/>
                    <a:pt x="183" y="190"/>
                  </a:cubicBezTo>
                  <a:cubicBezTo>
                    <a:pt x="183" y="191"/>
                    <a:pt x="183" y="191"/>
                    <a:pt x="183" y="191"/>
                  </a:cubicBezTo>
                  <a:cubicBezTo>
                    <a:pt x="183" y="191"/>
                    <a:pt x="183" y="191"/>
                    <a:pt x="183" y="191"/>
                  </a:cubicBezTo>
                  <a:cubicBezTo>
                    <a:pt x="183" y="191"/>
                    <a:pt x="183" y="191"/>
                    <a:pt x="183" y="191"/>
                  </a:cubicBezTo>
                  <a:cubicBezTo>
                    <a:pt x="182" y="191"/>
                    <a:pt x="182" y="191"/>
                    <a:pt x="182" y="191"/>
                  </a:cubicBezTo>
                  <a:cubicBezTo>
                    <a:pt x="182" y="191"/>
                    <a:pt x="182" y="191"/>
                    <a:pt x="182" y="191"/>
                  </a:cubicBezTo>
                  <a:cubicBezTo>
                    <a:pt x="182" y="191"/>
                    <a:pt x="182" y="191"/>
                    <a:pt x="182" y="191"/>
                  </a:cubicBezTo>
                  <a:cubicBezTo>
                    <a:pt x="182" y="191"/>
                    <a:pt x="182" y="191"/>
                    <a:pt x="182" y="191"/>
                  </a:cubicBezTo>
                  <a:cubicBezTo>
                    <a:pt x="182" y="192"/>
                    <a:pt x="182" y="192"/>
                    <a:pt x="182" y="192"/>
                  </a:cubicBezTo>
                  <a:cubicBezTo>
                    <a:pt x="182" y="192"/>
                    <a:pt x="182" y="192"/>
                    <a:pt x="182" y="192"/>
                  </a:cubicBezTo>
                  <a:cubicBezTo>
                    <a:pt x="182" y="192"/>
                    <a:pt x="182" y="192"/>
                    <a:pt x="182" y="192"/>
                  </a:cubicBezTo>
                  <a:cubicBezTo>
                    <a:pt x="182" y="192"/>
                    <a:pt x="182" y="192"/>
                    <a:pt x="182" y="192"/>
                  </a:cubicBezTo>
                  <a:cubicBezTo>
                    <a:pt x="175" y="199"/>
                    <a:pt x="175" y="199"/>
                    <a:pt x="175" y="199"/>
                  </a:cubicBezTo>
                  <a:cubicBezTo>
                    <a:pt x="175" y="177"/>
                    <a:pt x="175" y="177"/>
                    <a:pt x="175" y="177"/>
                  </a:cubicBezTo>
                  <a:cubicBezTo>
                    <a:pt x="181" y="171"/>
                    <a:pt x="181" y="171"/>
                    <a:pt x="181" y="171"/>
                  </a:cubicBezTo>
                  <a:cubicBezTo>
                    <a:pt x="175" y="165"/>
                    <a:pt x="175" y="165"/>
                    <a:pt x="175" y="165"/>
                  </a:cubicBezTo>
                  <a:cubicBezTo>
                    <a:pt x="175" y="140"/>
                    <a:pt x="175" y="140"/>
                    <a:pt x="175" y="140"/>
                  </a:cubicBezTo>
                  <a:cubicBezTo>
                    <a:pt x="186" y="151"/>
                    <a:pt x="186" y="151"/>
                    <a:pt x="186" y="151"/>
                  </a:cubicBezTo>
                  <a:close/>
                  <a:moveTo>
                    <a:pt x="186" y="237"/>
                  </a:moveTo>
                  <a:cubicBezTo>
                    <a:pt x="186" y="258"/>
                    <a:pt x="186" y="258"/>
                    <a:pt x="186" y="258"/>
                  </a:cubicBezTo>
                  <a:cubicBezTo>
                    <a:pt x="175" y="269"/>
                    <a:pt x="175" y="269"/>
                    <a:pt x="175" y="269"/>
                  </a:cubicBezTo>
                  <a:cubicBezTo>
                    <a:pt x="175" y="230"/>
                    <a:pt x="175" y="230"/>
                    <a:pt x="175" y="230"/>
                  </a:cubicBezTo>
                  <a:cubicBezTo>
                    <a:pt x="184" y="239"/>
                    <a:pt x="184" y="239"/>
                    <a:pt x="184" y="239"/>
                  </a:cubicBezTo>
                  <a:lnTo>
                    <a:pt x="186" y="237"/>
                  </a:lnTo>
                  <a:close/>
                  <a:moveTo>
                    <a:pt x="175" y="304"/>
                  </a:moveTo>
                  <a:cubicBezTo>
                    <a:pt x="169" y="298"/>
                    <a:pt x="169" y="298"/>
                    <a:pt x="169" y="298"/>
                  </a:cubicBezTo>
                  <a:cubicBezTo>
                    <a:pt x="164" y="292"/>
                    <a:pt x="164" y="292"/>
                    <a:pt x="164" y="292"/>
                  </a:cubicBezTo>
                  <a:cubicBezTo>
                    <a:pt x="164" y="259"/>
                    <a:pt x="164" y="259"/>
                    <a:pt x="164" y="259"/>
                  </a:cubicBezTo>
                  <a:cubicBezTo>
                    <a:pt x="171" y="252"/>
                    <a:pt x="171" y="252"/>
                    <a:pt x="171" y="252"/>
                  </a:cubicBezTo>
                  <a:cubicBezTo>
                    <a:pt x="164" y="244"/>
                    <a:pt x="164" y="244"/>
                    <a:pt x="164" y="244"/>
                  </a:cubicBezTo>
                  <a:cubicBezTo>
                    <a:pt x="164" y="219"/>
                    <a:pt x="164" y="219"/>
                    <a:pt x="164" y="219"/>
                  </a:cubicBezTo>
                  <a:cubicBezTo>
                    <a:pt x="175" y="230"/>
                    <a:pt x="175" y="230"/>
                    <a:pt x="175" y="230"/>
                  </a:cubicBezTo>
                  <a:cubicBezTo>
                    <a:pt x="175" y="269"/>
                    <a:pt x="175" y="269"/>
                    <a:pt x="175" y="269"/>
                  </a:cubicBezTo>
                  <a:cubicBezTo>
                    <a:pt x="172" y="273"/>
                    <a:pt x="172" y="273"/>
                    <a:pt x="172" y="273"/>
                  </a:cubicBezTo>
                  <a:cubicBezTo>
                    <a:pt x="175" y="276"/>
                    <a:pt x="175" y="276"/>
                    <a:pt x="175" y="276"/>
                  </a:cubicBezTo>
                  <a:cubicBezTo>
                    <a:pt x="175" y="304"/>
                    <a:pt x="175" y="304"/>
                    <a:pt x="175" y="304"/>
                  </a:cubicBezTo>
                  <a:close/>
                  <a:moveTo>
                    <a:pt x="164" y="35"/>
                  </a:moveTo>
                  <a:cubicBezTo>
                    <a:pt x="175" y="46"/>
                    <a:pt x="175" y="46"/>
                    <a:pt x="175" y="46"/>
                  </a:cubicBezTo>
                  <a:cubicBezTo>
                    <a:pt x="175" y="74"/>
                    <a:pt x="175" y="74"/>
                    <a:pt x="175" y="74"/>
                  </a:cubicBezTo>
                  <a:cubicBezTo>
                    <a:pt x="166" y="66"/>
                    <a:pt x="166" y="66"/>
                    <a:pt x="166" y="66"/>
                  </a:cubicBezTo>
                  <a:cubicBezTo>
                    <a:pt x="164" y="68"/>
                    <a:pt x="164" y="68"/>
                    <a:pt x="164" y="68"/>
                  </a:cubicBezTo>
                  <a:cubicBezTo>
                    <a:pt x="164" y="35"/>
                    <a:pt x="164" y="35"/>
                    <a:pt x="164" y="35"/>
                  </a:cubicBezTo>
                  <a:close/>
                  <a:moveTo>
                    <a:pt x="175" y="106"/>
                  </a:moveTo>
                  <a:cubicBezTo>
                    <a:pt x="175" y="128"/>
                    <a:pt x="175" y="128"/>
                    <a:pt x="175" y="128"/>
                  </a:cubicBezTo>
                  <a:cubicBezTo>
                    <a:pt x="169" y="134"/>
                    <a:pt x="169" y="134"/>
                    <a:pt x="169" y="134"/>
                  </a:cubicBezTo>
                  <a:cubicBezTo>
                    <a:pt x="175" y="140"/>
                    <a:pt x="175" y="140"/>
                    <a:pt x="175" y="140"/>
                  </a:cubicBezTo>
                  <a:cubicBezTo>
                    <a:pt x="175" y="165"/>
                    <a:pt x="175" y="165"/>
                    <a:pt x="175" y="165"/>
                  </a:cubicBezTo>
                  <a:cubicBezTo>
                    <a:pt x="164" y="153"/>
                    <a:pt x="164" y="153"/>
                    <a:pt x="164" y="153"/>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5" y="117"/>
                    <a:pt x="165" y="117"/>
                    <a:pt x="165" y="117"/>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6" y="116"/>
                    <a:pt x="166" y="116"/>
                    <a:pt x="166" y="116"/>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7" y="115"/>
                    <a:pt x="167" y="115"/>
                    <a:pt x="167" y="115"/>
                  </a:cubicBezTo>
                  <a:cubicBezTo>
                    <a:pt x="167" y="115"/>
                    <a:pt x="167" y="115"/>
                    <a:pt x="167" y="115"/>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75" y="106"/>
                    <a:pt x="175" y="106"/>
                    <a:pt x="175" y="106"/>
                  </a:cubicBezTo>
                  <a:close/>
                  <a:moveTo>
                    <a:pt x="175" y="177"/>
                  </a:moveTo>
                  <a:cubicBezTo>
                    <a:pt x="175" y="199"/>
                    <a:pt x="175" y="199"/>
                    <a:pt x="175" y="199"/>
                  </a:cubicBezTo>
                  <a:cubicBezTo>
                    <a:pt x="164" y="210"/>
                    <a:pt x="164" y="210"/>
                    <a:pt x="164" y="210"/>
                  </a:cubicBezTo>
                  <a:cubicBezTo>
                    <a:pt x="164" y="174"/>
                    <a:pt x="164" y="174"/>
                    <a:pt x="164" y="174"/>
                  </a:cubicBezTo>
                  <a:cubicBezTo>
                    <a:pt x="171" y="181"/>
                    <a:pt x="171" y="181"/>
                    <a:pt x="171" y="181"/>
                  </a:cubicBezTo>
                  <a:lnTo>
                    <a:pt x="175" y="177"/>
                  </a:lnTo>
                  <a:close/>
                  <a:moveTo>
                    <a:pt x="164" y="292"/>
                  </a:moveTo>
                  <a:cubicBezTo>
                    <a:pt x="152" y="281"/>
                    <a:pt x="152" y="281"/>
                    <a:pt x="152" y="281"/>
                  </a:cubicBezTo>
                  <a:cubicBezTo>
                    <a:pt x="152" y="253"/>
                    <a:pt x="152" y="253"/>
                    <a:pt x="152" y="253"/>
                  </a:cubicBezTo>
                  <a:cubicBezTo>
                    <a:pt x="161" y="262"/>
                    <a:pt x="161" y="262"/>
                    <a:pt x="161" y="262"/>
                  </a:cubicBezTo>
                  <a:cubicBezTo>
                    <a:pt x="164" y="259"/>
                    <a:pt x="164" y="259"/>
                    <a:pt x="164" y="259"/>
                  </a:cubicBezTo>
                  <a:cubicBezTo>
                    <a:pt x="164" y="292"/>
                    <a:pt x="164" y="292"/>
                    <a:pt x="164" y="292"/>
                  </a:cubicBezTo>
                  <a:close/>
                  <a:moveTo>
                    <a:pt x="152" y="23"/>
                  </a:moveTo>
                  <a:cubicBezTo>
                    <a:pt x="164" y="35"/>
                    <a:pt x="164" y="35"/>
                    <a:pt x="164" y="35"/>
                  </a:cubicBezTo>
                  <a:cubicBezTo>
                    <a:pt x="164" y="68"/>
                    <a:pt x="164" y="68"/>
                    <a:pt x="164" y="68"/>
                  </a:cubicBezTo>
                  <a:cubicBezTo>
                    <a:pt x="152" y="79"/>
                    <a:pt x="152" y="79"/>
                    <a:pt x="152" y="79"/>
                  </a:cubicBezTo>
                  <a:cubicBezTo>
                    <a:pt x="152" y="58"/>
                    <a:pt x="152" y="58"/>
                    <a:pt x="152" y="58"/>
                  </a:cubicBezTo>
                  <a:cubicBezTo>
                    <a:pt x="155" y="55"/>
                    <a:pt x="155" y="55"/>
                    <a:pt x="155" y="55"/>
                  </a:cubicBezTo>
                  <a:cubicBezTo>
                    <a:pt x="152" y="52"/>
                    <a:pt x="152" y="52"/>
                    <a:pt x="152" y="52"/>
                  </a:cubicBezTo>
                  <a:cubicBezTo>
                    <a:pt x="152" y="23"/>
                    <a:pt x="152" y="23"/>
                    <a:pt x="152" y="23"/>
                  </a:cubicBezTo>
                  <a:close/>
                  <a:moveTo>
                    <a:pt x="164" y="117"/>
                  </a:moveTo>
                  <a:cubicBezTo>
                    <a:pt x="164" y="153"/>
                    <a:pt x="164" y="153"/>
                    <a:pt x="164" y="153"/>
                  </a:cubicBezTo>
                  <a:cubicBezTo>
                    <a:pt x="156" y="146"/>
                    <a:pt x="156" y="146"/>
                    <a:pt x="156" y="146"/>
                  </a:cubicBezTo>
                  <a:cubicBezTo>
                    <a:pt x="152" y="150"/>
                    <a:pt x="152" y="150"/>
                    <a:pt x="152" y="150"/>
                  </a:cubicBezTo>
                  <a:cubicBezTo>
                    <a:pt x="152" y="129"/>
                    <a:pt x="152" y="129"/>
                    <a:pt x="152" y="129"/>
                  </a:cubicBezTo>
                  <a:cubicBezTo>
                    <a:pt x="158" y="123"/>
                    <a:pt x="158" y="123"/>
                    <a:pt x="158" y="123"/>
                  </a:cubicBezTo>
                  <a:cubicBezTo>
                    <a:pt x="158" y="123"/>
                    <a:pt x="158" y="123"/>
                    <a:pt x="158" y="123"/>
                  </a:cubicBezTo>
                  <a:cubicBezTo>
                    <a:pt x="158" y="123"/>
                    <a:pt x="158" y="123"/>
                    <a:pt x="158" y="123"/>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60" y="122"/>
                    <a:pt x="160" y="122"/>
                    <a:pt x="160" y="122"/>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2" y="120"/>
                    <a:pt x="162" y="120"/>
                    <a:pt x="162" y="120"/>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3" y="119"/>
                    <a:pt x="163" y="119"/>
                    <a:pt x="163" y="119"/>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4" y="117"/>
                    <a:pt x="164" y="117"/>
                    <a:pt x="164" y="117"/>
                  </a:cubicBezTo>
                  <a:close/>
                  <a:moveTo>
                    <a:pt x="164" y="174"/>
                  </a:moveTo>
                  <a:cubicBezTo>
                    <a:pt x="164" y="210"/>
                    <a:pt x="164" y="210"/>
                    <a:pt x="164" y="210"/>
                  </a:cubicBezTo>
                  <a:cubicBezTo>
                    <a:pt x="159" y="214"/>
                    <a:pt x="159" y="214"/>
                    <a:pt x="159" y="214"/>
                  </a:cubicBezTo>
                  <a:cubicBezTo>
                    <a:pt x="164" y="219"/>
                    <a:pt x="164" y="219"/>
                    <a:pt x="164" y="219"/>
                  </a:cubicBezTo>
                  <a:cubicBezTo>
                    <a:pt x="164" y="244"/>
                    <a:pt x="164" y="244"/>
                    <a:pt x="164" y="244"/>
                  </a:cubicBezTo>
                  <a:cubicBezTo>
                    <a:pt x="152" y="232"/>
                    <a:pt x="152" y="232"/>
                    <a:pt x="152" y="232"/>
                  </a:cubicBezTo>
                  <a:cubicBezTo>
                    <a:pt x="152" y="199"/>
                    <a:pt x="152" y="199"/>
                    <a:pt x="152" y="199"/>
                  </a:cubicBezTo>
                  <a:cubicBezTo>
                    <a:pt x="152" y="199"/>
                    <a:pt x="152" y="199"/>
                    <a:pt x="152"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8"/>
                    <a:pt x="153" y="198"/>
                    <a:pt x="153" y="198"/>
                  </a:cubicBezTo>
                  <a:cubicBezTo>
                    <a:pt x="153" y="198"/>
                    <a:pt x="153" y="198"/>
                    <a:pt x="153"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7"/>
                    <a:pt x="154" y="197"/>
                    <a:pt x="154" y="197"/>
                  </a:cubicBezTo>
                  <a:cubicBezTo>
                    <a:pt x="154" y="197"/>
                    <a:pt x="154" y="197"/>
                    <a:pt x="154"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6"/>
                    <a:pt x="155" y="196"/>
                    <a:pt x="155" y="196"/>
                  </a:cubicBezTo>
                  <a:cubicBezTo>
                    <a:pt x="155" y="196"/>
                    <a:pt x="155" y="196"/>
                    <a:pt x="155"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5"/>
                    <a:pt x="156" y="195"/>
                    <a:pt x="156" y="195"/>
                  </a:cubicBezTo>
                  <a:cubicBezTo>
                    <a:pt x="156" y="195"/>
                    <a:pt x="156" y="195"/>
                    <a:pt x="156"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4"/>
                    <a:pt x="157" y="194"/>
                    <a:pt x="157"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9" y="193"/>
                    <a:pt x="159" y="193"/>
                    <a:pt x="159" y="193"/>
                  </a:cubicBezTo>
                  <a:cubicBezTo>
                    <a:pt x="152" y="187"/>
                    <a:pt x="152" y="187"/>
                    <a:pt x="152" y="187"/>
                  </a:cubicBezTo>
                  <a:cubicBezTo>
                    <a:pt x="152" y="163"/>
                    <a:pt x="152" y="163"/>
                    <a:pt x="152" y="163"/>
                  </a:cubicBezTo>
                  <a:lnTo>
                    <a:pt x="164" y="174"/>
                  </a:lnTo>
                  <a:close/>
                  <a:moveTo>
                    <a:pt x="152" y="281"/>
                  </a:moveTo>
                  <a:cubicBezTo>
                    <a:pt x="138" y="267"/>
                    <a:pt x="138" y="267"/>
                    <a:pt x="138" y="267"/>
                  </a:cubicBezTo>
                  <a:cubicBezTo>
                    <a:pt x="138" y="238"/>
                    <a:pt x="138" y="238"/>
                    <a:pt x="138" y="238"/>
                  </a:cubicBezTo>
                  <a:cubicBezTo>
                    <a:pt x="152" y="253"/>
                    <a:pt x="152" y="253"/>
                    <a:pt x="152" y="253"/>
                  </a:cubicBezTo>
                  <a:cubicBezTo>
                    <a:pt x="152" y="281"/>
                    <a:pt x="152" y="281"/>
                    <a:pt x="152" y="281"/>
                  </a:cubicBezTo>
                  <a:close/>
                  <a:moveTo>
                    <a:pt x="138" y="9"/>
                  </a:moveTo>
                  <a:cubicBezTo>
                    <a:pt x="152" y="23"/>
                    <a:pt x="152" y="23"/>
                    <a:pt x="152" y="23"/>
                  </a:cubicBezTo>
                  <a:cubicBezTo>
                    <a:pt x="152" y="52"/>
                    <a:pt x="152" y="52"/>
                    <a:pt x="152" y="52"/>
                  </a:cubicBezTo>
                  <a:cubicBezTo>
                    <a:pt x="138" y="37"/>
                    <a:pt x="138" y="37"/>
                    <a:pt x="138" y="37"/>
                  </a:cubicBezTo>
                  <a:cubicBezTo>
                    <a:pt x="138" y="9"/>
                    <a:pt x="138" y="9"/>
                    <a:pt x="138" y="9"/>
                  </a:cubicBezTo>
                  <a:close/>
                  <a:moveTo>
                    <a:pt x="152" y="58"/>
                  </a:moveTo>
                  <a:cubicBezTo>
                    <a:pt x="152" y="79"/>
                    <a:pt x="152" y="79"/>
                    <a:pt x="152" y="79"/>
                  </a:cubicBezTo>
                  <a:cubicBezTo>
                    <a:pt x="144" y="88"/>
                    <a:pt x="144" y="88"/>
                    <a:pt x="144" y="88"/>
                  </a:cubicBezTo>
                  <a:cubicBezTo>
                    <a:pt x="144" y="88"/>
                    <a:pt x="144" y="88"/>
                    <a:pt x="144" y="88"/>
                  </a:cubicBezTo>
                  <a:cubicBezTo>
                    <a:pt x="143" y="88"/>
                    <a:pt x="143" y="88"/>
                    <a:pt x="143" y="88"/>
                  </a:cubicBezTo>
                  <a:cubicBezTo>
                    <a:pt x="143" y="88"/>
                    <a:pt x="143" y="88"/>
                    <a:pt x="143" y="88"/>
                  </a:cubicBezTo>
                  <a:cubicBezTo>
                    <a:pt x="143" y="88"/>
                    <a:pt x="143" y="88"/>
                    <a:pt x="143" y="88"/>
                  </a:cubicBezTo>
                  <a:cubicBezTo>
                    <a:pt x="143" y="89"/>
                    <a:pt x="143" y="89"/>
                    <a:pt x="143" y="89"/>
                  </a:cubicBezTo>
                  <a:cubicBezTo>
                    <a:pt x="143" y="89"/>
                    <a:pt x="143" y="89"/>
                    <a:pt x="143" y="89"/>
                  </a:cubicBezTo>
                  <a:cubicBezTo>
                    <a:pt x="143" y="89"/>
                    <a:pt x="143" y="89"/>
                    <a:pt x="143" y="89"/>
                  </a:cubicBezTo>
                  <a:cubicBezTo>
                    <a:pt x="143" y="89"/>
                    <a:pt x="143" y="89"/>
                    <a:pt x="143" y="89"/>
                  </a:cubicBezTo>
                  <a:cubicBezTo>
                    <a:pt x="142" y="89"/>
                    <a:pt x="142" y="89"/>
                    <a:pt x="142" y="89"/>
                  </a:cubicBezTo>
                  <a:cubicBezTo>
                    <a:pt x="142" y="89"/>
                    <a:pt x="142" y="89"/>
                    <a:pt x="142" y="89"/>
                  </a:cubicBezTo>
                  <a:cubicBezTo>
                    <a:pt x="142" y="89"/>
                    <a:pt x="142" y="89"/>
                    <a:pt x="142" y="89"/>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1" y="90"/>
                    <a:pt x="141" y="90"/>
                    <a:pt x="141" y="90"/>
                  </a:cubicBezTo>
                  <a:cubicBezTo>
                    <a:pt x="141" y="90"/>
                    <a:pt x="141" y="90"/>
                    <a:pt x="141" y="90"/>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0" y="91"/>
                    <a:pt x="140" y="91"/>
                    <a:pt x="140" y="91"/>
                  </a:cubicBezTo>
                  <a:cubicBezTo>
                    <a:pt x="140" y="91"/>
                    <a:pt x="140" y="91"/>
                    <a:pt x="140" y="91"/>
                  </a:cubicBezTo>
                  <a:cubicBezTo>
                    <a:pt x="140" y="91"/>
                    <a:pt x="140" y="91"/>
                    <a:pt x="140" y="91"/>
                  </a:cubicBezTo>
                  <a:cubicBezTo>
                    <a:pt x="140" y="91"/>
                    <a:pt x="140" y="91"/>
                    <a:pt x="140" y="91"/>
                  </a:cubicBezTo>
                  <a:cubicBezTo>
                    <a:pt x="140" y="92"/>
                    <a:pt x="140" y="92"/>
                    <a:pt x="140" y="92"/>
                  </a:cubicBezTo>
                  <a:cubicBezTo>
                    <a:pt x="140" y="92"/>
                    <a:pt x="140" y="92"/>
                    <a:pt x="140" y="92"/>
                  </a:cubicBezTo>
                  <a:cubicBezTo>
                    <a:pt x="140" y="92"/>
                    <a:pt x="140" y="92"/>
                    <a:pt x="140" y="92"/>
                  </a:cubicBezTo>
                  <a:cubicBezTo>
                    <a:pt x="139" y="92"/>
                    <a:pt x="139" y="92"/>
                    <a:pt x="139" y="92"/>
                  </a:cubicBezTo>
                  <a:cubicBezTo>
                    <a:pt x="139" y="92"/>
                    <a:pt x="139" y="92"/>
                    <a:pt x="139" y="92"/>
                  </a:cubicBezTo>
                  <a:cubicBezTo>
                    <a:pt x="139" y="92"/>
                    <a:pt x="139" y="92"/>
                    <a:pt x="139" y="92"/>
                  </a:cubicBezTo>
                  <a:cubicBezTo>
                    <a:pt x="139" y="92"/>
                    <a:pt x="139" y="92"/>
                    <a:pt x="139" y="92"/>
                  </a:cubicBezTo>
                  <a:cubicBezTo>
                    <a:pt x="139" y="93"/>
                    <a:pt x="139" y="93"/>
                    <a:pt x="139" y="93"/>
                  </a:cubicBezTo>
                  <a:cubicBezTo>
                    <a:pt x="139" y="93"/>
                    <a:pt x="139" y="93"/>
                    <a:pt x="139" y="93"/>
                  </a:cubicBezTo>
                  <a:cubicBezTo>
                    <a:pt x="139" y="93"/>
                    <a:pt x="139" y="93"/>
                    <a:pt x="139" y="93"/>
                  </a:cubicBezTo>
                  <a:cubicBezTo>
                    <a:pt x="138" y="93"/>
                    <a:pt x="138" y="93"/>
                    <a:pt x="138" y="93"/>
                  </a:cubicBezTo>
                  <a:cubicBezTo>
                    <a:pt x="138" y="93"/>
                    <a:pt x="138" y="93"/>
                    <a:pt x="138" y="93"/>
                  </a:cubicBezTo>
                  <a:cubicBezTo>
                    <a:pt x="138" y="93"/>
                    <a:pt x="138" y="93"/>
                    <a:pt x="138" y="93"/>
                  </a:cubicBezTo>
                  <a:cubicBezTo>
                    <a:pt x="138" y="93"/>
                    <a:pt x="138" y="93"/>
                    <a:pt x="138" y="93"/>
                  </a:cubicBezTo>
                  <a:cubicBezTo>
                    <a:pt x="138" y="94"/>
                    <a:pt x="138" y="94"/>
                    <a:pt x="138" y="94"/>
                  </a:cubicBezTo>
                  <a:cubicBezTo>
                    <a:pt x="138" y="94"/>
                    <a:pt x="138" y="94"/>
                    <a:pt x="138" y="94"/>
                  </a:cubicBezTo>
                  <a:cubicBezTo>
                    <a:pt x="138" y="58"/>
                    <a:pt x="138" y="58"/>
                    <a:pt x="138" y="58"/>
                  </a:cubicBezTo>
                  <a:cubicBezTo>
                    <a:pt x="145" y="65"/>
                    <a:pt x="145" y="65"/>
                    <a:pt x="145" y="65"/>
                  </a:cubicBezTo>
                  <a:cubicBezTo>
                    <a:pt x="152" y="58"/>
                    <a:pt x="152" y="58"/>
                    <a:pt x="152" y="58"/>
                  </a:cubicBezTo>
                  <a:close/>
                  <a:moveTo>
                    <a:pt x="152" y="129"/>
                  </a:moveTo>
                  <a:cubicBezTo>
                    <a:pt x="152" y="150"/>
                    <a:pt x="152" y="150"/>
                    <a:pt x="152" y="150"/>
                  </a:cubicBezTo>
                  <a:cubicBezTo>
                    <a:pt x="146" y="156"/>
                    <a:pt x="146" y="156"/>
                    <a:pt x="146" y="156"/>
                  </a:cubicBezTo>
                  <a:cubicBezTo>
                    <a:pt x="152" y="163"/>
                    <a:pt x="152" y="163"/>
                    <a:pt x="152" y="163"/>
                  </a:cubicBezTo>
                  <a:cubicBezTo>
                    <a:pt x="152" y="187"/>
                    <a:pt x="152" y="187"/>
                    <a:pt x="152" y="187"/>
                  </a:cubicBezTo>
                  <a:cubicBezTo>
                    <a:pt x="138" y="173"/>
                    <a:pt x="138" y="173"/>
                    <a:pt x="138" y="173"/>
                  </a:cubicBezTo>
                  <a:cubicBezTo>
                    <a:pt x="138" y="143"/>
                    <a:pt x="138" y="143"/>
                    <a:pt x="138" y="143"/>
                  </a:cubicBezTo>
                  <a:cubicBezTo>
                    <a:pt x="138" y="143"/>
                    <a:pt x="138" y="143"/>
                    <a:pt x="138" y="143"/>
                  </a:cubicBezTo>
                  <a:cubicBezTo>
                    <a:pt x="138" y="143"/>
                    <a:pt x="138" y="143"/>
                    <a:pt x="138" y="143"/>
                  </a:cubicBezTo>
                  <a:cubicBezTo>
                    <a:pt x="138" y="142"/>
                    <a:pt x="138" y="142"/>
                    <a:pt x="138"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1"/>
                    <a:pt x="139" y="141"/>
                    <a:pt x="139"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0"/>
                    <a:pt x="140" y="140"/>
                    <a:pt x="140"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39"/>
                    <a:pt x="141" y="139"/>
                    <a:pt x="141"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7"/>
                    <a:pt x="143" y="137"/>
                    <a:pt x="143"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6"/>
                    <a:pt x="144" y="136"/>
                    <a:pt x="144"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5"/>
                    <a:pt x="145" y="135"/>
                    <a:pt x="145" y="135"/>
                  </a:cubicBezTo>
                  <a:cubicBezTo>
                    <a:pt x="146" y="135"/>
                    <a:pt x="146" y="135"/>
                    <a:pt x="146" y="135"/>
                  </a:cubicBezTo>
                  <a:cubicBezTo>
                    <a:pt x="152" y="129"/>
                    <a:pt x="152" y="129"/>
                    <a:pt x="152" y="129"/>
                  </a:cubicBezTo>
                  <a:close/>
                  <a:moveTo>
                    <a:pt x="152" y="199"/>
                  </a:moveTo>
                  <a:cubicBezTo>
                    <a:pt x="152" y="232"/>
                    <a:pt x="152" y="232"/>
                    <a:pt x="152" y="232"/>
                  </a:cubicBezTo>
                  <a:cubicBezTo>
                    <a:pt x="147" y="227"/>
                    <a:pt x="147" y="227"/>
                    <a:pt x="147" y="227"/>
                  </a:cubicBezTo>
                  <a:cubicBezTo>
                    <a:pt x="138" y="235"/>
                    <a:pt x="138" y="235"/>
                    <a:pt x="138" y="235"/>
                  </a:cubicBezTo>
                  <a:cubicBezTo>
                    <a:pt x="138" y="214"/>
                    <a:pt x="138" y="214"/>
                    <a:pt x="138" y="214"/>
                  </a:cubicBezTo>
                  <a:cubicBezTo>
                    <a:pt x="148" y="204"/>
                    <a:pt x="148" y="204"/>
                    <a:pt x="148" y="204"/>
                  </a:cubicBezTo>
                  <a:cubicBezTo>
                    <a:pt x="148" y="204"/>
                    <a:pt x="148" y="204"/>
                    <a:pt x="148" y="204"/>
                  </a:cubicBezTo>
                  <a:cubicBezTo>
                    <a:pt x="148" y="204"/>
                    <a:pt x="148" y="204"/>
                    <a:pt x="148" y="204"/>
                  </a:cubicBezTo>
                  <a:cubicBezTo>
                    <a:pt x="148" y="203"/>
                    <a:pt x="148" y="203"/>
                    <a:pt x="148"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2"/>
                    <a:pt x="149" y="202"/>
                    <a:pt x="149"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1"/>
                    <a:pt x="150" y="201"/>
                    <a:pt x="150"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0"/>
                    <a:pt x="151" y="200"/>
                    <a:pt x="151" y="200"/>
                  </a:cubicBezTo>
                  <a:cubicBezTo>
                    <a:pt x="151" y="200"/>
                    <a:pt x="151" y="200"/>
                    <a:pt x="151"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lnTo>
                    <a:pt x="152" y="199"/>
                  </a:lnTo>
                  <a:close/>
                  <a:moveTo>
                    <a:pt x="138" y="267"/>
                  </a:moveTo>
                  <a:cubicBezTo>
                    <a:pt x="127" y="255"/>
                    <a:pt x="127" y="255"/>
                    <a:pt x="127" y="255"/>
                  </a:cubicBezTo>
                  <a:cubicBezTo>
                    <a:pt x="127" y="225"/>
                    <a:pt x="127" y="225"/>
                    <a:pt x="127" y="225"/>
                  </a:cubicBezTo>
                  <a:cubicBezTo>
                    <a:pt x="138" y="214"/>
                    <a:pt x="138" y="214"/>
                    <a:pt x="138" y="214"/>
                  </a:cubicBezTo>
                  <a:cubicBezTo>
                    <a:pt x="138" y="235"/>
                    <a:pt x="138" y="235"/>
                    <a:pt x="138" y="235"/>
                  </a:cubicBezTo>
                  <a:cubicBezTo>
                    <a:pt x="136" y="237"/>
                    <a:pt x="136" y="237"/>
                    <a:pt x="136" y="237"/>
                  </a:cubicBezTo>
                  <a:cubicBezTo>
                    <a:pt x="138" y="238"/>
                    <a:pt x="138" y="238"/>
                    <a:pt x="138" y="238"/>
                  </a:cubicBezTo>
                  <a:cubicBezTo>
                    <a:pt x="138" y="267"/>
                    <a:pt x="138" y="267"/>
                    <a:pt x="138" y="267"/>
                  </a:cubicBezTo>
                  <a:close/>
                  <a:moveTo>
                    <a:pt x="127" y="3"/>
                  </a:moveTo>
                  <a:cubicBezTo>
                    <a:pt x="129" y="0"/>
                    <a:pt x="129" y="0"/>
                    <a:pt x="129" y="0"/>
                  </a:cubicBezTo>
                  <a:cubicBezTo>
                    <a:pt x="138" y="9"/>
                    <a:pt x="138" y="9"/>
                    <a:pt x="138" y="9"/>
                  </a:cubicBezTo>
                  <a:cubicBezTo>
                    <a:pt x="138" y="37"/>
                    <a:pt x="138" y="37"/>
                    <a:pt x="138" y="37"/>
                  </a:cubicBezTo>
                  <a:cubicBezTo>
                    <a:pt x="131" y="30"/>
                    <a:pt x="131" y="30"/>
                    <a:pt x="131" y="30"/>
                  </a:cubicBezTo>
                  <a:cubicBezTo>
                    <a:pt x="127" y="34"/>
                    <a:pt x="127" y="34"/>
                    <a:pt x="127" y="34"/>
                  </a:cubicBezTo>
                  <a:cubicBezTo>
                    <a:pt x="127" y="3"/>
                    <a:pt x="127" y="3"/>
                    <a:pt x="127" y="3"/>
                  </a:cubicBezTo>
                  <a:close/>
                  <a:moveTo>
                    <a:pt x="138" y="58"/>
                  </a:moveTo>
                  <a:cubicBezTo>
                    <a:pt x="138" y="94"/>
                    <a:pt x="138" y="94"/>
                    <a:pt x="138" y="94"/>
                  </a:cubicBezTo>
                  <a:cubicBezTo>
                    <a:pt x="138" y="94"/>
                    <a:pt x="138" y="94"/>
                    <a:pt x="138" y="94"/>
                  </a:cubicBezTo>
                  <a:cubicBezTo>
                    <a:pt x="138" y="94"/>
                    <a:pt x="138" y="94"/>
                    <a:pt x="138" y="94"/>
                  </a:cubicBezTo>
                  <a:cubicBezTo>
                    <a:pt x="138" y="94"/>
                    <a:pt x="138" y="94"/>
                    <a:pt x="138" y="94"/>
                  </a:cubicBezTo>
                  <a:cubicBezTo>
                    <a:pt x="138" y="94"/>
                    <a:pt x="138" y="94"/>
                    <a:pt x="138" y="94"/>
                  </a:cubicBezTo>
                  <a:cubicBezTo>
                    <a:pt x="137" y="94"/>
                    <a:pt x="137" y="94"/>
                    <a:pt x="137" y="94"/>
                  </a:cubicBezTo>
                  <a:cubicBezTo>
                    <a:pt x="137" y="94"/>
                    <a:pt x="137" y="94"/>
                    <a:pt x="137" y="94"/>
                  </a:cubicBezTo>
                  <a:cubicBezTo>
                    <a:pt x="137" y="94"/>
                    <a:pt x="137" y="94"/>
                    <a:pt x="137" y="94"/>
                  </a:cubicBezTo>
                  <a:cubicBezTo>
                    <a:pt x="137" y="95"/>
                    <a:pt x="137" y="95"/>
                    <a:pt x="137" y="95"/>
                  </a:cubicBezTo>
                  <a:cubicBezTo>
                    <a:pt x="137" y="95"/>
                    <a:pt x="137" y="95"/>
                    <a:pt x="137" y="95"/>
                  </a:cubicBezTo>
                  <a:cubicBezTo>
                    <a:pt x="137" y="95"/>
                    <a:pt x="137" y="95"/>
                    <a:pt x="137" y="95"/>
                  </a:cubicBezTo>
                  <a:cubicBezTo>
                    <a:pt x="137" y="95"/>
                    <a:pt x="137" y="95"/>
                    <a:pt x="137" y="95"/>
                  </a:cubicBezTo>
                  <a:cubicBezTo>
                    <a:pt x="136" y="95"/>
                    <a:pt x="136" y="95"/>
                    <a:pt x="136" y="95"/>
                  </a:cubicBezTo>
                  <a:cubicBezTo>
                    <a:pt x="136" y="95"/>
                    <a:pt x="136" y="95"/>
                    <a:pt x="136" y="95"/>
                  </a:cubicBezTo>
                  <a:cubicBezTo>
                    <a:pt x="136" y="95"/>
                    <a:pt x="136" y="95"/>
                    <a:pt x="136" y="95"/>
                  </a:cubicBezTo>
                  <a:cubicBezTo>
                    <a:pt x="136" y="96"/>
                    <a:pt x="136" y="96"/>
                    <a:pt x="136" y="96"/>
                  </a:cubicBezTo>
                  <a:cubicBezTo>
                    <a:pt x="136" y="96"/>
                    <a:pt x="136" y="96"/>
                    <a:pt x="136" y="96"/>
                  </a:cubicBezTo>
                  <a:cubicBezTo>
                    <a:pt x="136" y="96"/>
                    <a:pt x="136" y="96"/>
                    <a:pt x="136" y="96"/>
                  </a:cubicBezTo>
                  <a:cubicBezTo>
                    <a:pt x="136" y="96"/>
                    <a:pt x="136" y="96"/>
                    <a:pt x="136" y="96"/>
                  </a:cubicBezTo>
                  <a:cubicBezTo>
                    <a:pt x="135" y="96"/>
                    <a:pt x="135" y="96"/>
                    <a:pt x="135" y="96"/>
                  </a:cubicBezTo>
                  <a:cubicBezTo>
                    <a:pt x="135" y="96"/>
                    <a:pt x="135" y="96"/>
                    <a:pt x="135" y="96"/>
                  </a:cubicBezTo>
                  <a:cubicBezTo>
                    <a:pt x="135" y="96"/>
                    <a:pt x="135" y="96"/>
                    <a:pt x="135" y="96"/>
                  </a:cubicBezTo>
                  <a:cubicBezTo>
                    <a:pt x="135" y="96"/>
                    <a:pt x="135" y="96"/>
                    <a:pt x="135" y="96"/>
                  </a:cubicBezTo>
                  <a:cubicBezTo>
                    <a:pt x="135" y="97"/>
                    <a:pt x="135" y="97"/>
                    <a:pt x="135" y="97"/>
                  </a:cubicBezTo>
                  <a:cubicBezTo>
                    <a:pt x="135" y="97"/>
                    <a:pt x="135" y="97"/>
                    <a:pt x="135" y="97"/>
                  </a:cubicBezTo>
                  <a:cubicBezTo>
                    <a:pt x="135" y="97"/>
                    <a:pt x="135" y="97"/>
                    <a:pt x="135" y="97"/>
                  </a:cubicBezTo>
                  <a:cubicBezTo>
                    <a:pt x="135" y="97"/>
                    <a:pt x="135" y="97"/>
                    <a:pt x="135" y="97"/>
                  </a:cubicBezTo>
                  <a:cubicBezTo>
                    <a:pt x="134" y="97"/>
                    <a:pt x="134" y="97"/>
                    <a:pt x="134" y="97"/>
                  </a:cubicBezTo>
                  <a:cubicBezTo>
                    <a:pt x="134" y="97"/>
                    <a:pt x="134" y="97"/>
                    <a:pt x="134" y="97"/>
                  </a:cubicBezTo>
                  <a:cubicBezTo>
                    <a:pt x="134" y="97"/>
                    <a:pt x="134" y="97"/>
                    <a:pt x="134" y="97"/>
                  </a:cubicBezTo>
                  <a:cubicBezTo>
                    <a:pt x="134" y="97"/>
                    <a:pt x="134" y="97"/>
                    <a:pt x="134" y="97"/>
                  </a:cubicBezTo>
                  <a:cubicBezTo>
                    <a:pt x="134" y="98"/>
                    <a:pt x="134" y="98"/>
                    <a:pt x="134" y="98"/>
                  </a:cubicBezTo>
                  <a:cubicBezTo>
                    <a:pt x="134" y="98"/>
                    <a:pt x="134" y="98"/>
                    <a:pt x="134" y="98"/>
                  </a:cubicBezTo>
                  <a:cubicBezTo>
                    <a:pt x="134" y="98"/>
                    <a:pt x="134" y="98"/>
                    <a:pt x="134" y="98"/>
                  </a:cubicBezTo>
                  <a:cubicBezTo>
                    <a:pt x="133" y="98"/>
                    <a:pt x="133" y="98"/>
                    <a:pt x="133" y="98"/>
                  </a:cubicBezTo>
                  <a:cubicBezTo>
                    <a:pt x="127" y="105"/>
                    <a:pt x="127" y="105"/>
                    <a:pt x="127" y="105"/>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2"/>
                    <a:pt x="127" y="82"/>
                    <a:pt x="127"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1"/>
                    <a:pt x="128" y="81"/>
                    <a:pt x="128"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0"/>
                    <a:pt x="129" y="80"/>
                    <a:pt x="129"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79"/>
                    <a:pt x="130" y="79"/>
                    <a:pt x="130" y="79"/>
                  </a:cubicBezTo>
                  <a:cubicBezTo>
                    <a:pt x="130" y="79"/>
                    <a:pt x="130" y="79"/>
                    <a:pt x="130"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3" y="77"/>
                    <a:pt x="133" y="77"/>
                    <a:pt x="133" y="77"/>
                  </a:cubicBezTo>
                  <a:cubicBezTo>
                    <a:pt x="133" y="77"/>
                    <a:pt x="133" y="77"/>
                    <a:pt x="133" y="77"/>
                  </a:cubicBezTo>
                  <a:cubicBezTo>
                    <a:pt x="133" y="77"/>
                    <a:pt x="133" y="77"/>
                    <a:pt x="133" y="77"/>
                  </a:cubicBezTo>
                  <a:cubicBezTo>
                    <a:pt x="127" y="71"/>
                    <a:pt x="127" y="71"/>
                    <a:pt x="127" y="71"/>
                  </a:cubicBezTo>
                  <a:cubicBezTo>
                    <a:pt x="127" y="46"/>
                    <a:pt x="127" y="46"/>
                    <a:pt x="127" y="46"/>
                  </a:cubicBezTo>
                  <a:cubicBezTo>
                    <a:pt x="138" y="58"/>
                    <a:pt x="138" y="58"/>
                    <a:pt x="138" y="58"/>
                  </a:cubicBezTo>
                  <a:close/>
                  <a:moveTo>
                    <a:pt x="138" y="143"/>
                  </a:moveTo>
                  <a:cubicBezTo>
                    <a:pt x="138" y="173"/>
                    <a:pt x="138" y="173"/>
                    <a:pt x="138" y="173"/>
                  </a:cubicBezTo>
                  <a:cubicBezTo>
                    <a:pt x="134" y="168"/>
                    <a:pt x="134" y="168"/>
                    <a:pt x="134" y="168"/>
                  </a:cubicBezTo>
                  <a:cubicBezTo>
                    <a:pt x="134" y="169"/>
                    <a:pt x="134" y="169"/>
                    <a:pt x="134" y="169"/>
                  </a:cubicBezTo>
                  <a:cubicBezTo>
                    <a:pt x="134" y="169"/>
                    <a:pt x="134" y="169"/>
                    <a:pt x="134"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70"/>
                    <a:pt x="133" y="170"/>
                    <a:pt x="133" y="170"/>
                  </a:cubicBezTo>
                  <a:cubicBezTo>
                    <a:pt x="133" y="170"/>
                    <a:pt x="133" y="170"/>
                    <a:pt x="133"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1"/>
                    <a:pt x="132" y="171"/>
                    <a:pt x="132" y="171"/>
                  </a:cubicBezTo>
                  <a:cubicBezTo>
                    <a:pt x="132" y="171"/>
                    <a:pt x="132" y="171"/>
                    <a:pt x="132" y="171"/>
                  </a:cubicBezTo>
                  <a:cubicBezTo>
                    <a:pt x="132" y="171"/>
                    <a:pt x="132" y="171"/>
                    <a:pt x="132"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2"/>
                    <a:pt x="131" y="172"/>
                    <a:pt x="131" y="172"/>
                  </a:cubicBezTo>
                  <a:cubicBezTo>
                    <a:pt x="131" y="172"/>
                    <a:pt x="131" y="172"/>
                    <a:pt x="131" y="172"/>
                  </a:cubicBezTo>
                  <a:cubicBezTo>
                    <a:pt x="131" y="172"/>
                    <a:pt x="131" y="172"/>
                    <a:pt x="131"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3"/>
                    <a:pt x="130" y="173"/>
                    <a:pt x="130" y="173"/>
                  </a:cubicBezTo>
                  <a:cubicBezTo>
                    <a:pt x="130" y="173"/>
                    <a:pt x="130" y="173"/>
                    <a:pt x="130" y="173"/>
                  </a:cubicBezTo>
                  <a:cubicBezTo>
                    <a:pt x="130" y="173"/>
                    <a:pt x="130" y="173"/>
                    <a:pt x="130"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4"/>
                    <a:pt x="129" y="174"/>
                    <a:pt x="129" y="174"/>
                  </a:cubicBezTo>
                  <a:cubicBezTo>
                    <a:pt x="129" y="174"/>
                    <a:pt x="129" y="174"/>
                    <a:pt x="129" y="174"/>
                  </a:cubicBezTo>
                  <a:cubicBezTo>
                    <a:pt x="129" y="174"/>
                    <a:pt x="129" y="174"/>
                    <a:pt x="129"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5"/>
                    <a:pt x="128" y="175"/>
                    <a:pt x="128" y="175"/>
                  </a:cubicBezTo>
                  <a:cubicBezTo>
                    <a:pt x="128" y="175"/>
                    <a:pt x="128" y="175"/>
                    <a:pt x="128"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6"/>
                    <a:pt x="127" y="176"/>
                    <a:pt x="127" y="176"/>
                  </a:cubicBezTo>
                  <a:cubicBezTo>
                    <a:pt x="127" y="137"/>
                    <a:pt x="127" y="137"/>
                    <a:pt x="127" y="137"/>
                  </a:cubicBezTo>
                  <a:cubicBezTo>
                    <a:pt x="135" y="145"/>
                    <a:pt x="135" y="145"/>
                    <a:pt x="135"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3"/>
                    <a:pt x="137" y="143"/>
                    <a:pt x="137" y="143"/>
                  </a:cubicBezTo>
                  <a:cubicBezTo>
                    <a:pt x="138" y="143"/>
                    <a:pt x="138" y="143"/>
                    <a:pt x="138" y="143"/>
                  </a:cubicBezTo>
                  <a:cubicBezTo>
                    <a:pt x="138" y="143"/>
                    <a:pt x="138" y="143"/>
                    <a:pt x="138" y="143"/>
                  </a:cubicBezTo>
                  <a:cubicBezTo>
                    <a:pt x="138" y="143"/>
                    <a:pt x="138" y="143"/>
                    <a:pt x="138" y="143"/>
                  </a:cubicBezTo>
                  <a:close/>
                  <a:moveTo>
                    <a:pt x="127" y="255"/>
                  </a:moveTo>
                  <a:cubicBezTo>
                    <a:pt x="117" y="245"/>
                    <a:pt x="117" y="245"/>
                    <a:pt x="117" y="245"/>
                  </a:cubicBezTo>
                  <a:cubicBezTo>
                    <a:pt x="117" y="217"/>
                    <a:pt x="117" y="217"/>
                    <a:pt x="117" y="217"/>
                  </a:cubicBezTo>
                  <a:cubicBezTo>
                    <a:pt x="126" y="226"/>
                    <a:pt x="126" y="226"/>
                    <a:pt x="126" y="226"/>
                  </a:cubicBezTo>
                  <a:cubicBezTo>
                    <a:pt x="127" y="225"/>
                    <a:pt x="127" y="225"/>
                    <a:pt x="127" y="225"/>
                  </a:cubicBezTo>
                  <a:cubicBezTo>
                    <a:pt x="127" y="255"/>
                    <a:pt x="127" y="255"/>
                    <a:pt x="127" y="255"/>
                  </a:cubicBezTo>
                  <a:close/>
                  <a:moveTo>
                    <a:pt x="117" y="12"/>
                  </a:moveTo>
                  <a:cubicBezTo>
                    <a:pt x="127" y="3"/>
                    <a:pt x="127" y="3"/>
                    <a:pt x="127" y="3"/>
                  </a:cubicBezTo>
                  <a:cubicBezTo>
                    <a:pt x="127" y="34"/>
                    <a:pt x="127" y="34"/>
                    <a:pt x="127" y="34"/>
                  </a:cubicBezTo>
                  <a:cubicBezTo>
                    <a:pt x="120" y="40"/>
                    <a:pt x="120" y="40"/>
                    <a:pt x="120" y="40"/>
                  </a:cubicBezTo>
                  <a:cubicBezTo>
                    <a:pt x="127" y="46"/>
                    <a:pt x="127" y="46"/>
                    <a:pt x="127" y="46"/>
                  </a:cubicBezTo>
                  <a:cubicBezTo>
                    <a:pt x="127" y="71"/>
                    <a:pt x="127" y="71"/>
                    <a:pt x="127" y="71"/>
                  </a:cubicBezTo>
                  <a:cubicBezTo>
                    <a:pt x="117" y="61"/>
                    <a:pt x="117" y="61"/>
                    <a:pt x="117" y="61"/>
                  </a:cubicBezTo>
                  <a:cubicBezTo>
                    <a:pt x="117" y="12"/>
                    <a:pt x="117" y="12"/>
                    <a:pt x="117" y="12"/>
                  </a:cubicBezTo>
                  <a:close/>
                  <a:moveTo>
                    <a:pt x="127" y="83"/>
                  </a:moveTo>
                  <a:cubicBezTo>
                    <a:pt x="127" y="105"/>
                    <a:pt x="127" y="105"/>
                    <a:pt x="127" y="105"/>
                  </a:cubicBezTo>
                  <a:cubicBezTo>
                    <a:pt x="121" y="110"/>
                    <a:pt x="121" y="110"/>
                    <a:pt x="121" y="110"/>
                  </a:cubicBezTo>
                  <a:cubicBezTo>
                    <a:pt x="121" y="111"/>
                    <a:pt x="121" y="111"/>
                    <a:pt x="121" y="111"/>
                  </a:cubicBezTo>
                  <a:cubicBezTo>
                    <a:pt x="121" y="111"/>
                    <a:pt x="121" y="111"/>
                    <a:pt x="121" y="111"/>
                  </a:cubicBezTo>
                  <a:cubicBezTo>
                    <a:pt x="120" y="111"/>
                    <a:pt x="120" y="111"/>
                    <a:pt x="120" y="111"/>
                  </a:cubicBezTo>
                  <a:cubicBezTo>
                    <a:pt x="120" y="111"/>
                    <a:pt x="120" y="111"/>
                    <a:pt x="120" y="111"/>
                  </a:cubicBezTo>
                  <a:cubicBezTo>
                    <a:pt x="120" y="111"/>
                    <a:pt x="120" y="111"/>
                    <a:pt x="120" y="111"/>
                  </a:cubicBezTo>
                  <a:cubicBezTo>
                    <a:pt x="120" y="111"/>
                    <a:pt x="120" y="111"/>
                    <a:pt x="120" y="111"/>
                  </a:cubicBezTo>
                  <a:cubicBezTo>
                    <a:pt x="120" y="112"/>
                    <a:pt x="120" y="112"/>
                    <a:pt x="120" y="112"/>
                  </a:cubicBezTo>
                  <a:cubicBezTo>
                    <a:pt x="120" y="112"/>
                    <a:pt x="120" y="112"/>
                    <a:pt x="120" y="112"/>
                  </a:cubicBezTo>
                  <a:cubicBezTo>
                    <a:pt x="119" y="112"/>
                    <a:pt x="119" y="112"/>
                    <a:pt x="119" y="112"/>
                  </a:cubicBezTo>
                  <a:cubicBezTo>
                    <a:pt x="119" y="112"/>
                    <a:pt x="119" y="112"/>
                    <a:pt x="119" y="112"/>
                  </a:cubicBezTo>
                  <a:cubicBezTo>
                    <a:pt x="119" y="112"/>
                    <a:pt x="119" y="112"/>
                    <a:pt x="119" y="112"/>
                  </a:cubicBezTo>
                  <a:cubicBezTo>
                    <a:pt x="119" y="112"/>
                    <a:pt x="119" y="112"/>
                    <a:pt x="119" y="112"/>
                  </a:cubicBezTo>
                  <a:cubicBezTo>
                    <a:pt x="119" y="113"/>
                    <a:pt x="119" y="113"/>
                    <a:pt x="119" y="113"/>
                  </a:cubicBezTo>
                  <a:cubicBezTo>
                    <a:pt x="119" y="113"/>
                    <a:pt x="119" y="113"/>
                    <a:pt x="119"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4"/>
                    <a:pt x="118" y="114"/>
                    <a:pt x="118" y="114"/>
                  </a:cubicBezTo>
                  <a:cubicBezTo>
                    <a:pt x="118" y="114"/>
                    <a:pt x="118" y="114"/>
                    <a:pt x="118" y="114"/>
                  </a:cubicBezTo>
                  <a:cubicBezTo>
                    <a:pt x="117" y="114"/>
                    <a:pt x="117" y="114"/>
                    <a:pt x="117" y="114"/>
                  </a:cubicBezTo>
                  <a:cubicBezTo>
                    <a:pt x="117" y="114"/>
                    <a:pt x="117" y="114"/>
                    <a:pt x="117" y="114"/>
                  </a:cubicBezTo>
                  <a:cubicBezTo>
                    <a:pt x="117" y="114"/>
                    <a:pt x="117" y="114"/>
                    <a:pt x="117" y="114"/>
                  </a:cubicBezTo>
                  <a:cubicBezTo>
                    <a:pt x="117" y="114"/>
                    <a:pt x="117" y="114"/>
                    <a:pt x="117" y="114"/>
                  </a:cubicBezTo>
                  <a:cubicBezTo>
                    <a:pt x="117" y="93"/>
                    <a:pt x="117" y="93"/>
                    <a:pt x="117" y="93"/>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6"/>
                    <a:pt x="123" y="86"/>
                    <a:pt x="123"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5"/>
                    <a:pt x="124" y="85"/>
                    <a:pt x="124"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4"/>
                    <a:pt x="125" y="84"/>
                    <a:pt x="125"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3"/>
                    <a:pt x="126" y="83"/>
                    <a:pt x="126" y="83"/>
                  </a:cubicBezTo>
                  <a:cubicBezTo>
                    <a:pt x="127" y="83"/>
                    <a:pt x="127" y="83"/>
                    <a:pt x="127" y="83"/>
                  </a:cubicBezTo>
                  <a:cubicBezTo>
                    <a:pt x="127" y="83"/>
                    <a:pt x="127" y="83"/>
                    <a:pt x="127" y="83"/>
                  </a:cubicBezTo>
                  <a:close/>
                  <a:moveTo>
                    <a:pt x="127" y="137"/>
                  </a:moveTo>
                  <a:cubicBezTo>
                    <a:pt x="127" y="176"/>
                    <a:pt x="127" y="176"/>
                    <a:pt x="127" y="176"/>
                  </a:cubicBezTo>
                  <a:cubicBezTo>
                    <a:pt x="127" y="176"/>
                    <a:pt x="127" y="176"/>
                    <a:pt x="127" y="176"/>
                  </a:cubicBezTo>
                  <a:cubicBezTo>
                    <a:pt x="127" y="176"/>
                    <a:pt x="127" y="176"/>
                    <a:pt x="127"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7"/>
                    <a:pt x="126" y="177"/>
                    <a:pt x="126" y="177"/>
                  </a:cubicBezTo>
                  <a:cubicBezTo>
                    <a:pt x="126" y="177"/>
                    <a:pt x="126" y="177"/>
                    <a:pt x="126" y="177"/>
                  </a:cubicBezTo>
                  <a:cubicBezTo>
                    <a:pt x="126" y="177"/>
                    <a:pt x="126" y="177"/>
                    <a:pt x="126"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8"/>
                    <a:pt x="125" y="178"/>
                    <a:pt x="125" y="178"/>
                  </a:cubicBezTo>
                  <a:cubicBezTo>
                    <a:pt x="125" y="178"/>
                    <a:pt x="125" y="178"/>
                    <a:pt x="125" y="178"/>
                  </a:cubicBezTo>
                  <a:cubicBezTo>
                    <a:pt x="125" y="178"/>
                    <a:pt x="125" y="178"/>
                    <a:pt x="125"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9"/>
                    <a:pt x="124" y="179"/>
                    <a:pt x="124" y="179"/>
                  </a:cubicBezTo>
                  <a:cubicBezTo>
                    <a:pt x="124" y="179"/>
                    <a:pt x="124" y="179"/>
                    <a:pt x="124" y="179"/>
                  </a:cubicBezTo>
                  <a:cubicBezTo>
                    <a:pt x="123" y="179"/>
                    <a:pt x="123" y="179"/>
                    <a:pt x="123" y="179"/>
                  </a:cubicBezTo>
                  <a:cubicBezTo>
                    <a:pt x="117" y="185"/>
                    <a:pt x="117" y="185"/>
                    <a:pt x="117" y="185"/>
                  </a:cubicBezTo>
                  <a:cubicBezTo>
                    <a:pt x="117" y="164"/>
                    <a:pt x="117" y="164"/>
                    <a:pt x="117" y="164"/>
                  </a:cubicBezTo>
                  <a:cubicBezTo>
                    <a:pt x="123" y="158"/>
                    <a:pt x="123" y="158"/>
                    <a:pt x="123" y="158"/>
                  </a:cubicBezTo>
                  <a:cubicBezTo>
                    <a:pt x="117" y="151"/>
                    <a:pt x="117" y="151"/>
                    <a:pt x="117" y="151"/>
                  </a:cubicBezTo>
                  <a:cubicBezTo>
                    <a:pt x="117" y="127"/>
                    <a:pt x="117" y="127"/>
                    <a:pt x="117" y="127"/>
                  </a:cubicBezTo>
                  <a:lnTo>
                    <a:pt x="127" y="137"/>
                  </a:lnTo>
                  <a:close/>
                  <a:moveTo>
                    <a:pt x="117" y="245"/>
                  </a:moveTo>
                  <a:cubicBezTo>
                    <a:pt x="106" y="234"/>
                    <a:pt x="106" y="234"/>
                    <a:pt x="106" y="234"/>
                  </a:cubicBezTo>
                  <a:cubicBezTo>
                    <a:pt x="106" y="206"/>
                    <a:pt x="106" y="206"/>
                    <a:pt x="106" y="206"/>
                  </a:cubicBezTo>
                  <a:cubicBezTo>
                    <a:pt x="117" y="217"/>
                    <a:pt x="117" y="217"/>
                    <a:pt x="117" y="217"/>
                  </a:cubicBezTo>
                  <a:cubicBezTo>
                    <a:pt x="117" y="245"/>
                    <a:pt x="117" y="245"/>
                    <a:pt x="117" y="245"/>
                  </a:cubicBezTo>
                  <a:close/>
                  <a:moveTo>
                    <a:pt x="106" y="24"/>
                  </a:moveTo>
                  <a:cubicBezTo>
                    <a:pt x="117" y="12"/>
                    <a:pt x="117" y="12"/>
                    <a:pt x="117" y="12"/>
                  </a:cubicBezTo>
                  <a:cubicBezTo>
                    <a:pt x="117" y="61"/>
                    <a:pt x="117" y="61"/>
                    <a:pt x="117" y="61"/>
                  </a:cubicBezTo>
                  <a:cubicBezTo>
                    <a:pt x="108" y="52"/>
                    <a:pt x="108" y="52"/>
                    <a:pt x="108" y="52"/>
                  </a:cubicBezTo>
                  <a:cubicBezTo>
                    <a:pt x="108" y="52"/>
                    <a:pt x="108" y="52"/>
                    <a:pt x="108" y="52"/>
                  </a:cubicBezTo>
                  <a:cubicBezTo>
                    <a:pt x="108" y="52"/>
                    <a:pt x="108" y="52"/>
                    <a:pt x="108" y="52"/>
                  </a:cubicBezTo>
                  <a:cubicBezTo>
                    <a:pt x="108" y="53"/>
                    <a:pt x="108" y="53"/>
                    <a:pt x="108" y="53"/>
                  </a:cubicBezTo>
                  <a:cubicBezTo>
                    <a:pt x="108" y="53"/>
                    <a:pt x="108" y="53"/>
                    <a:pt x="108"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4"/>
                    <a:pt x="107" y="54"/>
                    <a:pt x="107" y="54"/>
                  </a:cubicBezTo>
                  <a:cubicBezTo>
                    <a:pt x="107" y="54"/>
                    <a:pt x="107" y="54"/>
                    <a:pt x="107" y="54"/>
                  </a:cubicBezTo>
                  <a:cubicBezTo>
                    <a:pt x="106" y="54"/>
                    <a:pt x="106" y="54"/>
                    <a:pt x="106" y="54"/>
                  </a:cubicBezTo>
                  <a:cubicBezTo>
                    <a:pt x="106" y="54"/>
                    <a:pt x="106" y="54"/>
                    <a:pt x="106" y="54"/>
                  </a:cubicBezTo>
                  <a:cubicBezTo>
                    <a:pt x="106" y="54"/>
                    <a:pt x="106" y="54"/>
                    <a:pt x="106" y="54"/>
                  </a:cubicBezTo>
                  <a:cubicBezTo>
                    <a:pt x="106" y="54"/>
                    <a:pt x="106" y="54"/>
                    <a:pt x="106" y="54"/>
                  </a:cubicBezTo>
                  <a:cubicBezTo>
                    <a:pt x="106" y="55"/>
                    <a:pt x="106" y="55"/>
                    <a:pt x="106" y="55"/>
                  </a:cubicBezTo>
                  <a:cubicBezTo>
                    <a:pt x="106" y="55"/>
                    <a:pt x="106" y="55"/>
                    <a:pt x="106" y="55"/>
                  </a:cubicBezTo>
                  <a:cubicBezTo>
                    <a:pt x="106" y="55"/>
                    <a:pt x="106" y="55"/>
                    <a:pt x="106" y="55"/>
                  </a:cubicBezTo>
                  <a:cubicBezTo>
                    <a:pt x="106" y="55"/>
                    <a:pt x="106" y="55"/>
                    <a:pt x="106" y="55"/>
                  </a:cubicBezTo>
                  <a:cubicBezTo>
                    <a:pt x="106" y="24"/>
                    <a:pt x="106" y="24"/>
                    <a:pt x="106" y="24"/>
                  </a:cubicBezTo>
                  <a:close/>
                  <a:moveTo>
                    <a:pt x="117" y="93"/>
                  </a:moveTo>
                  <a:cubicBezTo>
                    <a:pt x="117" y="114"/>
                    <a:pt x="117" y="114"/>
                    <a:pt x="117" y="114"/>
                  </a:cubicBezTo>
                  <a:cubicBezTo>
                    <a:pt x="117" y="114"/>
                    <a:pt x="117" y="114"/>
                    <a:pt x="117" y="114"/>
                  </a:cubicBezTo>
                  <a:cubicBezTo>
                    <a:pt x="117" y="115"/>
                    <a:pt x="117" y="115"/>
                    <a:pt x="117" y="115"/>
                  </a:cubicBezTo>
                  <a:cubicBezTo>
                    <a:pt x="117" y="115"/>
                    <a:pt x="117" y="115"/>
                    <a:pt x="117" y="115"/>
                  </a:cubicBezTo>
                  <a:cubicBezTo>
                    <a:pt x="116" y="115"/>
                    <a:pt x="116" y="115"/>
                    <a:pt x="116" y="115"/>
                  </a:cubicBezTo>
                  <a:cubicBezTo>
                    <a:pt x="116" y="115"/>
                    <a:pt x="116" y="115"/>
                    <a:pt x="116" y="115"/>
                  </a:cubicBezTo>
                  <a:cubicBezTo>
                    <a:pt x="116" y="115"/>
                    <a:pt x="116" y="115"/>
                    <a:pt x="116" y="115"/>
                  </a:cubicBezTo>
                  <a:cubicBezTo>
                    <a:pt x="116" y="115"/>
                    <a:pt x="116" y="115"/>
                    <a:pt x="116" y="115"/>
                  </a:cubicBezTo>
                  <a:cubicBezTo>
                    <a:pt x="116" y="116"/>
                    <a:pt x="116" y="116"/>
                    <a:pt x="116" y="116"/>
                  </a:cubicBezTo>
                  <a:cubicBezTo>
                    <a:pt x="116" y="116"/>
                    <a:pt x="116" y="116"/>
                    <a:pt x="116"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7"/>
                    <a:pt x="115" y="117"/>
                    <a:pt x="115" y="117"/>
                  </a:cubicBezTo>
                  <a:cubicBezTo>
                    <a:pt x="115" y="117"/>
                    <a:pt x="115" y="117"/>
                    <a:pt x="115" y="117"/>
                  </a:cubicBezTo>
                  <a:cubicBezTo>
                    <a:pt x="114" y="117"/>
                    <a:pt x="114" y="117"/>
                    <a:pt x="114" y="117"/>
                  </a:cubicBezTo>
                  <a:cubicBezTo>
                    <a:pt x="114" y="117"/>
                    <a:pt x="114" y="117"/>
                    <a:pt x="114" y="117"/>
                  </a:cubicBezTo>
                  <a:cubicBezTo>
                    <a:pt x="114" y="117"/>
                    <a:pt x="114" y="117"/>
                    <a:pt x="114" y="117"/>
                  </a:cubicBezTo>
                  <a:cubicBezTo>
                    <a:pt x="114" y="117"/>
                    <a:pt x="114" y="117"/>
                    <a:pt x="114" y="117"/>
                  </a:cubicBezTo>
                  <a:cubicBezTo>
                    <a:pt x="114" y="118"/>
                    <a:pt x="114" y="118"/>
                    <a:pt x="114" y="118"/>
                  </a:cubicBezTo>
                  <a:cubicBezTo>
                    <a:pt x="114" y="118"/>
                    <a:pt x="114" y="118"/>
                    <a:pt x="114" y="118"/>
                  </a:cubicBezTo>
                  <a:cubicBezTo>
                    <a:pt x="113" y="118"/>
                    <a:pt x="113" y="118"/>
                    <a:pt x="113" y="118"/>
                  </a:cubicBezTo>
                  <a:cubicBezTo>
                    <a:pt x="113" y="118"/>
                    <a:pt x="113" y="118"/>
                    <a:pt x="113" y="118"/>
                  </a:cubicBezTo>
                  <a:cubicBezTo>
                    <a:pt x="113" y="118"/>
                    <a:pt x="113" y="118"/>
                    <a:pt x="113" y="118"/>
                  </a:cubicBezTo>
                  <a:cubicBezTo>
                    <a:pt x="113" y="118"/>
                    <a:pt x="113" y="118"/>
                    <a:pt x="113" y="118"/>
                  </a:cubicBezTo>
                  <a:cubicBezTo>
                    <a:pt x="113" y="119"/>
                    <a:pt x="113" y="119"/>
                    <a:pt x="113" y="119"/>
                  </a:cubicBezTo>
                  <a:cubicBezTo>
                    <a:pt x="113" y="119"/>
                    <a:pt x="113" y="119"/>
                    <a:pt x="113"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20"/>
                    <a:pt x="112" y="120"/>
                    <a:pt x="112" y="120"/>
                  </a:cubicBezTo>
                  <a:cubicBezTo>
                    <a:pt x="112" y="120"/>
                    <a:pt x="112" y="120"/>
                    <a:pt x="112" y="120"/>
                  </a:cubicBezTo>
                  <a:cubicBezTo>
                    <a:pt x="111" y="120"/>
                    <a:pt x="111" y="120"/>
                    <a:pt x="111" y="120"/>
                  </a:cubicBezTo>
                  <a:cubicBezTo>
                    <a:pt x="111" y="120"/>
                    <a:pt x="111" y="120"/>
                    <a:pt x="111" y="120"/>
                  </a:cubicBezTo>
                  <a:cubicBezTo>
                    <a:pt x="111" y="120"/>
                    <a:pt x="111" y="120"/>
                    <a:pt x="111" y="120"/>
                  </a:cubicBezTo>
                  <a:cubicBezTo>
                    <a:pt x="111" y="120"/>
                    <a:pt x="111" y="120"/>
                    <a:pt x="111" y="120"/>
                  </a:cubicBezTo>
                  <a:cubicBezTo>
                    <a:pt x="111" y="121"/>
                    <a:pt x="111" y="121"/>
                    <a:pt x="111" y="121"/>
                  </a:cubicBezTo>
                  <a:cubicBezTo>
                    <a:pt x="117" y="127"/>
                    <a:pt x="117" y="127"/>
                    <a:pt x="117" y="127"/>
                  </a:cubicBezTo>
                  <a:cubicBezTo>
                    <a:pt x="117" y="151"/>
                    <a:pt x="117" y="151"/>
                    <a:pt x="117" y="151"/>
                  </a:cubicBezTo>
                  <a:cubicBezTo>
                    <a:pt x="106" y="140"/>
                    <a:pt x="106" y="140"/>
                    <a:pt x="106" y="140"/>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3"/>
                    <a:pt x="106" y="103"/>
                    <a:pt x="106" y="103"/>
                  </a:cubicBezTo>
                  <a:cubicBezTo>
                    <a:pt x="106" y="103"/>
                    <a:pt x="106" y="103"/>
                    <a:pt x="106" y="103"/>
                  </a:cubicBezTo>
                  <a:cubicBezTo>
                    <a:pt x="107" y="103"/>
                    <a:pt x="107" y="103"/>
                    <a:pt x="107" y="103"/>
                  </a:cubicBezTo>
                  <a:cubicBezTo>
                    <a:pt x="107" y="103"/>
                    <a:pt x="107" y="103"/>
                    <a:pt x="107" y="103"/>
                  </a:cubicBezTo>
                  <a:cubicBezTo>
                    <a:pt x="107" y="103"/>
                    <a:pt x="107" y="103"/>
                    <a:pt x="107" y="103"/>
                  </a:cubicBezTo>
                  <a:cubicBezTo>
                    <a:pt x="107" y="103"/>
                    <a:pt x="107" y="103"/>
                    <a:pt x="107" y="103"/>
                  </a:cubicBezTo>
                  <a:cubicBezTo>
                    <a:pt x="107" y="102"/>
                    <a:pt x="107" y="102"/>
                    <a:pt x="107" y="102"/>
                  </a:cubicBezTo>
                  <a:cubicBezTo>
                    <a:pt x="107" y="102"/>
                    <a:pt x="107" y="102"/>
                    <a:pt x="107" y="102"/>
                  </a:cubicBezTo>
                  <a:cubicBezTo>
                    <a:pt x="107" y="102"/>
                    <a:pt x="107" y="102"/>
                    <a:pt x="107" y="102"/>
                  </a:cubicBezTo>
                  <a:cubicBezTo>
                    <a:pt x="108" y="102"/>
                    <a:pt x="108" y="102"/>
                    <a:pt x="108" y="102"/>
                  </a:cubicBezTo>
                  <a:cubicBezTo>
                    <a:pt x="108" y="102"/>
                    <a:pt x="108" y="102"/>
                    <a:pt x="108" y="102"/>
                  </a:cubicBezTo>
                  <a:cubicBezTo>
                    <a:pt x="108" y="102"/>
                    <a:pt x="108" y="102"/>
                    <a:pt x="108" y="102"/>
                  </a:cubicBezTo>
                  <a:cubicBezTo>
                    <a:pt x="108" y="102"/>
                    <a:pt x="108" y="102"/>
                    <a:pt x="108" y="102"/>
                  </a:cubicBezTo>
                  <a:cubicBezTo>
                    <a:pt x="108" y="101"/>
                    <a:pt x="108" y="101"/>
                    <a:pt x="108" y="101"/>
                  </a:cubicBezTo>
                  <a:cubicBezTo>
                    <a:pt x="108" y="101"/>
                    <a:pt x="108" y="101"/>
                    <a:pt x="108" y="101"/>
                  </a:cubicBezTo>
                  <a:cubicBezTo>
                    <a:pt x="108" y="101"/>
                    <a:pt x="108" y="101"/>
                    <a:pt x="108"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0"/>
                    <a:pt x="109" y="100"/>
                    <a:pt x="109"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7" y="93"/>
                    <a:pt x="117" y="93"/>
                    <a:pt x="117" y="93"/>
                  </a:cubicBezTo>
                  <a:close/>
                  <a:moveTo>
                    <a:pt x="117" y="164"/>
                  </a:moveTo>
                  <a:cubicBezTo>
                    <a:pt x="117" y="185"/>
                    <a:pt x="117" y="185"/>
                    <a:pt x="117" y="185"/>
                  </a:cubicBezTo>
                  <a:cubicBezTo>
                    <a:pt x="106" y="196"/>
                    <a:pt x="106" y="196"/>
                    <a:pt x="106" y="196"/>
                  </a:cubicBezTo>
                  <a:cubicBezTo>
                    <a:pt x="106" y="161"/>
                    <a:pt x="106" y="161"/>
                    <a:pt x="106" y="161"/>
                  </a:cubicBezTo>
                  <a:cubicBezTo>
                    <a:pt x="113" y="168"/>
                    <a:pt x="113" y="168"/>
                    <a:pt x="113" y="168"/>
                  </a:cubicBezTo>
                  <a:lnTo>
                    <a:pt x="117" y="164"/>
                  </a:lnTo>
                  <a:close/>
                  <a:moveTo>
                    <a:pt x="106" y="234"/>
                  </a:moveTo>
                  <a:cubicBezTo>
                    <a:pt x="94" y="222"/>
                    <a:pt x="94" y="222"/>
                    <a:pt x="94" y="222"/>
                  </a:cubicBezTo>
                  <a:cubicBezTo>
                    <a:pt x="94" y="186"/>
                    <a:pt x="94" y="186"/>
                    <a:pt x="94" y="186"/>
                  </a:cubicBezTo>
                  <a:cubicBezTo>
                    <a:pt x="100" y="180"/>
                    <a:pt x="100" y="180"/>
                    <a:pt x="100" y="180"/>
                  </a:cubicBezTo>
                  <a:cubicBezTo>
                    <a:pt x="94" y="174"/>
                    <a:pt x="94" y="174"/>
                    <a:pt x="94" y="174"/>
                  </a:cubicBezTo>
                  <a:cubicBezTo>
                    <a:pt x="94" y="149"/>
                    <a:pt x="94" y="149"/>
                    <a:pt x="94" y="149"/>
                  </a:cubicBezTo>
                  <a:cubicBezTo>
                    <a:pt x="106" y="161"/>
                    <a:pt x="106" y="161"/>
                    <a:pt x="106" y="161"/>
                  </a:cubicBezTo>
                  <a:cubicBezTo>
                    <a:pt x="106" y="196"/>
                    <a:pt x="106" y="196"/>
                    <a:pt x="106" y="196"/>
                  </a:cubicBezTo>
                  <a:cubicBezTo>
                    <a:pt x="101" y="201"/>
                    <a:pt x="101" y="201"/>
                    <a:pt x="101" y="201"/>
                  </a:cubicBezTo>
                  <a:cubicBezTo>
                    <a:pt x="106" y="206"/>
                    <a:pt x="106" y="206"/>
                    <a:pt x="106" y="206"/>
                  </a:cubicBezTo>
                  <a:cubicBezTo>
                    <a:pt x="106" y="234"/>
                    <a:pt x="106" y="234"/>
                    <a:pt x="106" y="234"/>
                  </a:cubicBezTo>
                  <a:close/>
                  <a:moveTo>
                    <a:pt x="94" y="35"/>
                  </a:moveTo>
                  <a:cubicBezTo>
                    <a:pt x="106" y="24"/>
                    <a:pt x="106" y="24"/>
                    <a:pt x="106" y="24"/>
                  </a:cubicBezTo>
                  <a:cubicBezTo>
                    <a:pt x="106" y="55"/>
                    <a:pt x="106" y="55"/>
                    <a:pt x="106" y="55"/>
                  </a:cubicBezTo>
                  <a:cubicBezTo>
                    <a:pt x="105" y="55"/>
                    <a:pt x="105" y="55"/>
                    <a:pt x="105" y="55"/>
                  </a:cubicBezTo>
                  <a:cubicBezTo>
                    <a:pt x="105" y="55"/>
                    <a:pt x="105" y="55"/>
                    <a:pt x="105" y="55"/>
                  </a:cubicBezTo>
                  <a:cubicBezTo>
                    <a:pt x="105" y="55"/>
                    <a:pt x="105" y="55"/>
                    <a:pt x="105" y="55"/>
                  </a:cubicBezTo>
                  <a:cubicBezTo>
                    <a:pt x="105" y="55"/>
                    <a:pt x="105" y="55"/>
                    <a:pt x="105" y="55"/>
                  </a:cubicBezTo>
                  <a:cubicBezTo>
                    <a:pt x="105" y="56"/>
                    <a:pt x="105" y="56"/>
                    <a:pt x="105" y="56"/>
                  </a:cubicBezTo>
                  <a:cubicBezTo>
                    <a:pt x="105" y="56"/>
                    <a:pt x="105" y="56"/>
                    <a:pt x="105" y="56"/>
                  </a:cubicBezTo>
                  <a:cubicBezTo>
                    <a:pt x="105" y="56"/>
                    <a:pt x="105" y="56"/>
                    <a:pt x="105"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7"/>
                    <a:pt x="104" y="57"/>
                    <a:pt x="104"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8"/>
                    <a:pt x="103" y="58"/>
                    <a:pt x="103" y="58"/>
                  </a:cubicBezTo>
                  <a:cubicBezTo>
                    <a:pt x="103" y="58"/>
                    <a:pt x="103" y="58"/>
                    <a:pt x="103"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9"/>
                    <a:pt x="102" y="59"/>
                    <a:pt x="102" y="59"/>
                  </a:cubicBezTo>
                  <a:cubicBezTo>
                    <a:pt x="102" y="59"/>
                    <a:pt x="102" y="59"/>
                    <a:pt x="102"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60"/>
                    <a:pt x="101" y="60"/>
                    <a:pt x="101"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1"/>
                    <a:pt x="100" y="61"/>
                    <a:pt x="100" y="61"/>
                  </a:cubicBezTo>
                  <a:cubicBezTo>
                    <a:pt x="100" y="61"/>
                    <a:pt x="100" y="61"/>
                    <a:pt x="100" y="61"/>
                  </a:cubicBezTo>
                  <a:cubicBezTo>
                    <a:pt x="100" y="61"/>
                    <a:pt x="100" y="61"/>
                    <a:pt x="100" y="61"/>
                  </a:cubicBezTo>
                  <a:cubicBezTo>
                    <a:pt x="99" y="61"/>
                    <a:pt x="99" y="61"/>
                    <a:pt x="99" y="61"/>
                  </a:cubicBezTo>
                  <a:cubicBezTo>
                    <a:pt x="99" y="61"/>
                    <a:pt x="99" y="61"/>
                    <a:pt x="99" y="61"/>
                  </a:cubicBezTo>
                  <a:cubicBezTo>
                    <a:pt x="99" y="61"/>
                    <a:pt x="99" y="61"/>
                    <a:pt x="99" y="61"/>
                  </a:cubicBezTo>
                  <a:cubicBezTo>
                    <a:pt x="99" y="61"/>
                    <a:pt x="99" y="61"/>
                    <a:pt x="99" y="61"/>
                  </a:cubicBezTo>
                  <a:cubicBezTo>
                    <a:pt x="99" y="62"/>
                    <a:pt x="99" y="62"/>
                    <a:pt x="99" y="62"/>
                  </a:cubicBezTo>
                  <a:cubicBezTo>
                    <a:pt x="99" y="62"/>
                    <a:pt x="99" y="62"/>
                    <a:pt x="99" y="62"/>
                  </a:cubicBezTo>
                  <a:cubicBezTo>
                    <a:pt x="98" y="62"/>
                    <a:pt x="98" y="62"/>
                    <a:pt x="98" y="62"/>
                  </a:cubicBezTo>
                  <a:cubicBezTo>
                    <a:pt x="98" y="62"/>
                    <a:pt x="98" y="62"/>
                    <a:pt x="98" y="62"/>
                  </a:cubicBezTo>
                  <a:cubicBezTo>
                    <a:pt x="98" y="62"/>
                    <a:pt x="98" y="62"/>
                    <a:pt x="98" y="62"/>
                  </a:cubicBezTo>
                  <a:cubicBezTo>
                    <a:pt x="98" y="62"/>
                    <a:pt x="98" y="62"/>
                    <a:pt x="98" y="62"/>
                  </a:cubicBezTo>
                  <a:cubicBezTo>
                    <a:pt x="98" y="62"/>
                    <a:pt x="98" y="62"/>
                    <a:pt x="98" y="62"/>
                  </a:cubicBezTo>
                  <a:cubicBezTo>
                    <a:pt x="94" y="66"/>
                    <a:pt x="94" y="66"/>
                    <a:pt x="94" y="66"/>
                  </a:cubicBezTo>
                  <a:cubicBezTo>
                    <a:pt x="94" y="35"/>
                    <a:pt x="94" y="35"/>
                    <a:pt x="94" y="35"/>
                  </a:cubicBezTo>
                  <a:close/>
                  <a:moveTo>
                    <a:pt x="106" y="104"/>
                  </a:moveTo>
                  <a:cubicBezTo>
                    <a:pt x="106" y="140"/>
                    <a:pt x="106" y="140"/>
                    <a:pt x="106" y="140"/>
                  </a:cubicBezTo>
                  <a:cubicBezTo>
                    <a:pt x="98" y="133"/>
                    <a:pt x="98" y="133"/>
                    <a:pt x="98" y="133"/>
                  </a:cubicBezTo>
                  <a:cubicBezTo>
                    <a:pt x="94" y="137"/>
                    <a:pt x="94" y="137"/>
                    <a:pt x="94" y="137"/>
                  </a:cubicBezTo>
                  <a:cubicBezTo>
                    <a:pt x="94" y="115"/>
                    <a:pt x="94" y="115"/>
                    <a:pt x="94" y="115"/>
                  </a:cubicBezTo>
                  <a:cubicBezTo>
                    <a:pt x="100" y="110"/>
                    <a:pt x="100" y="110"/>
                    <a:pt x="100" y="110"/>
                  </a:cubicBezTo>
                  <a:cubicBezTo>
                    <a:pt x="100" y="110"/>
                    <a:pt x="100" y="110"/>
                    <a:pt x="100" y="110"/>
                  </a:cubicBezTo>
                  <a:cubicBezTo>
                    <a:pt x="100" y="109"/>
                    <a:pt x="100" y="109"/>
                    <a:pt x="100" y="109"/>
                  </a:cubicBezTo>
                  <a:cubicBezTo>
                    <a:pt x="100" y="109"/>
                    <a:pt x="100" y="109"/>
                    <a:pt x="100"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8"/>
                    <a:pt x="101" y="108"/>
                    <a:pt x="101" y="108"/>
                  </a:cubicBezTo>
                  <a:cubicBezTo>
                    <a:pt x="101" y="108"/>
                    <a:pt x="101" y="108"/>
                    <a:pt x="101" y="108"/>
                  </a:cubicBezTo>
                  <a:cubicBezTo>
                    <a:pt x="102" y="108"/>
                    <a:pt x="102" y="108"/>
                    <a:pt x="102" y="108"/>
                  </a:cubicBezTo>
                  <a:cubicBezTo>
                    <a:pt x="102" y="108"/>
                    <a:pt x="102" y="108"/>
                    <a:pt x="102" y="108"/>
                  </a:cubicBezTo>
                  <a:cubicBezTo>
                    <a:pt x="102" y="108"/>
                    <a:pt x="102" y="108"/>
                    <a:pt x="102" y="108"/>
                  </a:cubicBezTo>
                  <a:cubicBezTo>
                    <a:pt x="102" y="108"/>
                    <a:pt x="102" y="108"/>
                    <a:pt x="102" y="108"/>
                  </a:cubicBezTo>
                  <a:cubicBezTo>
                    <a:pt x="102" y="107"/>
                    <a:pt x="102" y="107"/>
                    <a:pt x="102" y="107"/>
                  </a:cubicBezTo>
                  <a:cubicBezTo>
                    <a:pt x="102" y="107"/>
                    <a:pt x="102" y="107"/>
                    <a:pt x="102" y="107"/>
                  </a:cubicBezTo>
                  <a:cubicBezTo>
                    <a:pt x="102" y="107"/>
                    <a:pt x="102" y="107"/>
                    <a:pt x="102" y="107"/>
                  </a:cubicBezTo>
                  <a:cubicBezTo>
                    <a:pt x="102" y="107"/>
                    <a:pt x="102" y="107"/>
                    <a:pt x="102" y="107"/>
                  </a:cubicBezTo>
                  <a:cubicBezTo>
                    <a:pt x="103" y="107"/>
                    <a:pt x="103" y="107"/>
                    <a:pt x="103" y="107"/>
                  </a:cubicBezTo>
                  <a:cubicBezTo>
                    <a:pt x="103" y="107"/>
                    <a:pt x="103" y="107"/>
                    <a:pt x="103" y="107"/>
                  </a:cubicBezTo>
                  <a:cubicBezTo>
                    <a:pt x="103" y="107"/>
                    <a:pt x="103" y="107"/>
                    <a:pt x="103" y="107"/>
                  </a:cubicBezTo>
                  <a:cubicBezTo>
                    <a:pt x="103" y="107"/>
                    <a:pt x="103" y="107"/>
                    <a:pt x="103" y="107"/>
                  </a:cubicBezTo>
                  <a:cubicBezTo>
                    <a:pt x="103" y="106"/>
                    <a:pt x="103" y="106"/>
                    <a:pt x="103" y="106"/>
                  </a:cubicBezTo>
                  <a:cubicBezTo>
                    <a:pt x="103" y="106"/>
                    <a:pt x="103" y="106"/>
                    <a:pt x="103"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5"/>
                    <a:pt x="104" y="105"/>
                    <a:pt x="104" y="105"/>
                  </a:cubicBezTo>
                  <a:cubicBezTo>
                    <a:pt x="104" y="105"/>
                    <a:pt x="104" y="105"/>
                    <a:pt x="104"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4"/>
                    <a:pt x="105" y="104"/>
                    <a:pt x="105" y="104"/>
                  </a:cubicBezTo>
                  <a:cubicBezTo>
                    <a:pt x="105" y="104"/>
                    <a:pt x="105" y="104"/>
                    <a:pt x="105" y="104"/>
                  </a:cubicBezTo>
                  <a:lnTo>
                    <a:pt x="106" y="104"/>
                  </a:lnTo>
                  <a:close/>
                  <a:moveTo>
                    <a:pt x="94" y="222"/>
                  </a:moveTo>
                  <a:cubicBezTo>
                    <a:pt x="81" y="210"/>
                    <a:pt x="81" y="210"/>
                    <a:pt x="81" y="210"/>
                  </a:cubicBezTo>
                  <a:cubicBezTo>
                    <a:pt x="81" y="181"/>
                    <a:pt x="81" y="181"/>
                    <a:pt x="81" y="181"/>
                  </a:cubicBezTo>
                  <a:cubicBezTo>
                    <a:pt x="90" y="190"/>
                    <a:pt x="90" y="190"/>
                    <a:pt x="90" y="190"/>
                  </a:cubicBezTo>
                  <a:cubicBezTo>
                    <a:pt x="94" y="186"/>
                    <a:pt x="94" y="186"/>
                    <a:pt x="94" y="186"/>
                  </a:cubicBezTo>
                  <a:cubicBezTo>
                    <a:pt x="94" y="222"/>
                    <a:pt x="94" y="222"/>
                    <a:pt x="94" y="222"/>
                  </a:cubicBezTo>
                  <a:close/>
                  <a:moveTo>
                    <a:pt x="81" y="48"/>
                  </a:moveTo>
                  <a:cubicBezTo>
                    <a:pt x="94" y="35"/>
                    <a:pt x="94" y="35"/>
                    <a:pt x="94" y="35"/>
                  </a:cubicBezTo>
                  <a:cubicBezTo>
                    <a:pt x="94" y="66"/>
                    <a:pt x="94" y="66"/>
                    <a:pt x="94" y="66"/>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6"/>
                    <a:pt x="85" y="76"/>
                    <a:pt x="85"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7"/>
                    <a:pt x="84" y="77"/>
                    <a:pt x="84" y="77"/>
                  </a:cubicBezTo>
                  <a:cubicBezTo>
                    <a:pt x="83" y="77"/>
                    <a:pt x="83" y="77"/>
                    <a:pt x="83" y="77"/>
                  </a:cubicBezTo>
                  <a:cubicBezTo>
                    <a:pt x="83" y="77"/>
                    <a:pt x="83" y="77"/>
                    <a:pt x="83" y="77"/>
                  </a:cubicBezTo>
                  <a:cubicBezTo>
                    <a:pt x="83" y="77"/>
                    <a:pt x="83" y="77"/>
                    <a:pt x="83" y="77"/>
                  </a:cubicBezTo>
                  <a:cubicBezTo>
                    <a:pt x="83" y="77"/>
                    <a:pt x="83" y="77"/>
                    <a:pt x="83" y="77"/>
                  </a:cubicBezTo>
                  <a:cubicBezTo>
                    <a:pt x="83" y="77"/>
                    <a:pt x="83" y="77"/>
                    <a:pt x="83" y="77"/>
                  </a:cubicBezTo>
                  <a:cubicBezTo>
                    <a:pt x="83" y="78"/>
                    <a:pt x="83" y="78"/>
                    <a:pt x="83" y="78"/>
                  </a:cubicBezTo>
                  <a:cubicBezTo>
                    <a:pt x="83" y="78"/>
                    <a:pt x="83" y="78"/>
                    <a:pt x="83" y="78"/>
                  </a:cubicBezTo>
                  <a:cubicBezTo>
                    <a:pt x="82" y="78"/>
                    <a:pt x="82" y="78"/>
                    <a:pt x="82" y="78"/>
                  </a:cubicBezTo>
                  <a:cubicBezTo>
                    <a:pt x="82" y="78"/>
                    <a:pt x="82" y="78"/>
                    <a:pt x="82" y="78"/>
                  </a:cubicBezTo>
                  <a:cubicBezTo>
                    <a:pt x="82" y="78"/>
                    <a:pt x="82" y="78"/>
                    <a:pt x="82" y="78"/>
                  </a:cubicBezTo>
                  <a:cubicBezTo>
                    <a:pt x="82" y="78"/>
                    <a:pt x="82" y="78"/>
                    <a:pt x="82" y="78"/>
                  </a:cubicBezTo>
                  <a:cubicBezTo>
                    <a:pt x="82" y="78"/>
                    <a:pt x="82" y="78"/>
                    <a:pt x="82" y="78"/>
                  </a:cubicBezTo>
                  <a:cubicBezTo>
                    <a:pt x="82" y="79"/>
                    <a:pt x="82" y="79"/>
                    <a:pt x="82" y="79"/>
                  </a:cubicBezTo>
                  <a:cubicBezTo>
                    <a:pt x="81" y="79"/>
                    <a:pt x="81" y="79"/>
                    <a:pt x="81" y="79"/>
                  </a:cubicBezTo>
                  <a:cubicBezTo>
                    <a:pt x="81" y="48"/>
                    <a:pt x="81" y="48"/>
                    <a:pt x="81" y="48"/>
                  </a:cubicBezTo>
                  <a:close/>
                  <a:moveTo>
                    <a:pt x="94" y="115"/>
                  </a:moveTo>
                  <a:cubicBezTo>
                    <a:pt x="94" y="137"/>
                    <a:pt x="94" y="137"/>
                    <a:pt x="94" y="137"/>
                  </a:cubicBezTo>
                  <a:cubicBezTo>
                    <a:pt x="88" y="143"/>
                    <a:pt x="88" y="143"/>
                    <a:pt x="88" y="143"/>
                  </a:cubicBezTo>
                  <a:cubicBezTo>
                    <a:pt x="94" y="149"/>
                    <a:pt x="94" y="149"/>
                    <a:pt x="94" y="149"/>
                  </a:cubicBezTo>
                  <a:cubicBezTo>
                    <a:pt x="94" y="174"/>
                    <a:pt x="94" y="174"/>
                    <a:pt x="94" y="174"/>
                  </a:cubicBezTo>
                  <a:cubicBezTo>
                    <a:pt x="81" y="161"/>
                    <a:pt x="81" y="161"/>
                    <a:pt x="81" y="161"/>
                  </a:cubicBezTo>
                  <a:cubicBezTo>
                    <a:pt x="81" y="128"/>
                    <a:pt x="81" y="128"/>
                    <a:pt x="81" y="128"/>
                  </a:cubicBezTo>
                  <a:cubicBezTo>
                    <a:pt x="82" y="128"/>
                    <a:pt x="82" y="128"/>
                    <a:pt x="82" y="128"/>
                  </a:cubicBezTo>
                  <a:cubicBezTo>
                    <a:pt x="82" y="128"/>
                    <a:pt x="82" y="128"/>
                    <a:pt x="82" y="128"/>
                  </a:cubicBezTo>
                  <a:cubicBezTo>
                    <a:pt x="82" y="128"/>
                    <a:pt x="82" y="128"/>
                    <a:pt x="82" y="128"/>
                  </a:cubicBezTo>
                  <a:cubicBezTo>
                    <a:pt x="82" y="128"/>
                    <a:pt x="82" y="128"/>
                    <a:pt x="82" y="128"/>
                  </a:cubicBezTo>
                  <a:cubicBezTo>
                    <a:pt x="82" y="127"/>
                    <a:pt x="82" y="127"/>
                    <a:pt x="82" y="127"/>
                  </a:cubicBezTo>
                  <a:cubicBezTo>
                    <a:pt x="82" y="127"/>
                    <a:pt x="82" y="127"/>
                    <a:pt x="82" y="127"/>
                  </a:cubicBezTo>
                  <a:cubicBezTo>
                    <a:pt x="82" y="127"/>
                    <a:pt x="82" y="127"/>
                    <a:pt x="82" y="127"/>
                  </a:cubicBezTo>
                  <a:cubicBezTo>
                    <a:pt x="83" y="127"/>
                    <a:pt x="83" y="127"/>
                    <a:pt x="83" y="127"/>
                  </a:cubicBezTo>
                  <a:cubicBezTo>
                    <a:pt x="83" y="127"/>
                    <a:pt x="83" y="127"/>
                    <a:pt x="83" y="127"/>
                  </a:cubicBezTo>
                  <a:cubicBezTo>
                    <a:pt x="83" y="127"/>
                    <a:pt x="83" y="127"/>
                    <a:pt x="83" y="127"/>
                  </a:cubicBezTo>
                  <a:cubicBezTo>
                    <a:pt x="83" y="127"/>
                    <a:pt x="83" y="127"/>
                    <a:pt x="83" y="127"/>
                  </a:cubicBezTo>
                  <a:cubicBezTo>
                    <a:pt x="83" y="126"/>
                    <a:pt x="83" y="126"/>
                    <a:pt x="83" y="126"/>
                  </a:cubicBezTo>
                  <a:cubicBezTo>
                    <a:pt x="83" y="126"/>
                    <a:pt x="83" y="126"/>
                    <a:pt x="83" y="126"/>
                  </a:cubicBezTo>
                  <a:cubicBezTo>
                    <a:pt x="83" y="126"/>
                    <a:pt x="83" y="126"/>
                    <a:pt x="83" y="126"/>
                  </a:cubicBezTo>
                  <a:cubicBezTo>
                    <a:pt x="84" y="126"/>
                    <a:pt x="84" y="126"/>
                    <a:pt x="84" y="126"/>
                  </a:cubicBezTo>
                  <a:cubicBezTo>
                    <a:pt x="84" y="126"/>
                    <a:pt x="84" y="126"/>
                    <a:pt x="84" y="126"/>
                  </a:cubicBezTo>
                  <a:cubicBezTo>
                    <a:pt x="84" y="126"/>
                    <a:pt x="84" y="126"/>
                    <a:pt x="84" y="126"/>
                  </a:cubicBezTo>
                  <a:cubicBezTo>
                    <a:pt x="84" y="125"/>
                    <a:pt x="84" y="125"/>
                    <a:pt x="84" y="125"/>
                  </a:cubicBezTo>
                  <a:cubicBezTo>
                    <a:pt x="84" y="125"/>
                    <a:pt x="84" y="125"/>
                    <a:pt x="84" y="125"/>
                  </a:cubicBezTo>
                  <a:cubicBezTo>
                    <a:pt x="84" y="125"/>
                    <a:pt x="84" y="125"/>
                    <a:pt x="84" y="125"/>
                  </a:cubicBezTo>
                  <a:cubicBezTo>
                    <a:pt x="84" y="125"/>
                    <a:pt x="84" y="125"/>
                    <a:pt x="84" y="125"/>
                  </a:cubicBezTo>
                  <a:cubicBezTo>
                    <a:pt x="85" y="125"/>
                    <a:pt x="85" y="125"/>
                    <a:pt x="85" y="125"/>
                  </a:cubicBezTo>
                  <a:cubicBezTo>
                    <a:pt x="85" y="125"/>
                    <a:pt x="85" y="125"/>
                    <a:pt x="85" y="125"/>
                  </a:cubicBezTo>
                  <a:cubicBezTo>
                    <a:pt x="85" y="125"/>
                    <a:pt x="85" y="125"/>
                    <a:pt x="85" y="125"/>
                  </a:cubicBezTo>
                  <a:cubicBezTo>
                    <a:pt x="85" y="124"/>
                    <a:pt x="85" y="124"/>
                    <a:pt x="85" y="124"/>
                  </a:cubicBezTo>
                  <a:cubicBezTo>
                    <a:pt x="85" y="124"/>
                    <a:pt x="85" y="124"/>
                    <a:pt x="85" y="124"/>
                  </a:cubicBezTo>
                  <a:cubicBezTo>
                    <a:pt x="85" y="124"/>
                    <a:pt x="85" y="124"/>
                    <a:pt x="85" y="124"/>
                  </a:cubicBezTo>
                  <a:cubicBezTo>
                    <a:pt x="85" y="124"/>
                    <a:pt x="85" y="124"/>
                    <a:pt x="85" y="124"/>
                  </a:cubicBezTo>
                  <a:cubicBezTo>
                    <a:pt x="86" y="124"/>
                    <a:pt x="86" y="124"/>
                    <a:pt x="86" y="124"/>
                  </a:cubicBezTo>
                  <a:cubicBezTo>
                    <a:pt x="86" y="124"/>
                    <a:pt x="86" y="124"/>
                    <a:pt x="86" y="124"/>
                  </a:cubicBezTo>
                  <a:cubicBezTo>
                    <a:pt x="86" y="124"/>
                    <a:pt x="86" y="124"/>
                    <a:pt x="86" y="124"/>
                  </a:cubicBezTo>
                  <a:cubicBezTo>
                    <a:pt x="86" y="124"/>
                    <a:pt x="86" y="124"/>
                    <a:pt x="86" y="124"/>
                  </a:cubicBezTo>
                  <a:cubicBezTo>
                    <a:pt x="86" y="123"/>
                    <a:pt x="86" y="123"/>
                    <a:pt x="86" y="123"/>
                  </a:cubicBezTo>
                  <a:cubicBezTo>
                    <a:pt x="86" y="123"/>
                    <a:pt x="86" y="123"/>
                    <a:pt x="86" y="123"/>
                  </a:cubicBezTo>
                  <a:cubicBezTo>
                    <a:pt x="86" y="123"/>
                    <a:pt x="86" y="123"/>
                    <a:pt x="86" y="123"/>
                  </a:cubicBezTo>
                  <a:cubicBezTo>
                    <a:pt x="86" y="123"/>
                    <a:pt x="86" y="123"/>
                    <a:pt x="86" y="123"/>
                  </a:cubicBezTo>
                  <a:cubicBezTo>
                    <a:pt x="87" y="123"/>
                    <a:pt x="87" y="123"/>
                    <a:pt x="87" y="123"/>
                  </a:cubicBezTo>
                  <a:cubicBezTo>
                    <a:pt x="87" y="123"/>
                    <a:pt x="87" y="123"/>
                    <a:pt x="87" y="123"/>
                  </a:cubicBezTo>
                  <a:cubicBezTo>
                    <a:pt x="87" y="123"/>
                    <a:pt x="87" y="123"/>
                    <a:pt x="87" y="123"/>
                  </a:cubicBezTo>
                  <a:cubicBezTo>
                    <a:pt x="87" y="122"/>
                    <a:pt x="87" y="122"/>
                    <a:pt x="87" y="122"/>
                  </a:cubicBezTo>
                  <a:cubicBezTo>
                    <a:pt x="87" y="122"/>
                    <a:pt x="87" y="122"/>
                    <a:pt x="87" y="122"/>
                  </a:cubicBezTo>
                  <a:cubicBezTo>
                    <a:pt x="87" y="122"/>
                    <a:pt x="87" y="122"/>
                    <a:pt x="87" y="122"/>
                  </a:cubicBezTo>
                  <a:cubicBezTo>
                    <a:pt x="88" y="122"/>
                    <a:pt x="88" y="122"/>
                    <a:pt x="88" y="122"/>
                  </a:cubicBezTo>
                  <a:lnTo>
                    <a:pt x="94" y="115"/>
                  </a:lnTo>
                  <a:close/>
                  <a:moveTo>
                    <a:pt x="81" y="210"/>
                  </a:moveTo>
                  <a:cubicBezTo>
                    <a:pt x="0" y="128"/>
                    <a:pt x="0" y="128"/>
                    <a:pt x="0" y="128"/>
                  </a:cubicBezTo>
                  <a:cubicBezTo>
                    <a:pt x="81" y="48"/>
                    <a:pt x="81" y="48"/>
                    <a:pt x="81" y="48"/>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1"/>
                    <a:pt x="80" y="81"/>
                    <a:pt x="80"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2"/>
                    <a:pt x="79" y="82"/>
                    <a:pt x="79"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4"/>
                    <a:pt x="77" y="84"/>
                    <a:pt x="77"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5" y="85"/>
                    <a:pt x="75" y="85"/>
                    <a:pt x="75" y="85"/>
                  </a:cubicBezTo>
                  <a:cubicBezTo>
                    <a:pt x="75" y="85"/>
                    <a:pt x="75" y="85"/>
                    <a:pt x="75" y="85"/>
                  </a:cubicBezTo>
                  <a:cubicBezTo>
                    <a:pt x="63" y="97"/>
                    <a:pt x="63" y="97"/>
                    <a:pt x="63" y="97"/>
                  </a:cubicBezTo>
                  <a:cubicBezTo>
                    <a:pt x="63" y="97"/>
                    <a:pt x="63" y="97"/>
                    <a:pt x="63" y="97"/>
                  </a:cubicBezTo>
                  <a:cubicBezTo>
                    <a:pt x="63" y="97"/>
                    <a:pt x="63" y="97"/>
                    <a:pt x="63" y="97"/>
                  </a:cubicBezTo>
                  <a:cubicBezTo>
                    <a:pt x="62" y="97"/>
                    <a:pt x="62" y="97"/>
                    <a:pt x="62" y="97"/>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1" y="98"/>
                    <a:pt x="61" y="98"/>
                    <a:pt x="61" y="98"/>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0" y="99"/>
                    <a:pt x="60" y="99"/>
                    <a:pt x="60" y="99"/>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6" y="103"/>
                    <a:pt x="56" y="103"/>
                    <a:pt x="56" y="103"/>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5" y="104"/>
                    <a:pt x="55" y="104"/>
                    <a:pt x="55" y="104"/>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4" y="105"/>
                    <a:pt x="54" y="105"/>
                    <a:pt x="54" y="105"/>
                  </a:cubicBezTo>
                  <a:cubicBezTo>
                    <a:pt x="54" y="105"/>
                    <a:pt x="54" y="105"/>
                    <a:pt x="54" y="105"/>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3" y="106"/>
                    <a:pt x="53" y="106"/>
                    <a:pt x="53" y="106"/>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30" y="130"/>
                    <a:pt x="30" y="130"/>
                    <a:pt x="30" y="130"/>
                  </a:cubicBezTo>
                  <a:cubicBezTo>
                    <a:pt x="38" y="138"/>
                    <a:pt x="47" y="146"/>
                    <a:pt x="55" y="155"/>
                  </a:cubicBezTo>
                  <a:cubicBezTo>
                    <a:pt x="77" y="132"/>
                    <a:pt x="77" y="132"/>
                    <a:pt x="77" y="132"/>
                  </a:cubicBezTo>
                  <a:cubicBezTo>
                    <a:pt x="77" y="132"/>
                    <a:pt x="77" y="132"/>
                    <a:pt x="77" y="132"/>
                  </a:cubicBezTo>
                  <a:cubicBezTo>
                    <a:pt x="78" y="132"/>
                    <a:pt x="78" y="132"/>
                    <a:pt x="78" y="132"/>
                  </a:cubicBezTo>
                  <a:cubicBezTo>
                    <a:pt x="78" y="132"/>
                    <a:pt x="78" y="132"/>
                    <a:pt x="78" y="132"/>
                  </a:cubicBezTo>
                  <a:cubicBezTo>
                    <a:pt x="78" y="132"/>
                    <a:pt x="78" y="132"/>
                    <a:pt x="78" y="132"/>
                  </a:cubicBezTo>
                  <a:cubicBezTo>
                    <a:pt x="78" y="132"/>
                    <a:pt x="78" y="132"/>
                    <a:pt x="78" y="132"/>
                  </a:cubicBezTo>
                  <a:cubicBezTo>
                    <a:pt x="78" y="131"/>
                    <a:pt x="78" y="131"/>
                    <a:pt x="78" y="131"/>
                  </a:cubicBezTo>
                  <a:cubicBezTo>
                    <a:pt x="78" y="131"/>
                    <a:pt x="78" y="131"/>
                    <a:pt x="78" y="131"/>
                  </a:cubicBezTo>
                  <a:cubicBezTo>
                    <a:pt x="78" y="131"/>
                    <a:pt x="78" y="131"/>
                    <a:pt x="78" y="131"/>
                  </a:cubicBezTo>
                  <a:cubicBezTo>
                    <a:pt x="79" y="131"/>
                    <a:pt x="79" y="131"/>
                    <a:pt x="79" y="131"/>
                  </a:cubicBezTo>
                  <a:cubicBezTo>
                    <a:pt x="79" y="131"/>
                    <a:pt x="79" y="131"/>
                    <a:pt x="79" y="131"/>
                  </a:cubicBezTo>
                  <a:cubicBezTo>
                    <a:pt x="79" y="131"/>
                    <a:pt x="79" y="131"/>
                    <a:pt x="79" y="131"/>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80" y="130"/>
                    <a:pt x="80" y="130"/>
                    <a:pt x="80" y="130"/>
                  </a:cubicBezTo>
                  <a:cubicBezTo>
                    <a:pt x="80" y="130"/>
                    <a:pt x="80" y="130"/>
                    <a:pt x="80" y="130"/>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1" y="129"/>
                    <a:pt x="81" y="129"/>
                    <a:pt x="81" y="129"/>
                  </a:cubicBezTo>
                  <a:cubicBezTo>
                    <a:pt x="81" y="129"/>
                    <a:pt x="81" y="129"/>
                    <a:pt x="81" y="129"/>
                  </a:cubicBezTo>
                  <a:cubicBezTo>
                    <a:pt x="81" y="129"/>
                    <a:pt x="81" y="129"/>
                    <a:pt x="81" y="129"/>
                  </a:cubicBezTo>
                  <a:cubicBezTo>
                    <a:pt x="81" y="128"/>
                    <a:pt x="81" y="128"/>
                    <a:pt x="81" y="128"/>
                  </a:cubicBezTo>
                  <a:cubicBezTo>
                    <a:pt x="81" y="128"/>
                    <a:pt x="81" y="128"/>
                    <a:pt x="81" y="128"/>
                  </a:cubicBezTo>
                  <a:cubicBezTo>
                    <a:pt x="81" y="128"/>
                    <a:pt x="81" y="128"/>
                    <a:pt x="81" y="128"/>
                  </a:cubicBezTo>
                  <a:cubicBezTo>
                    <a:pt x="81" y="128"/>
                    <a:pt x="81" y="128"/>
                    <a:pt x="81" y="128"/>
                  </a:cubicBezTo>
                  <a:cubicBezTo>
                    <a:pt x="81" y="161"/>
                    <a:pt x="81" y="161"/>
                    <a:pt x="81" y="161"/>
                  </a:cubicBezTo>
                  <a:cubicBezTo>
                    <a:pt x="76" y="155"/>
                    <a:pt x="76" y="155"/>
                    <a:pt x="76" y="155"/>
                  </a:cubicBezTo>
                  <a:cubicBezTo>
                    <a:pt x="72" y="159"/>
                    <a:pt x="69" y="162"/>
                    <a:pt x="66" y="165"/>
                  </a:cubicBezTo>
                  <a:cubicBezTo>
                    <a:pt x="81" y="181"/>
                    <a:pt x="81" y="181"/>
                    <a:pt x="81" y="181"/>
                  </a:cubicBezTo>
                  <a:lnTo>
                    <a:pt x="81" y="21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5" name="íslidé">
              <a:extLst>
                <a:ext uri="{FF2B5EF4-FFF2-40B4-BE49-F238E27FC236}">
                  <a16:creationId xmlns:a16="http://schemas.microsoft.com/office/drawing/2014/main" id="{DBBFB816-A6B7-4304-A333-D9508F1D9530}"/>
                </a:ext>
              </a:extLst>
            </p:cNvPr>
            <p:cNvSpPr/>
            <p:nvPr/>
          </p:nvSpPr>
          <p:spPr bwMode="auto">
            <a:xfrm flipH="1">
              <a:off x="4582110" y="3055278"/>
              <a:ext cx="439048" cy="426417"/>
            </a:xfrm>
            <a:custGeom>
              <a:avLst/>
              <a:gdLst>
                <a:gd name="T0" fmla="*/ 213 w 262"/>
                <a:gd name="T1" fmla="*/ 161 h 261"/>
                <a:gd name="T2" fmla="*/ 223 w 262"/>
                <a:gd name="T3" fmla="*/ 132 h 261"/>
                <a:gd name="T4" fmla="*/ 234 w 262"/>
                <a:gd name="T5" fmla="*/ 98 h 261"/>
                <a:gd name="T6" fmla="*/ 213 w 262"/>
                <a:gd name="T7" fmla="*/ 50 h 261"/>
                <a:gd name="T8" fmla="*/ 210 w 262"/>
                <a:gd name="T9" fmla="*/ 90 h 261"/>
                <a:gd name="T10" fmla="*/ 198 w 262"/>
                <a:gd name="T11" fmla="*/ 124 h 261"/>
                <a:gd name="T12" fmla="*/ 189 w 262"/>
                <a:gd name="T13" fmla="*/ 150 h 261"/>
                <a:gd name="T14" fmla="*/ 189 w 262"/>
                <a:gd name="T15" fmla="*/ 66 h 261"/>
                <a:gd name="T16" fmla="*/ 189 w 262"/>
                <a:gd name="T17" fmla="*/ 258 h 261"/>
                <a:gd name="T18" fmla="*/ 189 w 262"/>
                <a:gd name="T19" fmla="*/ 197 h 261"/>
                <a:gd name="T20" fmla="*/ 189 w 262"/>
                <a:gd name="T21" fmla="*/ 159 h 261"/>
                <a:gd name="T22" fmla="*/ 143 w 262"/>
                <a:gd name="T23" fmla="*/ 26 h 261"/>
                <a:gd name="T24" fmla="*/ 180 w 262"/>
                <a:gd name="T25" fmla="*/ 62 h 261"/>
                <a:gd name="T26" fmla="*/ 187 w 262"/>
                <a:gd name="T27" fmla="*/ 158 h 261"/>
                <a:gd name="T28" fmla="*/ 175 w 262"/>
                <a:gd name="T29" fmla="*/ 192 h 261"/>
                <a:gd name="T30" fmla="*/ 164 w 262"/>
                <a:gd name="T31" fmla="*/ 226 h 261"/>
                <a:gd name="T32" fmla="*/ 143 w 262"/>
                <a:gd name="T33" fmla="*/ 242 h 261"/>
                <a:gd name="T34" fmla="*/ 146 w 262"/>
                <a:gd name="T35" fmla="*/ 165 h 261"/>
                <a:gd name="T36" fmla="*/ 143 w 262"/>
                <a:gd name="T37" fmla="*/ 126 h 261"/>
                <a:gd name="T38" fmla="*/ 143 w 262"/>
                <a:gd name="T39" fmla="*/ 88 h 261"/>
                <a:gd name="T40" fmla="*/ 145 w 262"/>
                <a:gd name="T41" fmla="*/ 51 h 261"/>
                <a:gd name="T42" fmla="*/ 143 w 262"/>
                <a:gd name="T43" fmla="*/ 26 h 261"/>
                <a:gd name="T44" fmla="*/ 143 w 262"/>
                <a:gd name="T45" fmla="*/ 88 h 261"/>
                <a:gd name="T46" fmla="*/ 143 w 262"/>
                <a:gd name="T47" fmla="*/ 126 h 261"/>
                <a:gd name="T48" fmla="*/ 129 w 262"/>
                <a:gd name="T49" fmla="*/ 63 h 261"/>
                <a:gd name="T50" fmla="*/ 143 w 262"/>
                <a:gd name="T51" fmla="*/ 242 h 261"/>
                <a:gd name="T52" fmla="*/ 119 w 262"/>
                <a:gd name="T53" fmla="*/ 194 h 261"/>
                <a:gd name="T54" fmla="*/ 119 w 262"/>
                <a:gd name="T55" fmla="*/ 156 h 261"/>
                <a:gd name="T56" fmla="*/ 143 w 262"/>
                <a:gd name="T57" fmla="*/ 172 h 261"/>
                <a:gd name="T58" fmla="*/ 96 w 262"/>
                <a:gd name="T59" fmla="*/ 11 h 261"/>
                <a:gd name="T60" fmla="*/ 105 w 262"/>
                <a:gd name="T61" fmla="*/ 54 h 261"/>
                <a:gd name="T62" fmla="*/ 119 w 262"/>
                <a:gd name="T63" fmla="*/ 135 h 261"/>
                <a:gd name="T64" fmla="*/ 119 w 262"/>
                <a:gd name="T65" fmla="*/ 173 h 261"/>
                <a:gd name="T66" fmla="*/ 96 w 262"/>
                <a:gd name="T67" fmla="*/ 128 h 261"/>
                <a:gd name="T68" fmla="*/ 96 w 262"/>
                <a:gd name="T69" fmla="*/ 43 h 261"/>
                <a:gd name="T70" fmla="*/ 119 w 262"/>
                <a:gd name="T71" fmla="*/ 235 h 261"/>
                <a:gd name="T72" fmla="*/ 118 w 262"/>
                <a:gd name="T73" fmla="*/ 211 h 261"/>
                <a:gd name="T74" fmla="*/ 96 w 262"/>
                <a:gd name="T75" fmla="*/ 11 h 261"/>
                <a:gd name="T76" fmla="*/ 73 w 262"/>
                <a:gd name="T77" fmla="*/ 3 h 261"/>
                <a:gd name="T78" fmla="*/ 83 w 262"/>
                <a:gd name="T79" fmla="*/ 199 h 261"/>
                <a:gd name="T80" fmla="*/ 83 w 262"/>
                <a:gd name="T81" fmla="*/ 85 h 261"/>
                <a:gd name="T82" fmla="*/ 94 w 262"/>
                <a:gd name="T83" fmla="*/ 51 h 261"/>
                <a:gd name="T84" fmla="*/ 82 w 262"/>
                <a:gd name="T85" fmla="*/ 123 h 261"/>
                <a:gd name="T86" fmla="*/ 96 w 262"/>
                <a:gd name="T87" fmla="*/ 203 h 261"/>
                <a:gd name="T88" fmla="*/ 73 w 262"/>
                <a:gd name="T89" fmla="*/ 3 h 261"/>
                <a:gd name="T90" fmla="*/ 73 w 262"/>
                <a:gd name="T91" fmla="*/ 64 h 261"/>
                <a:gd name="T92" fmla="*/ 73 w 262"/>
                <a:gd name="T93" fmla="*/ 178 h 261"/>
                <a:gd name="T94" fmla="*/ 73 w 262"/>
                <a:gd name="T95" fmla="*/ 219 h 261"/>
                <a:gd name="T96" fmla="*/ 53 w 262"/>
                <a:gd name="T97" fmla="*/ 172 h 261"/>
                <a:gd name="T98" fmla="*/ 65 w 262"/>
                <a:gd name="T99" fmla="*/ 138 h 261"/>
                <a:gd name="T100" fmla="*/ 0 w 262"/>
                <a:gd name="T101" fmla="*/ 195 h 261"/>
                <a:gd name="T102" fmla="*/ 39 w 262"/>
                <a:gd name="T103" fmla="*/ 146 h 261"/>
                <a:gd name="T104" fmla="*/ 39 w 262"/>
                <a:gd name="T105" fmla="*/ 18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261">
                  <a:moveTo>
                    <a:pt x="213" y="50"/>
                  </a:moveTo>
                  <a:cubicBezTo>
                    <a:pt x="262" y="66"/>
                    <a:pt x="262" y="66"/>
                    <a:pt x="262" y="66"/>
                  </a:cubicBezTo>
                  <a:cubicBezTo>
                    <a:pt x="213" y="212"/>
                    <a:pt x="213" y="212"/>
                    <a:pt x="213" y="212"/>
                  </a:cubicBezTo>
                  <a:cubicBezTo>
                    <a:pt x="213" y="161"/>
                    <a:pt x="213" y="161"/>
                    <a:pt x="213" y="161"/>
                  </a:cubicBezTo>
                  <a:cubicBezTo>
                    <a:pt x="216" y="151"/>
                    <a:pt x="216" y="151"/>
                    <a:pt x="216" y="151"/>
                  </a:cubicBezTo>
                  <a:cubicBezTo>
                    <a:pt x="213" y="149"/>
                    <a:pt x="213" y="149"/>
                    <a:pt x="213" y="149"/>
                  </a:cubicBezTo>
                  <a:cubicBezTo>
                    <a:pt x="213" y="129"/>
                    <a:pt x="213" y="129"/>
                    <a:pt x="213" y="129"/>
                  </a:cubicBezTo>
                  <a:cubicBezTo>
                    <a:pt x="223" y="132"/>
                    <a:pt x="223" y="132"/>
                    <a:pt x="223" y="132"/>
                  </a:cubicBezTo>
                  <a:cubicBezTo>
                    <a:pt x="224" y="127"/>
                    <a:pt x="226" y="122"/>
                    <a:pt x="228" y="117"/>
                  </a:cubicBezTo>
                  <a:cubicBezTo>
                    <a:pt x="213" y="112"/>
                    <a:pt x="213" y="112"/>
                    <a:pt x="213" y="112"/>
                  </a:cubicBezTo>
                  <a:cubicBezTo>
                    <a:pt x="213" y="91"/>
                    <a:pt x="213" y="91"/>
                    <a:pt x="213" y="91"/>
                  </a:cubicBezTo>
                  <a:cubicBezTo>
                    <a:pt x="234" y="98"/>
                    <a:pt x="234" y="98"/>
                    <a:pt x="234" y="98"/>
                  </a:cubicBezTo>
                  <a:cubicBezTo>
                    <a:pt x="236" y="93"/>
                    <a:pt x="238" y="88"/>
                    <a:pt x="239" y="82"/>
                  </a:cubicBezTo>
                  <a:cubicBezTo>
                    <a:pt x="231" y="80"/>
                    <a:pt x="223" y="77"/>
                    <a:pt x="215" y="74"/>
                  </a:cubicBezTo>
                  <a:cubicBezTo>
                    <a:pt x="213" y="80"/>
                    <a:pt x="213" y="80"/>
                    <a:pt x="213" y="80"/>
                  </a:cubicBezTo>
                  <a:lnTo>
                    <a:pt x="213" y="50"/>
                  </a:lnTo>
                  <a:close/>
                  <a:moveTo>
                    <a:pt x="189" y="42"/>
                  </a:moveTo>
                  <a:cubicBezTo>
                    <a:pt x="213" y="50"/>
                    <a:pt x="213" y="50"/>
                    <a:pt x="213" y="50"/>
                  </a:cubicBezTo>
                  <a:cubicBezTo>
                    <a:pt x="213" y="80"/>
                    <a:pt x="213" y="80"/>
                    <a:pt x="213" y="80"/>
                  </a:cubicBezTo>
                  <a:cubicBezTo>
                    <a:pt x="210" y="90"/>
                    <a:pt x="210" y="90"/>
                    <a:pt x="210" y="90"/>
                  </a:cubicBezTo>
                  <a:cubicBezTo>
                    <a:pt x="213" y="91"/>
                    <a:pt x="213" y="91"/>
                    <a:pt x="213" y="91"/>
                  </a:cubicBezTo>
                  <a:cubicBezTo>
                    <a:pt x="213" y="112"/>
                    <a:pt x="213" y="112"/>
                    <a:pt x="213" y="112"/>
                  </a:cubicBezTo>
                  <a:cubicBezTo>
                    <a:pt x="203" y="108"/>
                    <a:pt x="203" y="108"/>
                    <a:pt x="203" y="108"/>
                  </a:cubicBezTo>
                  <a:cubicBezTo>
                    <a:pt x="202" y="113"/>
                    <a:pt x="200" y="119"/>
                    <a:pt x="198" y="124"/>
                  </a:cubicBezTo>
                  <a:cubicBezTo>
                    <a:pt x="213" y="129"/>
                    <a:pt x="213" y="129"/>
                    <a:pt x="213" y="129"/>
                  </a:cubicBezTo>
                  <a:cubicBezTo>
                    <a:pt x="213" y="149"/>
                    <a:pt x="213" y="149"/>
                    <a:pt x="213" y="149"/>
                  </a:cubicBezTo>
                  <a:cubicBezTo>
                    <a:pt x="192" y="142"/>
                    <a:pt x="192" y="142"/>
                    <a:pt x="192" y="142"/>
                  </a:cubicBezTo>
                  <a:cubicBezTo>
                    <a:pt x="189" y="150"/>
                    <a:pt x="189" y="150"/>
                    <a:pt x="189" y="150"/>
                  </a:cubicBezTo>
                  <a:cubicBezTo>
                    <a:pt x="189" y="83"/>
                    <a:pt x="189" y="83"/>
                    <a:pt x="189" y="83"/>
                  </a:cubicBezTo>
                  <a:cubicBezTo>
                    <a:pt x="199" y="86"/>
                    <a:pt x="199" y="86"/>
                    <a:pt x="199" y="86"/>
                  </a:cubicBezTo>
                  <a:cubicBezTo>
                    <a:pt x="201" y="81"/>
                    <a:pt x="203" y="76"/>
                    <a:pt x="204" y="71"/>
                  </a:cubicBezTo>
                  <a:cubicBezTo>
                    <a:pt x="189" y="66"/>
                    <a:pt x="189" y="66"/>
                    <a:pt x="189" y="66"/>
                  </a:cubicBezTo>
                  <a:cubicBezTo>
                    <a:pt x="189" y="42"/>
                    <a:pt x="189" y="42"/>
                    <a:pt x="189" y="42"/>
                  </a:cubicBezTo>
                  <a:close/>
                  <a:moveTo>
                    <a:pt x="213" y="212"/>
                  </a:moveTo>
                  <a:cubicBezTo>
                    <a:pt x="197" y="261"/>
                    <a:pt x="197" y="261"/>
                    <a:pt x="197" y="261"/>
                  </a:cubicBezTo>
                  <a:cubicBezTo>
                    <a:pt x="189" y="258"/>
                    <a:pt x="189" y="258"/>
                    <a:pt x="189" y="258"/>
                  </a:cubicBezTo>
                  <a:cubicBezTo>
                    <a:pt x="189" y="231"/>
                    <a:pt x="189" y="231"/>
                    <a:pt x="189" y="231"/>
                  </a:cubicBezTo>
                  <a:cubicBezTo>
                    <a:pt x="194" y="219"/>
                    <a:pt x="194" y="219"/>
                    <a:pt x="194" y="219"/>
                  </a:cubicBezTo>
                  <a:cubicBezTo>
                    <a:pt x="189" y="217"/>
                    <a:pt x="189" y="217"/>
                    <a:pt x="189" y="217"/>
                  </a:cubicBezTo>
                  <a:cubicBezTo>
                    <a:pt x="189" y="197"/>
                    <a:pt x="189" y="197"/>
                    <a:pt x="189" y="197"/>
                  </a:cubicBezTo>
                  <a:cubicBezTo>
                    <a:pt x="200" y="200"/>
                    <a:pt x="200" y="200"/>
                    <a:pt x="200" y="200"/>
                  </a:cubicBezTo>
                  <a:cubicBezTo>
                    <a:pt x="202" y="195"/>
                    <a:pt x="203" y="190"/>
                    <a:pt x="205" y="185"/>
                  </a:cubicBezTo>
                  <a:cubicBezTo>
                    <a:pt x="189" y="179"/>
                    <a:pt x="189" y="179"/>
                    <a:pt x="189" y="179"/>
                  </a:cubicBezTo>
                  <a:cubicBezTo>
                    <a:pt x="189" y="159"/>
                    <a:pt x="189" y="159"/>
                    <a:pt x="189" y="159"/>
                  </a:cubicBezTo>
                  <a:cubicBezTo>
                    <a:pt x="211" y="166"/>
                    <a:pt x="211" y="166"/>
                    <a:pt x="211" y="166"/>
                  </a:cubicBezTo>
                  <a:cubicBezTo>
                    <a:pt x="213" y="161"/>
                    <a:pt x="213" y="161"/>
                    <a:pt x="213" y="161"/>
                  </a:cubicBezTo>
                  <a:lnTo>
                    <a:pt x="213" y="212"/>
                  </a:lnTo>
                  <a:close/>
                  <a:moveTo>
                    <a:pt x="143" y="26"/>
                  </a:moveTo>
                  <a:cubicBezTo>
                    <a:pt x="164" y="33"/>
                    <a:pt x="164" y="33"/>
                    <a:pt x="164" y="33"/>
                  </a:cubicBezTo>
                  <a:cubicBezTo>
                    <a:pt x="189" y="42"/>
                    <a:pt x="189" y="42"/>
                    <a:pt x="189" y="42"/>
                  </a:cubicBezTo>
                  <a:cubicBezTo>
                    <a:pt x="189" y="66"/>
                    <a:pt x="189" y="66"/>
                    <a:pt x="189" y="66"/>
                  </a:cubicBezTo>
                  <a:cubicBezTo>
                    <a:pt x="180" y="62"/>
                    <a:pt x="180" y="62"/>
                    <a:pt x="180" y="62"/>
                  </a:cubicBezTo>
                  <a:cubicBezTo>
                    <a:pt x="178" y="68"/>
                    <a:pt x="176" y="73"/>
                    <a:pt x="175" y="78"/>
                  </a:cubicBezTo>
                  <a:cubicBezTo>
                    <a:pt x="189" y="83"/>
                    <a:pt x="189" y="83"/>
                    <a:pt x="189" y="83"/>
                  </a:cubicBezTo>
                  <a:cubicBezTo>
                    <a:pt x="189" y="150"/>
                    <a:pt x="189" y="150"/>
                    <a:pt x="189" y="150"/>
                  </a:cubicBezTo>
                  <a:cubicBezTo>
                    <a:pt x="187" y="158"/>
                    <a:pt x="187" y="158"/>
                    <a:pt x="187" y="158"/>
                  </a:cubicBezTo>
                  <a:cubicBezTo>
                    <a:pt x="189" y="159"/>
                    <a:pt x="189" y="159"/>
                    <a:pt x="189" y="159"/>
                  </a:cubicBezTo>
                  <a:cubicBezTo>
                    <a:pt x="189" y="179"/>
                    <a:pt x="189" y="179"/>
                    <a:pt x="189" y="179"/>
                  </a:cubicBezTo>
                  <a:cubicBezTo>
                    <a:pt x="181" y="176"/>
                    <a:pt x="181" y="176"/>
                    <a:pt x="181" y="176"/>
                  </a:cubicBezTo>
                  <a:cubicBezTo>
                    <a:pt x="179" y="182"/>
                    <a:pt x="177" y="187"/>
                    <a:pt x="175" y="192"/>
                  </a:cubicBezTo>
                  <a:cubicBezTo>
                    <a:pt x="189" y="197"/>
                    <a:pt x="189" y="197"/>
                    <a:pt x="189" y="197"/>
                  </a:cubicBezTo>
                  <a:cubicBezTo>
                    <a:pt x="189" y="217"/>
                    <a:pt x="189" y="217"/>
                    <a:pt x="189" y="217"/>
                  </a:cubicBezTo>
                  <a:cubicBezTo>
                    <a:pt x="169" y="211"/>
                    <a:pt x="169" y="211"/>
                    <a:pt x="169" y="211"/>
                  </a:cubicBezTo>
                  <a:cubicBezTo>
                    <a:pt x="167" y="216"/>
                    <a:pt x="166" y="221"/>
                    <a:pt x="164" y="226"/>
                  </a:cubicBezTo>
                  <a:cubicBezTo>
                    <a:pt x="172" y="229"/>
                    <a:pt x="180" y="231"/>
                    <a:pt x="188" y="234"/>
                  </a:cubicBezTo>
                  <a:cubicBezTo>
                    <a:pt x="189" y="231"/>
                    <a:pt x="189" y="231"/>
                    <a:pt x="189" y="231"/>
                  </a:cubicBezTo>
                  <a:cubicBezTo>
                    <a:pt x="189" y="258"/>
                    <a:pt x="189" y="258"/>
                    <a:pt x="189" y="258"/>
                  </a:cubicBezTo>
                  <a:cubicBezTo>
                    <a:pt x="143" y="242"/>
                    <a:pt x="143" y="242"/>
                    <a:pt x="143" y="242"/>
                  </a:cubicBezTo>
                  <a:cubicBezTo>
                    <a:pt x="143" y="181"/>
                    <a:pt x="143" y="181"/>
                    <a:pt x="143" y="181"/>
                  </a:cubicBezTo>
                  <a:cubicBezTo>
                    <a:pt x="165" y="188"/>
                    <a:pt x="165" y="188"/>
                    <a:pt x="165" y="188"/>
                  </a:cubicBezTo>
                  <a:cubicBezTo>
                    <a:pt x="166" y="183"/>
                    <a:pt x="168" y="178"/>
                    <a:pt x="170" y="173"/>
                  </a:cubicBezTo>
                  <a:cubicBezTo>
                    <a:pt x="162" y="170"/>
                    <a:pt x="154" y="167"/>
                    <a:pt x="146" y="165"/>
                  </a:cubicBezTo>
                  <a:cubicBezTo>
                    <a:pt x="143" y="172"/>
                    <a:pt x="143" y="172"/>
                    <a:pt x="143" y="172"/>
                  </a:cubicBezTo>
                  <a:cubicBezTo>
                    <a:pt x="143" y="137"/>
                    <a:pt x="143" y="137"/>
                    <a:pt x="143" y="137"/>
                  </a:cubicBezTo>
                  <a:cubicBezTo>
                    <a:pt x="146" y="127"/>
                    <a:pt x="146" y="127"/>
                    <a:pt x="146" y="127"/>
                  </a:cubicBezTo>
                  <a:cubicBezTo>
                    <a:pt x="143" y="126"/>
                    <a:pt x="143" y="126"/>
                    <a:pt x="143" y="126"/>
                  </a:cubicBezTo>
                  <a:cubicBezTo>
                    <a:pt x="143" y="105"/>
                    <a:pt x="143" y="105"/>
                    <a:pt x="143" y="105"/>
                  </a:cubicBezTo>
                  <a:cubicBezTo>
                    <a:pt x="153" y="108"/>
                    <a:pt x="153" y="108"/>
                    <a:pt x="153" y="108"/>
                  </a:cubicBezTo>
                  <a:cubicBezTo>
                    <a:pt x="154" y="103"/>
                    <a:pt x="156" y="98"/>
                    <a:pt x="158" y="93"/>
                  </a:cubicBezTo>
                  <a:cubicBezTo>
                    <a:pt x="143" y="88"/>
                    <a:pt x="143" y="88"/>
                    <a:pt x="143" y="88"/>
                  </a:cubicBezTo>
                  <a:cubicBezTo>
                    <a:pt x="143" y="67"/>
                    <a:pt x="143" y="67"/>
                    <a:pt x="143" y="67"/>
                  </a:cubicBezTo>
                  <a:cubicBezTo>
                    <a:pt x="164" y="74"/>
                    <a:pt x="164" y="74"/>
                    <a:pt x="164" y="74"/>
                  </a:cubicBezTo>
                  <a:cubicBezTo>
                    <a:pt x="166" y="69"/>
                    <a:pt x="168" y="64"/>
                    <a:pt x="169" y="59"/>
                  </a:cubicBezTo>
                  <a:cubicBezTo>
                    <a:pt x="161" y="56"/>
                    <a:pt x="153" y="53"/>
                    <a:pt x="145" y="51"/>
                  </a:cubicBezTo>
                  <a:cubicBezTo>
                    <a:pt x="143" y="56"/>
                    <a:pt x="143" y="56"/>
                    <a:pt x="143" y="56"/>
                  </a:cubicBezTo>
                  <a:lnTo>
                    <a:pt x="143" y="26"/>
                  </a:lnTo>
                  <a:close/>
                  <a:moveTo>
                    <a:pt x="119" y="19"/>
                  </a:moveTo>
                  <a:cubicBezTo>
                    <a:pt x="143" y="26"/>
                    <a:pt x="143" y="26"/>
                    <a:pt x="143" y="26"/>
                  </a:cubicBezTo>
                  <a:cubicBezTo>
                    <a:pt x="143" y="56"/>
                    <a:pt x="143" y="56"/>
                    <a:pt x="143" y="56"/>
                  </a:cubicBezTo>
                  <a:cubicBezTo>
                    <a:pt x="140" y="66"/>
                    <a:pt x="140" y="66"/>
                    <a:pt x="140" y="66"/>
                  </a:cubicBezTo>
                  <a:cubicBezTo>
                    <a:pt x="143" y="67"/>
                    <a:pt x="143" y="67"/>
                    <a:pt x="143" y="67"/>
                  </a:cubicBezTo>
                  <a:cubicBezTo>
                    <a:pt x="143" y="88"/>
                    <a:pt x="143" y="88"/>
                    <a:pt x="143" y="88"/>
                  </a:cubicBezTo>
                  <a:cubicBezTo>
                    <a:pt x="133" y="85"/>
                    <a:pt x="133" y="85"/>
                    <a:pt x="133" y="85"/>
                  </a:cubicBezTo>
                  <a:cubicBezTo>
                    <a:pt x="132" y="90"/>
                    <a:pt x="130" y="95"/>
                    <a:pt x="128" y="100"/>
                  </a:cubicBezTo>
                  <a:cubicBezTo>
                    <a:pt x="143" y="105"/>
                    <a:pt x="143" y="105"/>
                    <a:pt x="143" y="105"/>
                  </a:cubicBezTo>
                  <a:cubicBezTo>
                    <a:pt x="143" y="126"/>
                    <a:pt x="143" y="126"/>
                    <a:pt x="143" y="126"/>
                  </a:cubicBezTo>
                  <a:cubicBezTo>
                    <a:pt x="122" y="119"/>
                    <a:pt x="122" y="119"/>
                    <a:pt x="122" y="119"/>
                  </a:cubicBezTo>
                  <a:cubicBezTo>
                    <a:pt x="119" y="126"/>
                    <a:pt x="119" y="126"/>
                    <a:pt x="119" y="126"/>
                  </a:cubicBezTo>
                  <a:cubicBezTo>
                    <a:pt x="119" y="59"/>
                    <a:pt x="119" y="59"/>
                    <a:pt x="119" y="59"/>
                  </a:cubicBezTo>
                  <a:cubicBezTo>
                    <a:pt x="129" y="63"/>
                    <a:pt x="129" y="63"/>
                    <a:pt x="129" y="63"/>
                  </a:cubicBezTo>
                  <a:cubicBezTo>
                    <a:pt x="131" y="57"/>
                    <a:pt x="132" y="52"/>
                    <a:pt x="134" y="47"/>
                  </a:cubicBezTo>
                  <a:cubicBezTo>
                    <a:pt x="119" y="42"/>
                    <a:pt x="119" y="42"/>
                    <a:pt x="119" y="42"/>
                  </a:cubicBezTo>
                  <a:cubicBezTo>
                    <a:pt x="119" y="19"/>
                    <a:pt x="119" y="19"/>
                    <a:pt x="119" y="19"/>
                  </a:cubicBezTo>
                  <a:close/>
                  <a:moveTo>
                    <a:pt x="143" y="242"/>
                  </a:moveTo>
                  <a:cubicBezTo>
                    <a:pt x="119" y="235"/>
                    <a:pt x="119" y="235"/>
                    <a:pt x="119" y="235"/>
                  </a:cubicBezTo>
                  <a:cubicBezTo>
                    <a:pt x="119" y="207"/>
                    <a:pt x="119" y="207"/>
                    <a:pt x="119" y="207"/>
                  </a:cubicBezTo>
                  <a:cubicBezTo>
                    <a:pt x="123" y="195"/>
                    <a:pt x="123" y="195"/>
                    <a:pt x="123" y="195"/>
                  </a:cubicBezTo>
                  <a:cubicBezTo>
                    <a:pt x="119" y="194"/>
                    <a:pt x="119" y="194"/>
                    <a:pt x="119" y="194"/>
                  </a:cubicBezTo>
                  <a:cubicBezTo>
                    <a:pt x="119" y="173"/>
                    <a:pt x="119" y="173"/>
                    <a:pt x="119" y="173"/>
                  </a:cubicBezTo>
                  <a:cubicBezTo>
                    <a:pt x="130" y="177"/>
                    <a:pt x="130" y="177"/>
                    <a:pt x="130" y="177"/>
                  </a:cubicBezTo>
                  <a:cubicBezTo>
                    <a:pt x="131" y="171"/>
                    <a:pt x="133" y="166"/>
                    <a:pt x="135" y="161"/>
                  </a:cubicBezTo>
                  <a:cubicBezTo>
                    <a:pt x="119" y="156"/>
                    <a:pt x="119" y="156"/>
                    <a:pt x="119" y="156"/>
                  </a:cubicBezTo>
                  <a:cubicBezTo>
                    <a:pt x="119" y="135"/>
                    <a:pt x="119" y="135"/>
                    <a:pt x="119" y="135"/>
                  </a:cubicBezTo>
                  <a:cubicBezTo>
                    <a:pt x="141" y="142"/>
                    <a:pt x="141" y="142"/>
                    <a:pt x="141" y="142"/>
                  </a:cubicBezTo>
                  <a:cubicBezTo>
                    <a:pt x="143" y="137"/>
                    <a:pt x="143" y="137"/>
                    <a:pt x="143" y="137"/>
                  </a:cubicBezTo>
                  <a:cubicBezTo>
                    <a:pt x="143" y="172"/>
                    <a:pt x="143" y="172"/>
                    <a:pt x="143" y="172"/>
                  </a:cubicBezTo>
                  <a:cubicBezTo>
                    <a:pt x="140" y="180"/>
                    <a:pt x="140" y="180"/>
                    <a:pt x="140" y="180"/>
                  </a:cubicBezTo>
                  <a:cubicBezTo>
                    <a:pt x="143" y="181"/>
                    <a:pt x="143" y="181"/>
                    <a:pt x="143" y="181"/>
                  </a:cubicBezTo>
                  <a:lnTo>
                    <a:pt x="143" y="242"/>
                  </a:lnTo>
                  <a:close/>
                  <a:moveTo>
                    <a:pt x="96" y="11"/>
                  </a:moveTo>
                  <a:cubicBezTo>
                    <a:pt x="119" y="19"/>
                    <a:pt x="119" y="19"/>
                    <a:pt x="119" y="19"/>
                  </a:cubicBezTo>
                  <a:cubicBezTo>
                    <a:pt x="119" y="42"/>
                    <a:pt x="119" y="42"/>
                    <a:pt x="119" y="42"/>
                  </a:cubicBezTo>
                  <a:cubicBezTo>
                    <a:pt x="110" y="39"/>
                    <a:pt x="110" y="39"/>
                    <a:pt x="110" y="39"/>
                  </a:cubicBezTo>
                  <a:cubicBezTo>
                    <a:pt x="108" y="44"/>
                    <a:pt x="106" y="49"/>
                    <a:pt x="105" y="54"/>
                  </a:cubicBezTo>
                  <a:cubicBezTo>
                    <a:pt x="119" y="59"/>
                    <a:pt x="119" y="59"/>
                    <a:pt x="119" y="59"/>
                  </a:cubicBezTo>
                  <a:cubicBezTo>
                    <a:pt x="119" y="126"/>
                    <a:pt x="119" y="126"/>
                    <a:pt x="119" y="126"/>
                  </a:cubicBezTo>
                  <a:cubicBezTo>
                    <a:pt x="117" y="134"/>
                    <a:pt x="117" y="134"/>
                    <a:pt x="117" y="134"/>
                  </a:cubicBezTo>
                  <a:cubicBezTo>
                    <a:pt x="119" y="135"/>
                    <a:pt x="119" y="135"/>
                    <a:pt x="119" y="135"/>
                  </a:cubicBezTo>
                  <a:cubicBezTo>
                    <a:pt x="119" y="156"/>
                    <a:pt x="119" y="156"/>
                    <a:pt x="119" y="156"/>
                  </a:cubicBezTo>
                  <a:cubicBezTo>
                    <a:pt x="110" y="153"/>
                    <a:pt x="110" y="153"/>
                    <a:pt x="110" y="153"/>
                  </a:cubicBezTo>
                  <a:cubicBezTo>
                    <a:pt x="109" y="158"/>
                    <a:pt x="107" y="163"/>
                    <a:pt x="105" y="168"/>
                  </a:cubicBezTo>
                  <a:cubicBezTo>
                    <a:pt x="119" y="173"/>
                    <a:pt x="119" y="173"/>
                    <a:pt x="119" y="173"/>
                  </a:cubicBezTo>
                  <a:cubicBezTo>
                    <a:pt x="119" y="194"/>
                    <a:pt x="119" y="194"/>
                    <a:pt x="119" y="194"/>
                  </a:cubicBezTo>
                  <a:cubicBezTo>
                    <a:pt x="99" y="187"/>
                    <a:pt x="99" y="187"/>
                    <a:pt x="99" y="187"/>
                  </a:cubicBezTo>
                  <a:cubicBezTo>
                    <a:pt x="96" y="195"/>
                    <a:pt x="96" y="195"/>
                    <a:pt x="96" y="195"/>
                  </a:cubicBezTo>
                  <a:cubicBezTo>
                    <a:pt x="96" y="128"/>
                    <a:pt x="96" y="128"/>
                    <a:pt x="96" y="128"/>
                  </a:cubicBezTo>
                  <a:cubicBezTo>
                    <a:pt x="106" y="131"/>
                    <a:pt x="106" y="131"/>
                    <a:pt x="106" y="131"/>
                  </a:cubicBezTo>
                  <a:cubicBezTo>
                    <a:pt x="108" y="126"/>
                    <a:pt x="110" y="120"/>
                    <a:pt x="111" y="115"/>
                  </a:cubicBezTo>
                  <a:cubicBezTo>
                    <a:pt x="96" y="110"/>
                    <a:pt x="96" y="110"/>
                    <a:pt x="96" y="110"/>
                  </a:cubicBezTo>
                  <a:cubicBezTo>
                    <a:pt x="96" y="43"/>
                    <a:pt x="96" y="43"/>
                    <a:pt x="96" y="43"/>
                  </a:cubicBezTo>
                  <a:cubicBezTo>
                    <a:pt x="99" y="35"/>
                    <a:pt x="99" y="35"/>
                    <a:pt x="99" y="35"/>
                  </a:cubicBezTo>
                  <a:cubicBezTo>
                    <a:pt x="96" y="34"/>
                    <a:pt x="96" y="34"/>
                    <a:pt x="96" y="34"/>
                  </a:cubicBezTo>
                  <a:cubicBezTo>
                    <a:pt x="96" y="11"/>
                    <a:pt x="96" y="11"/>
                    <a:pt x="96" y="11"/>
                  </a:cubicBezTo>
                  <a:close/>
                  <a:moveTo>
                    <a:pt x="119" y="235"/>
                  </a:moveTo>
                  <a:cubicBezTo>
                    <a:pt x="99" y="228"/>
                    <a:pt x="99" y="228"/>
                    <a:pt x="99" y="228"/>
                  </a:cubicBezTo>
                  <a:cubicBezTo>
                    <a:pt x="96" y="227"/>
                    <a:pt x="96" y="227"/>
                    <a:pt x="96" y="227"/>
                  </a:cubicBezTo>
                  <a:cubicBezTo>
                    <a:pt x="96" y="203"/>
                    <a:pt x="96" y="203"/>
                    <a:pt x="96" y="203"/>
                  </a:cubicBezTo>
                  <a:cubicBezTo>
                    <a:pt x="118" y="211"/>
                    <a:pt x="118" y="211"/>
                    <a:pt x="118" y="211"/>
                  </a:cubicBezTo>
                  <a:cubicBezTo>
                    <a:pt x="119" y="207"/>
                    <a:pt x="119" y="207"/>
                    <a:pt x="119" y="207"/>
                  </a:cubicBezTo>
                  <a:lnTo>
                    <a:pt x="119" y="235"/>
                  </a:lnTo>
                  <a:close/>
                  <a:moveTo>
                    <a:pt x="73" y="3"/>
                  </a:moveTo>
                  <a:cubicBezTo>
                    <a:pt x="96" y="11"/>
                    <a:pt x="96" y="11"/>
                    <a:pt x="96" y="11"/>
                  </a:cubicBezTo>
                  <a:cubicBezTo>
                    <a:pt x="96" y="34"/>
                    <a:pt x="96" y="34"/>
                    <a:pt x="96" y="34"/>
                  </a:cubicBezTo>
                  <a:cubicBezTo>
                    <a:pt x="75" y="27"/>
                    <a:pt x="75" y="27"/>
                    <a:pt x="75" y="27"/>
                  </a:cubicBezTo>
                  <a:cubicBezTo>
                    <a:pt x="73" y="33"/>
                    <a:pt x="73" y="33"/>
                    <a:pt x="73" y="33"/>
                  </a:cubicBezTo>
                  <a:cubicBezTo>
                    <a:pt x="73" y="3"/>
                    <a:pt x="73" y="3"/>
                    <a:pt x="73" y="3"/>
                  </a:cubicBezTo>
                  <a:close/>
                  <a:moveTo>
                    <a:pt x="96" y="227"/>
                  </a:moveTo>
                  <a:cubicBezTo>
                    <a:pt x="73" y="219"/>
                    <a:pt x="73" y="219"/>
                    <a:pt x="73" y="219"/>
                  </a:cubicBezTo>
                  <a:cubicBezTo>
                    <a:pt x="73" y="195"/>
                    <a:pt x="73" y="195"/>
                    <a:pt x="73" y="195"/>
                  </a:cubicBezTo>
                  <a:cubicBezTo>
                    <a:pt x="83" y="199"/>
                    <a:pt x="83" y="199"/>
                    <a:pt x="83" y="199"/>
                  </a:cubicBezTo>
                  <a:cubicBezTo>
                    <a:pt x="85" y="194"/>
                    <a:pt x="87" y="189"/>
                    <a:pt x="88" y="184"/>
                  </a:cubicBezTo>
                  <a:cubicBezTo>
                    <a:pt x="73" y="178"/>
                    <a:pt x="73" y="178"/>
                    <a:pt x="73" y="178"/>
                  </a:cubicBezTo>
                  <a:cubicBezTo>
                    <a:pt x="73" y="82"/>
                    <a:pt x="73" y="82"/>
                    <a:pt x="73" y="82"/>
                  </a:cubicBezTo>
                  <a:cubicBezTo>
                    <a:pt x="83" y="85"/>
                    <a:pt x="83" y="85"/>
                    <a:pt x="83" y="85"/>
                  </a:cubicBezTo>
                  <a:cubicBezTo>
                    <a:pt x="84" y="80"/>
                    <a:pt x="86" y="75"/>
                    <a:pt x="88" y="69"/>
                  </a:cubicBezTo>
                  <a:cubicBezTo>
                    <a:pt x="73" y="64"/>
                    <a:pt x="73" y="64"/>
                    <a:pt x="73" y="64"/>
                  </a:cubicBezTo>
                  <a:cubicBezTo>
                    <a:pt x="73" y="44"/>
                    <a:pt x="73" y="44"/>
                    <a:pt x="73" y="44"/>
                  </a:cubicBezTo>
                  <a:cubicBezTo>
                    <a:pt x="94" y="51"/>
                    <a:pt x="94" y="51"/>
                    <a:pt x="94" y="51"/>
                  </a:cubicBezTo>
                  <a:cubicBezTo>
                    <a:pt x="96" y="43"/>
                    <a:pt x="96" y="43"/>
                    <a:pt x="96" y="43"/>
                  </a:cubicBezTo>
                  <a:cubicBezTo>
                    <a:pt x="96" y="110"/>
                    <a:pt x="96" y="110"/>
                    <a:pt x="96" y="110"/>
                  </a:cubicBezTo>
                  <a:cubicBezTo>
                    <a:pt x="87" y="107"/>
                    <a:pt x="87" y="107"/>
                    <a:pt x="87" y="107"/>
                  </a:cubicBezTo>
                  <a:cubicBezTo>
                    <a:pt x="85" y="112"/>
                    <a:pt x="83" y="117"/>
                    <a:pt x="82" y="123"/>
                  </a:cubicBezTo>
                  <a:cubicBezTo>
                    <a:pt x="96" y="128"/>
                    <a:pt x="96" y="128"/>
                    <a:pt x="96" y="128"/>
                  </a:cubicBezTo>
                  <a:cubicBezTo>
                    <a:pt x="96" y="195"/>
                    <a:pt x="96" y="195"/>
                    <a:pt x="96" y="195"/>
                  </a:cubicBezTo>
                  <a:cubicBezTo>
                    <a:pt x="94" y="202"/>
                    <a:pt x="94" y="202"/>
                    <a:pt x="94" y="202"/>
                  </a:cubicBezTo>
                  <a:cubicBezTo>
                    <a:pt x="96" y="203"/>
                    <a:pt x="96" y="203"/>
                    <a:pt x="96" y="203"/>
                  </a:cubicBezTo>
                  <a:lnTo>
                    <a:pt x="96" y="227"/>
                  </a:lnTo>
                  <a:close/>
                  <a:moveTo>
                    <a:pt x="39" y="81"/>
                  </a:moveTo>
                  <a:cubicBezTo>
                    <a:pt x="65" y="0"/>
                    <a:pt x="65" y="0"/>
                    <a:pt x="65" y="0"/>
                  </a:cubicBezTo>
                  <a:cubicBezTo>
                    <a:pt x="73" y="3"/>
                    <a:pt x="73" y="3"/>
                    <a:pt x="73" y="3"/>
                  </a:cubicBezTo>
                  <a:cubicBezTo>
                    <a:pt x="73" y="33"/>
                    <a:pt x="73" y="33"/>
                    <a:pt x="73" y="33"/>
                  </a:cubicBezTo>
                  <a:cubicBezTo>
                    <a:pt x="69" y="43"/>
                    <a:pt x="69" y="43"/>
                    <a:pt x="69" y="43"/>
                  </a:cubicBezTo>
                  <a:cubicBezTo>
                    <a:pt x="73" y="44"/>
                    <a:pt x="73" y="44"/>
                    <a:pt x="73" y="44"/>
                  </a:cubicBezTo>
                  <a:cubicBezTo>
                    <a:pt x="73" y="64"/>
                    <a:pt x="73" y="64"/>
                    <a:pt x="73" y="64"/>
                  </a:cubicBezTo>
                  <a:cubicBezTo>
                    <a:pt x="63" y="61"/>
                    <a:pt x="63" y="61"/>
                    <a:pt x="63" y="61"/>
                  </a:cubicBezTo>
                  <a:cubicBezTo>
                    <a:pt x="62" y="66"/>
                    <a:pt x="60" y="72"/>
                    <a:pt x="58" y="77"/>
                  </a:cubicBezTo>
                  <a:cubicBezTo>
                    <a:pt x="73" y="82"/>
                    <a:pt x="73" y="82"/>
                    <a:pt x="73" y="82"/>
                  </a:cubicBezTo>
                  <a:cubicBezTo>
                    <a:pt x="73" y="178"/>
                    <a:pt x="73" y="178"/>
                    <a:pt x="73" y="178"/>
                  </a:cubicBezTo>
                  <a:cubicBezTo>
                    <a:pt x="64" y="175"/>
                    <a:pt x="64" y="175"/>
                    <a:pt x="64" y="175"/>
                  </a:cubicBezTo>
                  <a:cubicBezTo>
                    <a:pt x="62" y="181"/>
                    <a:pt x="60" y="186"/>
                    <a:pt x="59" y="191"/>
                  </a:cubicBezTo>
                  <a:cubicBezTo>
                    <a:pt x="73" y="195"/>
                    <a:pt x="73" y="195"/>
                    <a:pt x="73" y="195"/>
                  </a:cubicBezTo>
                  <a:cubicBezTo>
                    <a:pt x="73" y="219"/>
                    <a:pt x="73" y="219"/>
                    <a:pt x="73" y="219"/>
                  </a:cubicBezTo>
                  <a:cubicBezTo>
                    <a:pt x="39" y="207"/>
                    <a:pt x="39" y="207"/>
                    <a:pt x="39" y="207"/>
                  </a:cubicBezTo>
                  <a:cubicBezTo>
                    <a:pt x="39" y="184"/>
                    <a:pt x="39" y="184"/>
                    <a:pt x="39" y="184"/>
                  </a:cubicBezTo>
                  <a:cubicBezTo>
                    <a:pt x="48" y="187"/>
                    <a:pt x="48" y="187"/>
                    <a:pt x="48" y="187"/>
                  </a:cubicBezTo>
                  <a:cubicBezTo>
                    <a:pt x="50" y="182"/>
                    <a:pt x="52" y="177"/>
                    <a:pt x="53" y="172"/>
                  </a:cubicBezTo>
                  <a:cubicBezTo>
                    <a:pt x="39" y="167"/>
                    <a:pt x="39" y="167"/>
                    <a:pt x="39" y="167"/>
                  </a:cubicBezTo>
                  <a:cubicBezTo>
                    <a:pt x="39" y="146"/>
                    <a:pt x="39" y="146"/>
                    <a:pt x="39" y="146"/>
                  </a:cubicBezTo>
                  <a:cubicBezTo>
                    <a:pt x="60" y="153"/>
                    <a:pt x="60" y="153"/>
                    <a:pt x="60" y="153"/>
                  </a:cubicBezTo>
                  <a:cubicBezTo>
                    <a:pt x="61" y="148"/>
                    <a:pt x="63" y="143"/>
                    <a:pt x="65" y="138"/>
                  </a:cubicBezTo>
                  <a:cubicBezTo>
                    <a:pt x="57" y="135"/>
                    <a:pt x="49" y="132"/>
                    <a:pt x="40" y="129"/>
                  </a:cubicBezTo>
                  <a:cubicBezTo>
                    <a:pt x="39" y="135"/>
                    <a:pt x="39" y="135"/>
                    <a:pt x="39" y="135"/>
                  </a:cubicBezTo>
                  <a:lnTo>
                    <a:pt x="39" y="81"/>
                  </a:lnTo>
                  <a:close/>
                  <a:moveTo>
                    <a:pt x="0" y="195"/>
                  </a:moveTo>
                  <a:cubicBezTo>
                    <a:pt x="39" y="81"/>
                    <a:pt x="39" y="81"/>
                    <a:pt x="39" y="81"/>
                  </a:cubicBezTo>
                  <a:cubicBezTo>
                    <a:pt x="39" y="135"/>
                    <a:pt x="39" y="135"/>
                    <a:pt x="39" y="135"/>
                  </a:cubicBezTo>
                  <a:cubicBezTo>
                    <a:pt x="35" y="145"/>
                    <a:pt x="35" y="145"/>
                    <a:pt x="35" y="145"/>
                  </a:cubicBezTo>
                  <a:cubicBezTo>
                    <a:pt x="39" y="146"/>
                    <a:pt x="39" y="146"/>
                    <a:pt x="39" y="146"/>
                  </a:cubicBezTo>
                  <a:cubicBezTo>
                    <a:pt x="39" y="167"/>
                    <a:pt x="39" y="167"/>
                    <a:pt x="39" y="167"/>
                  </a:cubicBezTo>
                  <a:cubicBezTo>
                    <a:pt x="29" y="164"/>
                    <a:pt x="29" y="164"/>
                    <a:pt x="29" y="164"/>
                  </a:cubicBezTo>
                  <a:cubicBezTo>
                    <a:pt x="27" y="169"/>
                    <a:pt x="25" y="174"/>
                    <a:pt x="24" y="179"/>
                  </a:cubicBezTo>
                  <a:cubicBezTo>
                    <a:pt x="39" y="184"/>
                    <a:pt x="39" y="184"/>
                    <a:pt x="39" y="184"/>
                  </a:cubicBezTo>
                  <a:cubicBezTo>
                    <a:pt x="39" y="207"/>
                    <a:pt x="39" y="207"/>
                    <a:pt x="39" y="207"/>
                  </a:cubicBezTo>
                  <a:lnTo>
                    <a:pt x="0" y="195"/>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6" name="iśḻîdè">
              <a:extLst>
                <a:ext uri="{FF2B5EF4-FFF2-40B4-BE49-F238E27FC236}">
                  <a16:creationId xmlns:a16="http://schemas.microsoft.com/office/drawing/2014/main" id="{A0F0B936-DD60-4DD8-95C9-6E2B6FDDB2CD}"/>
                </a:ext>
              </a:extLst>
            </p:cNvPr>
            <p:cNvSpPr/>
            <p:nvPr/>
          </p:nvSpPr>
          <p:spPr bwMode="auto">
            <a:xfrm flipH="1">
              <a:off x="2251617" y="2019694"/>
              <a:ext cx="290271" cy="182750"/>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8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1"/>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8"/>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7" name="iṧlîďê">
              <a:extLst>
                <a:ext uri="{FF2B5EF4-FFF2-40B4-BE49-F238E27FC236}">
                  <a16:creationId xmlns:a16="http://schemas.microsoft.com/office/drawing/2014/main" id="{485F2CED-B0C3-47F5-804D-4C834C63CB6F}"/>
                </a:ext>
              </a:extLst>
            </p:cNvPr>
            <p:cNvSpPr/>
            <p:nvPr/>
          </p:nvSpPr>
          <p:spPr bwMode="auto">
            <a:xfrm flipH="1">
              <a:off x="2671938" y="1818669"/>
              <a:ext cx="234090" cy="148231"/>
            </a:xfrm>
            <a:custGeom>
              <a:avLst/>
              <a:gdLst>
                <a:gd name="T0" fmla="*/ 98 w 140"/>
                <a:gd name="T1" fmla="*/ 11 h 91"/>
                <a:gd name="T2" fmla="*/ 140 w 140"/>
                <a:gd name="T3" fmla="*/ 42 h 91"/>
                <a:gd name="T4" fmla="*/ 98 w 140"/>
                <a:gd name="T5" fmla="*/ 73 h 91"/>
                <a:gd name="T6" fmla="*/ 82 w 140"/>
                <a:gd name="T7" fmla="*/ 71 h 91"/>
                <a:gd name="T8" fmla="*/ 42 w 140"/>
                <a:gd name="T9" fmla="*/ 91 h 91"/>
                <a:gd name="T10" fmla="*/ 0 w 140"/>
                <a:gd name="T11" fmla="*/ 59 h 91"/>
                <a:gd name="T12" fmla="*/ 9 w 140"/>
                <a:gd name="T13" fmla="*/ 40 h 91"/>
                <a:gd name="T14" fmla="*/ 7 w 140"/>
                <a:gd name="T15" fmla="*/ 31 h 91"/>
                <a:gd name="T16" fmla="*/ 50 w 140"/>
                <a:gd name="T17" fmla="*/ 0 h 91"/>
                <a:gd name="T18" fmla="*/ 84 w 140"/>
                <a:gd name="T19" fmla="*/ 13 h 91"/>
                <a:gd name="T20" fmla="*/ 98 w 140"/>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91">
                  <a:moveTo>
                    <a:pt x="98" y="11"/>
                  </a:moveTo>
                  <a:cubicBezTo>
                    <a:pt x="121" y="11"/>
                    <a:pt x="140" y="25"/>
                    <a:pt x="140" y="42"/>
                  </a:cubicBezTo>
                  <a:cubicBezTo>
                    <a:pt x="140" y="59"/>
                    <a:pt x="121" y="73"/>
                    <a:pt x="98" y="73"/>
                  </a:cubicBezTo>
                  <a:cubicBezTo>
                    <a:pt x="92" y="73"/>
                    <a:pt x="87" y="73"/>
                    <a:pt x="82" y="71"/>
                  </a:cubicBezTo>
                  <a:cubicBezTo>
                    <a:pt x="75" y="82"/>
                    <a:pt x="60" y="91"/>
                    <a:pt x="42" y="91"/>
                  </a:cubicBezTo>
                  <a:cubicBezTo>
                    <a:pt x="19" y="91"/>
                    <a:pt x="0" y="77"/>
                    <a:pt x="0" y="59"/>
                  </a:cubicBezTo>
                  <a:cubicBezTo>
                    <a:pt x="0" y="52"/>
                    <a:pt x="3" y="45"/>
                    <a:pt x="9" y="40"/>
                  </a:cubicBezTo>
                  <a:cubicBezTo>
                    <a:pt x="8" y="37"/>
                    <a:pt x="7" y="34"/>
                    <a:pt x="7" y="31"/>
                  </a:cubicBezTo>
                  <a:cubicBezTo>
                    <a:pt x="7" y="14"/>
                    <a:pt x="26" y="0"/>
                    <a:pt x="50" y="0"/>
                  </a:cubicBezTo>
                  <a:cubicBezTo>
                    <a:pt x="64" y="0"/>
                    <a:pt x="77" y="5"/>
                    <a:pt x="84" y="13"/>
                  </a:cubicBezTo>
                  <a:cubicBezTo>
                    <a:pt x="89" y="12"/>
                    <a:pt x="93" y="11"/>
                    <a:pt x="98"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8" name="iŝļïḓé">
              <a:extLst>
                <a:ext uri="{FF2B5EF4-FFF2-40B4-BE49-F238E27FC236}">
                  <a16:creationId xmlns:a16="http://schemas.microsoft.com/office/drawing/2014/main" id="{27C1B33D-4F29-4AB5-AECC-1A96861B40AE}"/>
                </a:ext>
              </a:extLst>
            </p:cNvPr>
            <p:cNvSpPr/>
            <p:nvPr/>
          </p:nvSpPr>
          <p:spPr bwMode="auto">
            <a:xfrm flipH="1">
              <a:off x="3919376" y="1760798"/>
              <a:ext cx="289231" cy="183765"/>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9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2"/>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9"/>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9" name="îsliďè">
              <a:extLst>
                <a:ext uri="{FF2B5EF4-FFF2-40B4-BE49-F238E27FC236}">
                  <a16:creationId xmlns:a16="http://schemas.microsoft.com/office/drawing/2014/main" id="{EC04BD24-D9B4-42D3-A6B8-05BCB0B10A63}"/>
                </a:ext>
              </a:extLst>
            </p:cNvPr>
            <p:cNvSpPr/>
            <p:nvPr/>
          </p:nvSpPr>
          <p:spPr bwMode="auto">
            <a:xfrm flipH="1">
              <a:off x="4182597" y="1971976"/>
              <a:ext cx="235130" cy="148231"/>
            </a:xfrm>
            <a:custGeom>
              <a:avLst/>
              <a:gdLst>
                <a:gd name="T0" fmla="*/ 99 w 141"/>
                <a:gd name="T1" fmla="*/ 11 h 91"/>
                <a:gd name="T2" fmla="*/ 141 w 141"/>
                <a:gd name="T3" fmla="*/ 42 h 91"/>
                <a:gd name="T4" fmla="*/ 99 w 141"/>
                <a:gd name="T5" fmla="*/ 73 h 91"/>
                <a:gd name="T6" fmla="*/ 82 w 141"/>
                <a:gd name="T7" fmla="*/ 71 h 91"/>
                <a:gd name="T8" fmla="*/ 43 w 141"/>
                <a:gd name="T9" fmla="*/ 91 h 91"/>
                <a:gd name="T10" fmla="*/ 0 w 141"/>
                <a:gd name="T11" fmla="*/ 59 h 91"/>
                <a:gd name="T12" fmla="*/ 10 w 141"/>
                <a:gd name="T13" fmla="*/ 40 h 91"/>
                <a:gd name="T14" fmla="*/ 8 w 141"/>
                <a:gd name="T15" fmla="*/ 31 h 91"/>
                <a:gd name="T16" fmla="*/ 50 w 141"/>
                <a:gd name="T17" fmla="*/ 0 h 91"/>
                <a:gd name="T18" fmla="*/ 85 w 141"/>
                <a:gd name="T19" fmla="*/ 13 h 91"/>
                <a:gd name="T20" fmla="*/ 99 w 141"/>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91">
                  <a:moveTo>
                    <a:pt x="99" y="11"/>
                  </a:moveTo>
                  <a:cubicBezTo>
                    <a:pt x="122" y="11"/>
                    <a:pt x="141" y="25"/>
                    <a:pt x="141" y="42"/>
                  </a:cubicBezTo>
                  <a:cubicBezTo>
                    <a:pt x="141" y="60"/>
                    <a:pt x="122" y="73"/>
                    <a:pt x="99" y="73"/>
                  </a:cubicBezTo>
                  <a:cubicBezTo>
                    <a:pt x="93" y="73"/>
                    <a:pt x="87" y="73"/>
                    <a:pt x="82" y="71"/>
                  </a:cubicBezTo>
                  <a:cubicBezTo>
                    <a:pt x="76" y="83"/>
                    <a:pt x="61" y="91"/>
                    <a:pt x="43" y="91"/>
                  </a:cubicBezTo>
                  <a:cubicBezTo>
                    <a:pt x="19" y="91"/>
                    <a:pt x="0" y="77"/>
                    <a:pt x="0" y="59"/>
                  </a:cubicBezTo>
                  <a:cubicBezTo>
                    <a:pt x="0" y="52"/>
                    <a:pt x="4" y="45"/>
                    <a:pt x="10" y="40"/>
                  </a:cubicBezTo>
                  <a:cubicBezTo>
                    <a:pt x="8" y="37"/>
                    <a:pt x="8" y="34"/>
                    <a:pt x="8" y="31"/>
                  </a:cubicBezTo>
                  <a:cubicBezTo>
                    <a:pt x="8" y="14"/>
                    <a:pt x="27" y="0"/>
                    <a:pt x="50" y="0"/>
                  </a:cubicBezTo>
                  <a:cubicBezTo>
                    <a:pt x="65" y="0"/>
                    <a:pt x="77" y="5"/>
                    <a:pt x="85" y="13"/>
                  </a:cubicBezTo>
                  <a:cubicBezTo>
                    <a:pt x="89" y="12"/>
                    <a:pt x="94" y="11"/>
                    <a:pt x="99"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91" name="işḻîḍe">
            <a:extLst>
              <a:ext uri="{FF2B5EF4-FFF2-40B4-BE49-F238E27FC236}">
                <a16:creationId xmlns:a16="http://schemas.microsoft.com/office/drawing/2014/main" id="{55F84246-DE96-4F18-A86C-755445C7966C}"/>
              </a:ext>
            </a:extLst>
          </p:cNvPr>
          <p:cNvSpPr/>
          <p:nvPr/>
        </p:nvSpPr>
        <p:spPr bwMode="auto">
          <a:xfrm flipH="1">
            <a:off x="1913489" y="2580127"/>
            <a:ext cx="2953691" cy="3495603"/>
          </a:xfrm>
          <a:custGeom>
            <a:avLst/>
            <a:gdLst>
              <a:gd name="T0" fmla="*/ 0 w 1764"/>
              <a:gd name="T1" fmla="*/ 564 h 2140"/>
              <a:gd name="T2" fmla="*/ 153 w 1764"/>
              <a:gd name="T3" fmla="*/ 803 h 2140"/>
              <a:gd name="T4" fmla="*/ 345 w 1764"/>
              <a:gd name="T5" fmla="*/ 594 h 2140"/>
              <a:gd name="T6" fmla="*/ 239 w 1764"/>
              <a:gd name="T7" fmla="*/ 585 h 2140"/>
              <a:gd name="T8" fmla="*/ 241 w 1764"/>
              <a:gd name="T9" fmla="*/ 567 h 2140"/>
              <a:gd name="T10" fmla="*/ 610 w 1764"/>
              <a:gd name="T11" fmla="*/ 79 h 2140"/>
              <a:gd name="T12" fmla="*/ 1428 w 1764"/>
              <a:gd name="T13" fmla="*/ 464 h 2140"/>
              <a:gd name="T14" fmla="*/ 1445 w 1764"/>
              <a:gd name="T15" fmla="*/ 533 h 2140"/>
              <a:gd name="T16" fmla="*/ 1454 w 1764"/>
              <a:gd name="T17" fmla="*/ 624 h 2140"/>
              <a:gd name="T18" fmla="*/ 1436 w 1764"/>
              <a:gd name="T19" fmla="*/ 839 h 2140"/>
              <a:gd name="T20" fmla="*/ 1335 w 1764"/>
              <a:gd name="T21" fmla="*/ 1060 h 2140"/>
              <a:gd name="T22" fmla="*/ 1173 w 1764"/>
              <a:gd name="T23" fmla="*/ 1173 h 2140"/>
              <a:gd name="T24" fmla="*/ 968 w 1764"/>
              <a:gd name="T25" fmla="*/ 1232 h 2140"/>
              <a:gd name="T26" fmla="*/ 759 w 1764"/>
              <a:gd name="T27" fmla="*/ 1331 h 2140"/>
              <a:gd name="T28" fmla="*/ 314 w 1764"/>
              <a:gd name="T29" fmla="*/ 2135 h 2140"/>
              <a:gd name="T30" fmla="*/ 656 w 1764"/>
              <a:gd name="T31" fmla="*/ 1947 h 2140"/>
              <a:gd name="T32" fmla="*/ 945 w 1764"/>
              <a:gd name="T33" fmla="*/ 2140 h 2140"/>
              <a:gd name="T34" fmla="*/ 974 w 1764"/>
              <a:gd name="T35" fmla="*/ 2019 h 2140"/>
              <a:gd name="T36" fmla="*/ 1030 w 1764"/>
              <a:gd name="T37" fmla="*/ 1865 h 2140"/>
              <a:gd name="T38" fmla="*/ 1105 w 1764"/>
              <a:gd name="T39" fmla="*/ 1739 h 2140"/>
              <a:gd name="T40" fmla="*/ 1189 w 1764"/>
              <a:gd name="T41" fmla="*/ 1702 h 2140"/>
              <a:gd name="T42" fmla="*/ 1247 w 1764"/>
              <a:gd name="T43" fmla="*/ 1709 h 2140"/>
              <a:gd name="T44" fmla="*/ 1539 w 1764"/>
              <a:gd name="T45" fmla="*/ 1727 h 2140"/>
              <a:gd name="T46" fmla="*/ 1573 w 1764"/>
              <a:gd name="T47" fmla="*/ 1687 h 2140"/>
              <a:gd name="T48" fmla="*/ 1576 w 1764"/>
              <a:gd name="T49" fmla="*/ 1634 h 2140"/>
              <a:gd name="T50" fmla="*/ 1576 w 1764"/>
              <a:gd name="T51" fmla="*/ 1580 h 2140"/>
              <a:gd name="T52" fmla="*/ 1608 w 1764"/>
              <a:gd name="T53" fmla="*/ 1529 h 2140"/>
              <a:gd name="T54" fmla="*/ 1628 w 1764"/>
              <a:gd name="T55" fmla="*/ 1524 h 2140"/>
              <a:gd name="T56" fmla="*/ 1643 w 1764"/>
              <a:gd name="T57" fmla="*/ 1517 h 2140"/>
              <a:gd name="T58" fmla="*/ 1627 w 1764"/>
              <a:gd name="T59" fmla="*/ 1463 h 2140"/>
              <a:gd name="T60" fmla="*/ 1618 w 1764"/>
              <a:gd name="T61" fmla="*/ 1451 h 2140"/>
              <a:gd name="T62" fmla="*/ 1629 w 1764"/>
              <a:gd name="T63" fmla="*/ 1441 h 2140"/>
              <a:gd name="T64" fmla="*/ 1649 w 1764"/>
              <a:gd name="T65" fmla="*/ 1412 h 2140"/>
              <a:gd name="T66" fmla="*/ 1653 w 1764"/>
              <a:gd name="T67" fmla="*/ 1400 h 2140"/>
              <a:gd name="T68" fmla="*/ 1636 w 1764"/>
              <a:gd name="T69" fmla="*/ 1354 h 2140"/>
              <a:gd name="T70" fmla="*/ 1632 w 1764"/>
              <a:gd name="T71" fmla="*/ 1324 h 2140"/>
              <a:gd name="T72" fmla="*/ 1674 w 1764"/>
              <a:gd name="T73" fmla="*/ 1284 h 2140"/>
              <a:gd name="T74" fmla="*/ 1739 w 1764"/>
              <a:gd name="T75" fmla="*/ 1245 h 2140"/>
              <a:gd name="T76" fmla="*/ 1763 w 1764"/>
              <a:gd name="T77" fmla="*/ 1216 h 2140"/>
              <a:gd name="T78" fmla="*/ 1748 w 1764"/>
              <a:gd name="T79" fmla="*/ 1174 h 2140"/>
              <a:gd name="T80" fmla="*/ 1696 w 1764"/>
              <a:gd name="T81" fmla="*/ 1107 h 2140"/>
              <a:gd name="T82" fmla="*/ 1623 w 1764"/>
              <a:gd name="T83" fmla="*/ 829 h 2140"/>
              <a:gd name="T84" fmla="*/ 1635 w 1764"/>
              <a:gd name="T85" fmla="*/ 704 h 2140"/>
              <a:gd name="T86" fmla="*/ 1620 w 1764"/>
              <a:gd name="T87" fmla="*/ 563 h 2140"/>
              <a:gd name="T88" fmla="*/ 1569 w 1764"/>
              <a:gd name="T89" fmla="*/ 440 h 2140"/>
              <a:gd name="T90" fmla="*/ 1471 w 1764"/>
              <a:gd name="T91" fmla="*/ 298 h 2140"/>
              <a:gd name="T92" fmla="*/ 1365 w 1764"/>
              <a:gd name="T93" fmla="*/ 192 h 2140"/>
              <a:gd name="T94" fmla="*/ 959 w 1764"/>
              <a:gd name="T95" fmla="*/ 30 h 2140"/>
              <a:gd name="T96" fmla="*/ 425 w 1764"/>
              <a:gd name="T97" fmla="*/ 111 h 2140"/>
              <a:gd name="T98" fmla="*/ 98 w 1764"/>
              <a:gd name="T99" fmla="*/ 557 h 2140"/>
              <a:gd name="T100" fmla="*/ 95 w 1764"/>
              <a:gd name="T101" fmla="*/ 572 h 2140"/>
              <a:gd name="T102" fmla="*/ 0 w 1764"/>
              <a:gd name="T103" fmla="*/ 564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64" h="2140">
                <a:moveTo>
                  <a:pt x="0" y="564"/>
                </a:moveTo>
                <a:cubicBezTo>
                  <a:pt x="153" y="803"/>
                  <a:pt x="153" y="803"/>
                  <a:pt x="153" y="803"/>
                </a:cubicBezTo>
                <a:cubicBezTo>
                  <a:pt x="345" y="594"/>
                  <a:pt x="345" y="594"/>
                  <a:pt x="345" y="594"/>
                </a:cubicBezTo>
                <a:cubicBezTo>
                  <a:pt x="239" y="585"/>
                  <a:pt x="239" y="585"/>
                  <a:pt x="239" y="585"/>
                </a:cubicBezTo>
                <a:cubicBezTo>
                  <a:pt x="241" y="567"/>
                  <a:pt x="241" y="567"/>
                  <a:pt x="241" y="567"/>
                </a:cubicBezTo>
                <a:cubicBezTo>
                  <a:pt x="265" y="337"/>
                  <a:pt x="371" y="134"/>
                  <a:pt x="610" y="79"/>
                </a:cubicBezTo>
                <a:cubicBezTo>
                  <a:pt x="952" y="0"/>
                  <a:pt x="1303" y="112"/>
                  <a:pt x="1428" y="464"/>
                </a:cubicBezTo>
                <a:cubicBezTo>
                  <a:pt x="1436" y="486"/>
                  <a:pt x="1441" y="510"/>
                  <a:pt x="1445" y="533"/>
                </a:cubicBezTo>
                <a:cubicBezTo>
                  <a:pt x="1450" y="563"/>
                  <a:pt x="1453" y="594"/>
                  <a:pt x="1454" y="624"/>
                </a:cubicBezTo>
                <a:cubicBezTo>
                  <a:pt x="1457" y="695"/>
                  <a:pt x="1451" y="769"/>
                  <a:pt x="1436" y="839"/>
                </a:cubicBezTo>
                <a:cubicBezTo>
                  <a:pt x="1419" y="918"/>
                  <a:pt x="1388" y="998"/>
                  <a:pt x="1335" y="1060"/>
                </a:cubicBezTo>
                <a:cubicBezTo>
                  <a:pt x="1290" y="1112"/>
                  <a:pt x="1237" y="1147"/>
                  <a:pt x="1173" y="1173"/>
                </a:cubicBezTo>
                <a:cubicBezTo>
                  <a:pt x="1107" y="1199"/>
                  <a:pt x="1036" y="1213"/>
                  <a:pt x="968" y="1232"/>
                </a:cubicBezTo>
                <a:cubicBezTo>
                  <a:pt x="891" y="1255"/>
                  <a:pt x="823" y="1283"/>
                  <a:pt x="759" y="1331"/>
                </a:cubicBezTo>
                <a:cubicBezTo>
                  <a:pt x="528" y="1503"/>
                  <a:pt x="387" y="1857"/>
                  <a:pt x="314" y="2135"/>
                </a:cubicBezTo>
                <a:cubicBezTo>
                  <a:pt x="656" y="1947"/>
                  <a:pt x="656" y="1947"/>
                  <a:pt x="656" y="1947"/>
                </a:cubicBezTo>
                <a:cubicBezTo>
                  <a:pt x="945" y="2140"/>
                  <a:pt x="945" y="2140"/>
                  <a:pt x="945" y="2140"/>
                </a:cubicBezTo>
                <a:cubicBezTo>
                  <a:pt x="951" y="2099"/>
                  <a:pt x="962" y="2058"/>
                  <a:pt x="974" y="2019"/>
                </a:cubicBezTo>
                <a:cubicBezTo>
                  <a:pt x="991" y="1967"/>
                  <a:pt x="1011" y="1916"/>
                  <a:pt x="1030" y="1865"/>
                </a:cubicBezTo>
                <a:cubicBezTo>
                  <a:pt x="1047" y="1821"/>
                  <a:pt x="1070" y="1771"/>
                  <a:pt x="1105" y="1739"/>
                </a:cubicBezTo>
                <a:cubicBezTo>
                  <a:pt x="1129" y="1716"/>
                  <a:pt x="1156" y="1703"/>
                  <a:pt x="1189" y="1702"/>
                </a:cubicBezTo>
                <a:cubicBezTo>
                  <a:pt x="1209" y="1702"/>
                  <a:pt x="1228" y="1705"/>
                  <a:pt x="1247" y="1709"/>
                </a:cubicBezTo>
                <a:cubicBezTo>
                  <a:pt x="1313" y="1725"/>
                  <a:pt x="1479" y="1762"/>
                  <a:pt x="1539" y="1727"/>
                </a:cubicBezTo>
                <a:cubicBezTo>
                  <a:pt x="1556" y="1718"/>
                  <a:pt x="1568" y="1706"/>
                  <a:pt x="1573" y="1687"/>
                </a:cubicBezTo>
                <a:cubicBezTo>
                  <a:pt x="1577" y="1670"/>
                  <a:pt x="1577" y="1651"/>
                  <a:pt x="1576" y="1634"/>
                </a:cubicBezTo>
                <a:cubicBezTo>
                  <a:pt x="1575" y="1616"/>
                  <a:pt x="1574" y="1598"/>
                  <a:pt x="1576" y="1580"/>
                </a:cubicBezTo>
                <a:cubicBezTo>
                  <a:pt x="1578" y="1558"/>
                  <a:pt x="1586" y="1538"/>
                  <a:pt x="1608" y="1529"/>
                </a:cubicBezTo>
                <a:cubicBezTo>
                  <a:pt x="1614" y="1527"/>
                  <a:pt x="1621" y="1525"/>
                  <a:pt x="1628" y="1524"/>
                </a:cubicBezTo>
                <a:cubicBezTo>
                  <a:pt x="1634" y="1523"/>
                  <a:pt x="1640" y="1521"/>
                  <a:pt x="1643" y="1517"/>
                </a:cubicBezTo>
                <a:cubicBezTo>
                  <a:pt x="1652" y="1505"/>
                  <a:pt x="1634" y="1473"/>
                  <a:pt x="1627" y="1463"/>
                </a:cubicBezTo>
                <a:cubicBezTo>
                  <a:pt x="1618" y="1451"/>
                  <a:pt x="1618" y="1451"/>
                  <a:pt x="1618" y="1451"/>
                </a:cubicBezTo>
                <a:cubicBezTo>
                  <a:pt x="1629" y="1441"/>
                  <a:pt x="1629" y="1441"/>
                  <a:pt x="1629" y="1441"/>
                </a:cubicBezTo>
                <a:cubicBezTo>
                  <a:pt x="1636" y="1433"/>
                  <a:pt x="1644" y="1421"/>
                  <a:pt x="1649" y="1412"/>
                </a:cubicBezTo>
                <a:cubicBezTo>
                  <a:pt x="1651" y="1409"/>
                  <a:pt x="1653" y="1405"/>
                  <a:pt x="1653" y="1400"/>
                </a:cubicBezTo>
                <a:cubicBezTo>
                  <a:pt x="1654" y="1388"/>
                  <a:pt x="1641" y="1365"/>
                  <a:pt x="1636" y="1354"/>
                </a:cubicBezTo>
                <a:cubicBezTo>
                  <a:pt x="1631" y="1345"/>
                  <a:pt x="1629" y="1334"/>
                  <a:pt x="1632" y="1324"/>
                </a:cubicBezTo>
                <a:cubicBezTo>
                  <a:pt x="1637" y="1304"/>
                  <a:pt x="1658" y="1293"/>
                  <a:pt x="1674" y="1284"/>
                </a:cubicBezTo>
                <a:cubicBezTo>
                  <a:pt x="1697" y="1271"/>
                  <a:pt x="1718" y="1260"/>
                  <a:pt x="1739" y="1245"/>
                </a:cubicBezTo>
                <a:cubicBezTo>
                  <a:pt x="1749" y="1238"/>
                  <a:pt x="1761" y="1228"/>
                  <a:pt x="1763" y="1216"/>
                </a:cubicBezTo>
                <a:cubicBezTo>
                  <a:pt x="1764" y="1202"/>
                  <a:pt x="1755" y="1185"/>
                  <a:pt x="1748" y="1174"/>
                </a:cubicBezTo>
                <a:cubicBezTo>
                  <a:pt x="1733" y="1151"/>
                  <a:pt x="1713" y="1129"/>
                  <a:pt x="1696" y="1107"/>
                </a:cubicBezTo>
                <a:cubicBezTo>
                  <a:pt x="1631" y="1027"/>
                  <a:pt x="1608" y="931"/>
                  <a:pt x="1623" y="829"/>
                </a:cubicBezTo>
                <a:cubicBezTo>
                  <a:pt x="1629" y="787"/>
                  <a:pt x="1634" y="746"/>
                  <a:pt x="1635" y="704"/>
                </a:cubicBezTo>
                <a:cubicBezTo>
                  <a:pt x="1635" y="656"/>
                  <a:pt x="1630" y="610"/>
                  <a:pt x="1620" y="563"/>
                </a:cubicBezTo>
                <a:cubicBezTo>
                  <a:pt x="1611" y="522"/>
                  <a:pt x="1589" y="477"/>
                  <a:pt x="1569" y="440"/>
                </a:cubicBezTo>
                <a:cubicBezTo>
                  <a:pt x="1541" y="390"/>
                  <a:pt x="1508" y="342"/>
                  <a:pt x="1471" y="298"/>
                </a:cubicBezTo>
                <a:cubicBezTo>
                  <a:pt x="1440" y="260"/>
                  <a:pt x="1404" y="223"/>
                  <a:pt x="1365" y="192"/>
                </a:cubicBezTo>
                <a:cubicBezTo>
                  <a:pt x="1253" y="103"/>
                  <a:pt x="1099" y="49"/>
                  <a:pt x="959" y="30"/>
                </a:cubicBezTo>
                <a:cubicBezTo>
                  <a:pt x="777" y="4"/>
                  <a:pt x="590" y="30"/>
                  <a:pt x="425" y="111"/>
                </a:cubicBezTo>
                <a:cubicBezTo>
                  <a:pt x="240" y="200"/>
                  <a:pt x="137" y="359"/>
                  <a:pt x="98" y="557"/>
                </a:cubicBezTo>
                <a:cubicBezTo>
                  <a:pt x="95" y="572"/>
                  <a:pt x="95" y="572"/>
                  <a:pt x="95" y="572"/>
                </a:cubicBezTo>
                <a:lnTo>
                  <a:pt x="0" y="56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10" name="图片 9">
            <a:extLst>
              <a:ext uri="{FF2B5EF4-FFF2-40B4-BE49-F238E27FC236}">
                <a16:creationId xmlns:a16="http://schemas.microsoft.com/office/drawing/2014/main" id="{BE8FE198-7112-E90C-071D-EF45F8279C5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24822" y="1359507"/>
            <a:ext cx="2156192" cy="4984146"/>
          </a:xfrm>
          <a:prstGeom prst="rect">
            <a:avLst/>
          </a:prstGeom>
        </p:spPr>
      </p:pic>
    </p:spTree>
    <p:custDataLst>
      <p:tags r:id="rId2"/>
    </p:custDataLst>
    <p:extLst>
      <p:ext uri="{BB962C8B-B14F-4D97-AF65-F5344CB8AC3E}">
        <p14:creationId xmlns:p14="http://schemas.microsoft.com/office/powerpoint/2010/main" val="3868327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a:extLst>
              <a:ext uri="{FF2B5EF4-FFF2-40B4-BE49-F238E27FC236}">
                <a16:creationId xmlns:a16="http://schemas.microsoft.com/office/drawing/2014/main" id="{9B0164AF-4246-4CD6-8CA3-F03179278D03}"/>
              </a:ext>
            </a:extLst>
          </p:cNvPr>
          <p:cNvSpPr>
            <a:spLocks noGrp="1"/>
          </p:cNvSpPr>
          <p:nvPr>
            <p:ph type="title"/>
          </p:nvPr>
        </p:nvSpPr>
        <p:spPr/>
        <p:txBody>
          <a:bodyPr/>
          <a:lstStyle/>
          <a:p>
            <a:r>
              <a:rPr lang="zh-CN" altLang="en-US" dirty="0"/>
              <a:t>人工智能安全与对策</a:t>
            </a:r>
          </a:p>
        </p:txBody>
      </p:sp>
      <p:sp>
        <p:nvSpPr>
          <p:cNvPr id="4" name="iŝḷïďé">
            <a:extLst>
              <a:ext uri="{FF2B5EF4-FFF2-40B4-BE49-F238E27FC236}">
                <a16:creationId xmlns:a16="http://schemas.microsoft.com/office/drawing/2014/main" id="{7376D6FB-C707-4161-B4F8-DB384698F1BB}"/>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293" name="iṣḷíďê">
            <a:extLst>
              <a:ext uri="{FF2B5EF4-FFF2-40B4-BE49-F238E27FC236}">
                <a16:creationId xmlns:a16="http://schemas.microsoft.com/office/drawing/2014/main" id="{7A582995-5926-4864-B758-673A8022CF6D}"/>
              </a:ext>
            </a:extLst>
          </p:cNvPr>
          <p:cNvSpPr/>
          <p:nvPr/>
        </p:nvSpPr>
        <p:spPr bwMode="auto">
          <a:xfrm flipH="1">
            <a:off x="3166128" y="3110103"/>
            <a:ext cx="587825" cy="656885"/>
          </a:xfrm>
          <a:custGeom>
            <a:avLst/>
            <a:gdLst>
              <a:gd name="T0" fmla="*/ 137 w 351"/>
              <a:gd name="T1" fmla="*/ 81 h 402"/>
              <a:gd name="T2" fmla="*/ 58 w 351"/>
              <a:gd name="T3" fmla="*/ 0 h 402"/>
              <a:gd name="T4" fmla="*/ 0 w 351"/>
              <a:gd name="T5" fmla="*/ 97 h 402"/>
              <a:gd name="T6" fmla="*/ 43 w 351"/>
              <a:gd name="T7" fmla="*/ 92 h 402"/>
              <a:gd name="T8" fmla="*/ 45 w 351"/>
              <a:gd name="T9" fmla="*/ 109 h 402"/>
              <a:gd name="T10" fmla="*/ 281 w 351"/>
              <a:gd name="T11" fmla="*/ 385 h 402"/>
              <a:gd name="T12" fmla="*/ 351 w 351"/>
              <a:gd name="T13" fmla="*/ 402 h 402"/>
              <a:gd name="T14" fmla="*/ 304 w 351"/>
              <a:gd name="T15" fmla="*/ 388 h 402"/>
              <a:gd name="T16" fmla="*/ 86 w 351"/>
              <a:gd name="T17" fmla="*/ 103 h 402"/>
              <a:gd name="T18" fmla="*/ 86 w 351"/>
              <a:gd name="T19" fmla="*/ 87 h 402"/>
              <a:gd name="T20" fmla="*/ 137 w 351"/>
              <a:gd name="T21" fmla="*/ 8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402">
                <a:moveTo>
                  <a:pt x="137" y="81"/>
                </a:moveTo>
                <a:cubicBezTo>
                  <a:pt x="58" y="0"/>
                  <a:pt x="58" y="0"/>
                  <a:pt x="58" y="0"/>
                </a:cubicBezTo>
                <a:cubicBezTo>
                  <a:pt x="0" y="97"/>
                  <a:pt x="0" y="97"/>
                  <a:pt x="0" y="97"/>
                </a:cubicBezTo>
                <a:cubicBezTo>
                  <a:pt x="43" y="92"/>
                  <a:pt x="43" y="92"/>
                  <a:pt x="43" y="92"/>
                </a:cubicBezTo>
                <a:cubicBezTo>
                  <a:pt x="45" y="109"/>
                  <a:pt x="45" y="109"/>
                  <a:pt x="45" y="109"/>
                </a:cubicBezTo>
                <a:cubicBezTo>
                  <a:pt x="64" y="242"/>
                  <a:pt x="157" y="341"/>
                  <a:pt x="281" y="385"/>
                </a:cubicBezTo>
                <a:cubicBezTo>
                  <a:pt x="304" y="392"/>
                  <a:pt x="327" y="399"/>
                  <a:pt x="351" y="402"/>
                </a:cubicBezTo>
                <a:cubicBezTo>
                  <a:pt x="335" y="398"/>
                  <a:pt x="320" y="394"/>
                  <a:pt x="304" y="388"/>
                </a:cubicBezTo>
                <a:cubicBezTo>
                  <a:pt x="181" y="341"/>
                  <a:pt x="91" y="239"/>
                  <a:pt x="86" y="103"/>
                </a:cubicBezTo>
                <a:cubicBezTo>
                  <a:pt x="86" y="87"/>
                  <a:pt x="86" y="87"/>
                  <a:pt x="86" y="87"/>
                </a:cubicBezTo>
                <a:lnTo>
                  <a:pt x="137" y="81"/>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5" name="iṣļíḑé">
            <a:extLst>
              <a:ext uri="{FF2B5EF4-FFF2-40B4-BE49-F238E27FC236}">
                <a16:creationId xmlns:a16="http://schemas.microsoft.com/office/drawing/2014/main" id="{6A1E0B16-2C76-4221-9CE4-50F78E3C78DF}"/>
              </a:ext>
            </a:extLst>
          </p:cNvPr>
          <p:cNvSpPr/>
          <p:nvPr/>
        </p:nvSpPr>
        <p:spPr bwMode="auto">
          <a:xfrm flipH="1">
            <a:off x="3039198" y="3238028"/>
            <a:ext cx="1136116" cy="737092"/>
          </a:xfrm>
          <a:custGeom>
            <a:avLst/>
            <a:gdLst>
              <a:gd name="T0" fmla="*/ 679 w 679"/>
              <a:gd name="T1" fmla="*/ 412 h 451"/>
              <a:gd name="T2" fmla="*/ 376 w 679"/>
              <a:gd name="T3" fmla="*/ 397 h 451"/>
              <a:gd name="T4" fmla="*/ 107 w 679"/>
              <a:gd name="T5" fmla="*/ 102 h 451"/>
              <a:gd name="T6" fmla="*/ 102 w 679"/>
              <a:gd name="T7" fmla="*/ 87 h 451"/>
              <a:gd name="T8" fmla="*/ 151 w 679"/>
              <a:gd name="T9" fmla="*/ 66 h 451"/>
              <a:gd name="T10" fmla="*/ 32 w 679"/>
              <a:gd name="T11" fmla="*/ 0 h 451"/>
              <a:gd name="T12" fmla="*/ 0 w 679"/>
              <a:gd name="T13" fmla="*/ 132 h 451"/>
              <a:gd name="T14" fmla="*/ 50 w 679"/>
              <a:gd name="T15" fmla="*/ 110 h 451"/>
              <a:gd name="T16" fmla="*/ 57 w 679"/>
              <a:gd name="T17" fmla="*/ 125 h 451"/>
              <a:gd name="T18" fmla="*/ 244 w 679"/>
              <a:gd name="T19" fmla="*/ 355 h 451"/>
              <a:gd name="T20" fmla="*/ 464 w 679"/>
              <a:gd name="T21" fmla="*/ 443 h 451"/>
              <a:gd name="T22" fmla="*/ 671 w 679"/>
              <a:gd name="T23" fmla="*/ 416 h 451"/>
              <a:gd name="T24" fmla="*/ 679 w 679"/>
              <a:gd name="T25" fmla="*/ 41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9" h="451">
                <a:moveTo>
                  <a:pt x="679" y="412"/>
                </a:moveTo>
                <a:cubicBezTo>
                  <a:pt x="581" y="446"/>
                  <a:pt x="471" y="437"/>
                  <a:pt x="376" y="397"/>
                </a:cubicBezTo>
                <a:cubicBezTo>
                  <a:pt x="246" y="343"/>
                  <a:pt x="151" y="236"/>
                  <a:pt x="107" y="102"/>
                </a:cubicBezTo>
                <a:cubicBezTo>
                  <a:pt x="102" y="87"/>
                  <a:pt x="102" y="87"/>
                  <a:pt x="102" y="87"/>
                </a:cubicBezTo>
                <a:cubicBezTo>
                  <a:pt x="151" y="66"/>
                  <a:pt x="151" y="66"/>
                  <a:pt x="151" y="66"/>
                </a:cubicBezTo>
                <a:cubicBezTo>
                  <a:pt x="32" y="0"/>
                  <a:pt x="32" y="0"/>
                  <a:pt x="32" y="0"/>
                </a:cubicBezTo>
                <a:cubicBezTo>
                  <a:pt x="0" y="132"/>
                  <a:pt x="0" y="132"/>
                  <a:pt x="0" y="132"/>
                </a:cubicBezTo>
                <a:cubicBezTo>
                  <a:pt x="50" y="110"/>
                  <a:pt x="50" y="110"/>
                  <a:pt x="50" y="110"/>
                </a:cubicBezTo>
                <a:cubicBezTo>
                  <a:pt x="57" y="125"/>
                  <a:pt x="57" y="125"/>
                  <a:pt x="57" y="125"/>
                </a:cubicBezTo>
                <a:cubicBezTo>
                  <a:pt x="102" y="215"/>
                  <a:pt x="163" y="296"/>
                  <a:pt x="244" y="355"/>
                </a:cubicBezTo>
                <a:cubicBezTo>
                  <a:pt x="309" y="402"/>
                  <a:pt x="384" y="434"/>
                  <a:pt x="464" y="443"/>
                </a:cubicBezTo>
                <a:cubicBezTo>
                  <a:pt x="534" y="451"/>
                  <a:pt x="606" y="443"/>
                  <a:pt x="671" y="416"/>
                </a:cubicBezTo>
                <a:cubicBezTo>
                  <a:pt x="673" y="414"/>
                  <a:pt x="676" y="413"/>
                  <a:pt x="679" y="412"/>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ïṣ1îḍé">
            <a:extLst>
              <a:ext uri="{FF2B5EF4-FFF2-40B4-BE49-F238E27FC236}">
                <a16:creationId xmlns:a16="http://schemas.microsoft.com/office/drawing/2014/main" id="{30A3F4FC-067D-413C-A189-CB1461121B3B}"/>
              </a:ext>
            </a:extLst>
          </p:cNvPr>
          <p:cNvSpPr/>
          <p:nvPr/>
        </p:nvSpPr>
        <p:spPr bwMode="auto">
          <a:xfrm flipH="1">
            <a:off x="2952846" y="3552764"/>
            <a:ext cx="2627006" cy="766535"/>
          </a:xfrm>
          <a:custGeom>
            <a:avLst/>
            <a:gdLst>
              <a:gd name="T0" fmla="*/ 227 w 1569"/>
              <a:gd name="T1" fmla="*/ 0 h 469"/>
              <a:gd name="T2" fmla="*/ 0 w 1569"/>
              <a:gd name="T3" fmla="*/ 13 h 469"/>
              <a:gd name="T4" fmla="*/ 71 w 1569"/>
              <a:gd name="T5" fmla="*/ 229 h 469"/>
              <a:gd name="T6" fmla="*/ 114 w 1569"/>
              <a:gd name="T7" fmla="*/ 165 h 469"/>
              <a:gd name="T8" fmla="*/ 128 w 1569"/>
              <a:gd name="T9" fmla="*/ 173 h 469"/>
              <a:gd name="T10" fmla="*/ 669 w 1569"/>
              <a:gd name="T11" fmla="*/ 403 h 469"/>
              <a:gd name="T12" fmla="*/ 1096 w 1569"/>
              <a:gd name="T13" fmla="*/ 465 h 469"/>
              <a:gd name="T14" fmla="*/ 1569 w 1569"/>
              <a:gd name="T15" fmla="*/ 266 h 469"/>
              <a:gd name="T16" fmla="*/ 1425 w 1569"/>
              <a:gd name="T17" fmla="*/ 363 h 469"/>
              <a:gd name="T18" fmla="*/ 1096 w 1569"/>
              <a:gd name="T19" fmla="*/ 432 h 469"/>
              <a:gd name="T20" fmla="*/ 193 w 1569"/>
              <a:gd name="T21" fmla="*/ 80 h 469"/>
              <a:gd name="T22" fmla="*/ 179 w 1569"/>
              <a:gd name="T23" fmla="*/ 70 h 469"/>
              <a:gd name="T24" fmla="*/ 227 w 1569"/>
              <a:gd name="T25"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9" h="469">
                <a:moveTo>
                  <a:pt x="227" y="0"/>
                </a:moveTo>
                <a:cubicBezTo>
                  <a:pt x="0" y="13"/>
                  <a:pt x="0" y="13"/>
                  <a:pt x="0" y="13"/>
                </a:cubicBezTo>
                <a:cubicBezTo>
                  <a:pt x="71" y="229"/>
                  <a:pt x="71" y="229"/>
                  <a:pt x="71" y="229"/>
                </a:cubicBezTo>
                <a:cubicBezTo>
                  <a:pt x="114" y="165"/>
                  <a:pt x="114" y="165"/>
                  <a:pt x="114" y="165"/>
                </a:cubicBezTo>
                <a:cubicBezTo>
                  <a:pt x="128" y="173"/>
                  <a:pt x="128" y="173"/>
                  <a:pt x="128" y="173"/>
                </a:cubicBezTo>
                <a:cubicBezTo>
                  <a:pt x="299" y="266"/>
                  <a:pt x="481" y="349"/>
                  <a:pt x="669" y="403"/>
                </a:cubicBezTo>
                <a:cubicBezTo>
                  <a:pt x="806" y="443"/>
                  <a:pt x="953" y="469"/>
                  <a:pt x="1096" y="465"/>
                </a:cubicBezTo>
                <a:cubicBezTo>
                  <a:pt x="1276" y="459"/>
                  <a:pt x="1452" y="403"/>
                  <a:pt x="1569" y="266"/>
                </a:cubicBezTo>
                <a:cubicBezTo>
                  <a:pt x="1526" y="306"/>
                  <a:pt x="1478" y="338"/>
                  <a:pt x="1425" y="363"/>
                </a:cubicBezTo>
                <a:cubicBezTo>
                  <a:pt x="1323" y="413"/>
                  <a:pt x="1209" y="433"/>
                  <a:pt x="1096" y="432"/>
                </a:cubicBezTo>
                <a:cubicBezTo>
                  <a:pt x="774" y="429"/>
                  <a:pt x="449" y="263"/>
                  <a:pt x="193" y="80"/>
                </a:cubicBezTo>
                <a:cubicBezTo>
                  <a:pt x="179" y="70"/>
                  <a:pt x="179" y="70"/>
                  <a:pt x="179" y="70"/>
                </a:cubicBezTo>
                <a:lnTo>
                  <a:pt x="227" y="0"/>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9" name="ïṥļïḑe">
            <a:extLst>
              <a:ext uri="{FF2B5EF4-FFF2-40B4-BE49-F238E27FC236}">
                <a16:creationId xmlns:a16="http://schemas.microsoft.com/office/drawing/2014/main" id="{5C0C9634-F545-4CD6-9D5B-844AD09B049D}"/>
              </a:ext>
            </a:extLst>
          </p:cNvPr>
          <p:cNvSpPr/>
          <p:nvPr/>
        </p:nvSpPr>
        <p:spPr bwMode="auto">
          <a:xfrm flipH="1">
            <a:off x="2894584" y="4048220"/>
            <a:ext cx="2838207" cy="633533"/>
          </a:xfrm>
          <a:custGeom>
            <a:avLst/>
            <a:gdLst>
              <a:gd name="T0" fmla="*/ 243 w 1695"/>
              <a:gd name="T1" fmla="*/ 3 h 388"/>
              <a:gd name="T2" fmla="*/ 0 w 1695"/>
              <a:gd name="T3" fmla="*/ 59 h 388"/>
              <a:gd name="T4" fmla="*/ 117 w 1695"/>
              <a:gd name="T5" fmla="*/ 279 h 388"/>
              <a:gd name="T6" fmla="*/ 157 w 1695"/>
              <a:gd name="T7" fmla="*/ 191 h 388"/>
              <a:gd name="T8" fmla="*/ 173 w 1695"/>
              <a:gd name="T9" fmla="*/ 199 h 388"/>
              <a:gd name="T10" fmla="*/ 573 w 1695"/>
              <a:gd name="T11" fmla="*/ 342 h 388"/>
              <a:gd name="T12" fmla="*/ 957 w 1695"/>
              <a:gd name="T13" fmla="*/ 385 h 388"/>
              <a:gd name="T14" fmla="*/ 1567 w 1695"/>
              <a:gd name="T15" fmla="*/ 167 h 388"/>
              <a:gd name="T16" fmla="*/ 1695 w 1695"/>
              <a:gd name="T17" fmla="*/ 0 h 388"/>
              <a:gd name="T18" fmla="*/ 1390 w 1695"/>
              <a:gd name="T19" fmla="*/ 254 h 388"/>
              <a:gd name="T20" fmla="*/ 1176 w 1695"/>
              <a:gd name="T21" fmla="*/ 311 h 388"/>
              <a:gd name="T22" fmla="*/ 912 w 1695"/>
              <a:gd name="T23" fmla="*/ 311 h 388"/>
              <a:gd name="T24" fmla="*/ 595 w 1695"/>
              <a:gd name="T25" fmla="*/ 243 h 388"/>
              <a:gd name="T26" fmla="*/ 220 w 1695"/>
              <a:gd name="T27" fmla="*/ 94 h 388"/>
              <a:gd name="T28" fmla="*/ 205 w 1695"/>
              <a:gd name="T29" fmla="*/ 87 h 388"/>
              <a:gd name="T30" fmla="*/ 243 w 1695"/>
              <a:gd name="T31" fmla="*/ 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5" h="388">
                <a:moveTo>
                  <a:pt x="243" y="3"/>
                </a:moveTo>
                <a:cubicBezTo>
                  <a:pt x="0" y="59"/>
                  <a:pt x="0" y="59"/>
                  <a:pt x="0" y="59"/>
                </a:cubicBezTo>
                <a:cubicBezTo>
                  <a:pt x="117" y="279"/>
                  <a:pt x="117" y="279"/>
                  <a:pt x="117" y="279"/>
                </a:cubicBezTo>
                <a:cubicBezTo>
                  <a:pt x="157" y="191"/>
                  <a:pt x="157" y="191"/>
                  <a:pt x="157" y="191"/>
                </a:cubicBezTo>
                <a:cubicBezTo>
                  <a:pt x="173" y="199"/>
                  <a:pt x="173" y="199"/>
                  <a:pt x="173" y="199"/>
                </a:cubicBezTo>
                <a:cubicBezTo>
                  <a:pt x="301" y="261"/>
                  <a:pt x="435" y="310"/>
                  <a:pt x="573" y="342"/>
                </a:cubicBezTo>
                <a:cubicBezTo>
                  <a:pt x="698" y="372"/>
                  <a:pt x="828" y="388"/>
                  <a:pt x="957" y="385"/>
                </a:cubicBezTo>
                <a:cubicBezTo>
                  <a:pt x="1177" y="381"/>
                  <a:pt x="1404" y="321"/>
                  <a:pt x="1567" y="167"/>
                </a:cubicBezTo>
                <a:cubicBezTo>
                  <a:pt x="1620" y="117"/>
                  <a:pt x="1662" y="61"/>
                  <a:pt x="1695" y="0"/>
                </a:cubicBezTo>
                <a:cubicBezTo>
                  <a:pt x="1621" y="110"/>
                  <a:pt x="1519" y="199"/>
                  <a:pt x="1390" y="254"/>
                </a:cubicBezTo>
                <a:cubicBezTo>
                  <a:pt x="1322" y="283"/>
                  <a:pt x="1250" y="302"/>
                  <a:pt x="1176" y="311"/>
                </a:cubicBezTo>
                <a:cubicBezTo>
                  <a:pt x="1089" y="322"/>
                  <a:pt x="1000" y="321"/>
                  <a:pt x="912" y="311"/>
                </a:cubicBezTo>
                <a:cubicBezTo>
                  <a:pt x="805" y="299"/>
                  <a:pt x="698" y="274"/>
                  <a:pt x="595" y="243"/>
                </a:cubicBezTo>
                <a:cubicBezTo>
                  <a:pt x="467" y="203"/>
                  <a:pt x="342" y="152"/>
                  <a:pt x="220" y="94"/>
                </a:cubicBezTo>
                <a:cubicBezTo>
                  <a:pt x="205" y="87"/>
                  <a:pt x="205" y="87"/>
                  <a:pt x="205" y="87"/>
                </a:cubicBezTo>
                <a:lnTo>
                  <a:pt x="243" y="3"/>
                </a:ln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5" name="ïSḻíḋê">
            <a:extLst>
              <a:ext uri="{FF2B5EF4-FFF2-40B4-BE49-F238E27FC236}">
                <a16:creationId xmlns:a16="http://schemas.microsoft.com/office/drawing/2014/main" id="{6F287A3A-44FD-4049-855D-957234BB72DE}"/>
              </a:ext>
            </a:extLst>
          </p:cNvPr>
          <p:cNvGrpSpPr/>
          <p:nvPr/>
        </p:nvGrpSpPr>
        <p:grpSpPr>
          <a:xfrm>
            <a:off x="1676277" y="1760798"/>
            <a:ext cx="3469729" cy="1805165"/>
            <a:chOff x="1676277" y="1760798"/>
            <a:chExt cx="3469729" cy="1805165"/>
          </a:xfrm>
          <a:solidFill>
            <a:schemeClr val="bg2"/>
          </a:solidFill>
        </p:grpSpPr>
        <p:sp>
          <p:nvSpPr>
            <p:cNvPr id="272" name="is1ídé">
              <a:extLst>
                <a:ext uri="{FF2B5EF4-FFF2-40B4-BE49-F238E27FC236}">
                  <a16:creationId xmlns:a16="http://schemas.microsoft.com/office/drawing/2014/main" id="{D3EF7A45-BBA9-4D18-ADFF-913B61454C76}"/>
                </a:ext>
              </a:extLst>
            </p:cNvPr>
            <p:cNvSpPr/>
            <p:nvPr/>
          </p:nvSpPr>
          <p:spPr bwMode="auto">
            <a:xfrm flipH="1">
              <a:off x="3548995" y="2246101"/>
              <a:ext cx="296513" cy="405096"/>
            </a:xfrm>
            <a:custGeom>
              <a:avLst/>
              <a:gdLst>
                <a:gd name="T0" fmla="*/ 134 w 177"/>
                <a:gd name="T1" fmla="*/ 28 h 248"/>
                <a:gd name="T2" fmla="*/ 134 w 177"/>
                <a:gd name="T3" fmla="*/ 45 h 248"/>
                <a:gd name="T4" fmla="*/ 145 w 177"/>
                <a:gd name="T5" fmla="*/ 78 h 248"/>
                <a:gd name="T6" fmla="*/ 146 w 177"/>
                <a:gd name="T7" fmla="*/ 95 h 248"/>
                <a:gd name="T8" fmla="*/ 134 w 177"/>
                <a:gd name="T9" fmla="*/ 130 h 248"/>
                <a:gd name="T10" fmla="*/ 134 w 177"/>
                <a:gd name="T11" fmla="*/ 147 h 248"/>
                <a:gd name="T12" fmla="*/ 155 w 177"/>
                <a:gd name="T13" fmla="*/ 179 h 248"/>
                <a:gd name="T14" fmla="*/ 157 w 177"/>
                <a:gd name="T15" fmla="*/ 196 h 248"/>
                <a:gd name="T16" fmla="*/ 134 w 177"/>
                <a:gd name="T17" fmla="*/ 237 h 248"/>
                <a:gd name="T18" fmla="*/ 154 w 177"/>
                <a:gd name="T19" fmla="*/ 0 h 248"/>
                <a:gd name="T20" fmla="*/ 105 w 177"/>
                <a:gd name="T21" fmla="*/ 31 h 248"/>
                <a:gd name="T22" fmla="*/ 105 w 177"/>
                <a:gd name="T23" fmla="*/ 240 h 248"/>
                <a:gd name="T24" fmla="*/ 105 w 177"/>
                <a:gd name="T25" fmla="*/ 218 h 248"/>
                <a:gd name="T26" fmla="*/ 134 w 177"/>
                <a:gd name="T27" fmla="*/ 62 h 248"/>
                <a:gd name="T28" fmla="*/ 134 w 177"/>
                <a:gd name="T29" fmla="*/ 45 h 248"/>
                <a:gd name="T30" fmla="*/ 105 w 177"/>
                <a:gd name="T31" fmla="*/ 99 h 248"/>
                <a:gd name="T32" fmla="*/ 134 w 177"/>
                <a:gd name="T33" fmla="*/ 79 h 248"/>
                <a:gd name="T34" fmla="*/ 105 w 177"/>
                <a:gd name="T35" fmla="*/ 133 h 248"/>
                <a:gd name="T36" fmla="*/ 134 w 177"/>
                <a:gd name="T37" fmla="*/ 147 h 248"/>
                <a:gd name="T38" fmla="*/ 116 w 177"/>
                <a:gd name="T39" fmla="*/ 183 h 248"/>
                <a:gd name="T40" fmla="*/ 105 w 177"/>
                <a:gd name="T41" fmla="*/ 201 h 248"/>
                <a:gd name="T42" fmla="*/ 106 w 177"/>
                <a:gd name="T43" fmla="*/ 167 h 248"/>
                <a:gd name="T44" fmla="*/ 134 w 177"/>
                <a:gd name="T45" fmla="*/ 147 h 248"/>
                <a:gd name="T46" fmla="*/ 38 w 177"/>
                <a:gd name="T47" fmla="*/ 37 h 248"/>
                <a:gd name="T48" fmla="*/ 38 w 177"/>
                <a:gd name="T49" fmla="*/ 54 h 248"/>
                <a:gd name="T50" fmla="*/ 97 w 177"/>
                <a:gd name="T51" fmla="*/ 82 h 248"/>
                <a:gd name="T52" fmla="*/ 105 w 177"/>
                <a:gd name="T53" fmla="*/ 99 h 248"/>
                <a:gd name="T54" fmla="*/ 105 w 177"/>
                <a:gd name="T55" fmla="*/ 65 h 248"/>
                <a:gd name="T56" fmla="*/ 68 w 177"/>
                <a:gd name="T57" fmla="*/ 35 h 248"/>
                <a:gd name="T58" fmla="*/ 38 w 177"/>
                <a:gd name="T59" fmla="*/ 247 h 248"/>
                <a:gd name="T60" fmla="*/ 38 w 177"/>
                <a:gd name="T61" fmla="*/ 225 h 248"/>
                <a:gd name="T62" fmla="*/ 105 w 177"/>
                <a:gd name="T63" fmla="*/ 116 h 248"/>
                <a:gd name="T64" fmla="*/ 69 w 177"/>
                <a:gd name="T65" fmla="*/ 153 h 248"/>
                <a:gd name="T66" fmla="*/ 38 w 177"/>
                <a:gd name="T67" fmla="*/ 174 h 248"/>
                <a:gd name="T68" fmla="*/ 56 w 177"/>
                <a:gd name="T69" fmla="*/ 138 h 248"/>
                <a:gd name="T70" fmla="*/ 105 w 177"/>
                <a:gd name="T71" fmla="*/ 116 h 248"/>
                <a:gd name="T72" fmla="*/ 38 w 177"/>
                <a:gd name="T73" fmla="*/ 208 h 248"/>
                <a:gd name="T74" fmla="*/ 38 w 177"/>
                <a:gd name="T75" fmla="*/ 11 h 248"/>
                <a:gd name="T76" fmla="*/ 24 w 177"/>
                <a:gd name="T77" fmla="*/ 248 h 248"/>
                <a:gd name="T78" fmla="*/ 37 w 177"/>
                <a:gd name="T79" fmla="*/ 208 h 248"/>
                <a:gd name="T80" fmla="*/ 35 w 177"/>
                <a:gd name="T81" fmla="*/ 191 h 248"/>
                <a:gd name="T82" fmla="*/ 38 w 177"/>
                <a:gd name="T83" fmla="*/ 156 h 248"/>
                <a:gd name="T84" fmla="*/ 38 w 177"/>
                <a:gd name="T85" fmla="*/ 140 h 248"/>
                <a:gd name="T86" fmla="*/ 27 w 177"/>
                <a:gd name="T87" fmla="*/ 107 h 248"/>
                <a:gd name="T88" fmla="*/ 25 w 177"/>
                <a:gd name="T89" fmla="*/ 90 h 248"/>
                <a:gd name="T90" fmla="*/ 38 w 177"/>
                <a:gd name="T91" fmla="*/ 54 h 248"/>
                <a:gd name="T92" fmla="*/ 38 w 177"/>
                <a:gd name="T93" fmla="*/ 3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248">
                  <a:moveTo>
                    <a:pt x="154" y="0"/>
                  </a:moveTo>
                  <a:cubicBezTo>
                    <a:pt x="134" y="2"/>
                    <a:pt x="134" y="2"/>
                    <a:pt x="134" y="2"/>
                  </a:cubicBezTo>
                  <a:cubicBezTo>
                    <a:pt x="134" y="28"/>
                    <a:pt x="134" y="28"/>
                    <a:pt x="134" y="28"/>
                  </a:cubicBezTo>
                  <a:cubicBezTo>
                    <a:pt x="140" y="27"/>
                    <a:pt x="140" y="27"/>
                    <a:pt x="140" y="27"/>
                  </a:cubicBezTo>
                  <a:cubicBezTo>
                    <a:pt x="140" y="33"/>
                    <a:pt x="141" y="38"/>
                    <a:pt x="141" y="44"/>
                  </a:cubicBezTo>
                  <a:cubicBezTo>
                    <a:pt x="134" y="45"/>
                    <a:pt x="134" y="45"/>
                    <a:pt x="134" y="45"/>
                  </a:cubicBezTo>
                  <a:cubicBezTo>
                    <a:pt x="134" y="62"/>
                    <a:pt x="134" y="62"/>
                    <a:pt x="134" y="62"/>
                  </a:cubicBezTo>
                  <a:cubicBezTo>
                    <a:pt x="143" y="61"/>
                    <a:pt x="143" y="61"/>
                    <a:pt x="143" y="61"/>
                  </a:cubicBezTo>
                  <a:cubicBezTo>
                    <a:pt x="144" y="67"/>
                    <a:pt x="144" y="72"/>
                    <a:pt x="145" y="78"/>
                  </a:cubicBezTo>
                  <a:cubicBezTo>
                    <a:pt x="134" y="79"/>
                    <a:pt x="134" y="79"/>
                    <a:pt x="134" y="79"/>
                  </a:cubicBezTo>
                  <a:cubicBezTo>
                    <a:pt x="134" y="96"/>
                    <a:pt x="134" y="96"/>
                    <a:pt x="134" y="96"/>
                  </a:cubicBezTo>
                  <a:cubicBezTo>
                    <a:pt x="146" y="95"/>
                    <a:pt x="146" y="95"/>
                    <a:pt x="146" y="95"/>
                  </a:cubicBezTo>
                  <a:cubicBezTo>
                    <a:pt x="147" y="100"/>
                    <a:pt x="147" y="106"/>
                    <a:pt x="148" y="111"/>
                  </a:cubicBezTo>
                  <a:cubicBezTo>
                    <a:pt x="134" y="113"/>
                    <a:pt x="134" y="113"/>
                    <a:pt x="134" y="113"/>
                  </a:cubicBezTo>
                  <a:cubicBezTo>
                    <a:pt x="134" y="130"/>
                    <a:pt x="134" y="130"/>
                    <a:pt x="134" y="130"/>
                  </a:cubicBezTo>
                  <a:cubicBezTo>
                    <a:pt x="150" y="128"/>
                    <a:pt x="150" y="128"/>
                    <a:pt x="150" y="128"/>
                  </a:cubicBezTo>
                  <a:cubicBezTo>
                    <a:pt x="150" y="134"/>
                    <a:pt x="151" y="139"/>
                    <a:pt x="151" y="145"/>
                  </a:cubicBezTo>
                  <a:cubicBezTo>
                    <a:pt x="134" y="147"/>
                    <a:pt x="134" y="147"/>
                    <a:pt x="134" y="147"/>
                  </a:cubicBezTo>
                  <a:cubicBezTo>
                    <a:pt x="134" y="164"/>
                    <a:pt x="134" y="164"/>
                    <a:pt x="134" y="164"/>
                  </a:cubicBezTo>
                  <a:cubicBezTo>
                    <a:pt x="153" y="162"/>
                    <a:pt x="153" y="162"/>
                    <a:pt x="153" y="162"/>
                  </a:cubicBezTo>
                  <a:cubicBezTo>
                    <a:pt x="154" y="168"/>
                    <a:pt x="154" y="173"/>
                    <a:pt x="155" y="179"/>
                  </a:cubicBezTo>
                  <a:cubicBezTo>
                    <a:pt x="134" y="181"/>
                    <a:pt x="134" y="181"/>
                    <a:pt x="134" y="181"/>
                  </a:cubicBezTo>
                  <a:cubicBezTo>
                    <a:pt x="134" y="198"/>
                    <a:pt x="134" y="198"/>
                    <a:pt x="134" y="198"/>
                  </a:cubicBezTo>
                  <a:cubicBezTo>
                    <a:pt x="157" y="196"/>
                    <a:pt x="157" y="196"/>
                    <a:pt x="157" y="196"/>
                  </a:cubicBezTo>
                  <a:cubicBezTo>
                    <a:pt x="157" y="201"/>
                    <a:pt x="158" y="207"/>
                    <a:pt x="158" y="212"/>
                  </a:cubicBezTo>
                  <a:cubicBezTo>
                    <a:pt x="134" y="215"/>
                    <a:pt x="134" y="215"/>
                    <a:pt x="134" y="215"/>
                  </a:cubicBezTo>
                  <a:cubicBezTo>
                    <a:pt x="134" y="237"/>
                    <a:pt x="134" y="237"/>
                    <a:pt x="134" y="237"/>
                  </a:cubicBezTo>
                  <a:cubicBezTo>
                    <a:pt x="177" y="233"/>
                    <a:pt x="177" y="233"/>
                    <a:pt x="177" y="233"/>
                  </a:cubicBezTo>
                  <a:cubicBezTo>
                    <a:pt x="173" y="194"/>
                    <a:pt x="169" y="155"/>
                    <a:pt x="165" y="116"/>
                  </a:cubicBezTo>
                  <a:cubicBezTo>
                    <a:pt x="162" y="77"/>
                    <a:pt x="158" y="39"/>
                    <a:pt x="154" y="0"/>
                  </a:cubicBezTo>
                  <a:close/>
                  <a:moveTo>
                    <a:pt x="134" y="2"/>
                  </a:moveTo>
                  <a:cubicBezTo>
                    <a:pt x="105" y="5"/>
                    <a:pt x="105" y="5"/>
                    <a:pt x="105" y="5"/>
                  </a:cubicBezTo>
                  <a:cubicBezTo>
                    <a:pt x="105" y="31"/>
                    <a:pt x="105" y="31"/>
                    <a:pt x="105" y="31"/>
                  </a:cubicBezTo>
                  <a:cubicBezTo>
                    <a:pt x="134" y="28"/>
                    <a:pt x="134" y="28"/>
                    <a:pt x="134" y="28"/>
                  </a:cubicBezTo>
                  <a:cubicBezTo>
                    <a:pt x="134" y="2"/>
                    <a:pt x="134" y="2"/>
                    <a:pt x="134" y="2"/>
                  </a:cubicBezTo>
                  <a:close/>
                  <a:moveTo>
                    <a:pt x="105" y="240"/>
                  </a:moveTo>
                  <a:cubicBezTo>
                    <a:pt x="134" y="237"/>
                    <a:pt x="134" y="237"/>
                    <a:pt x="134" y="237"/>
                  </a:cubicBezTo>
                  <a:cubicBezTo>
                    <a:pt x="134" y="215"/>
                    <a:pt x="134" y="215"/>
                    <a:pt x="134" y="215"/>
                  </a:cubicBezTo>
                  <a:cubicBezTo>
                    <a:pt x="105" y="218"/>
                    <a:pt x="105" y="218"/>
                    <a:pt x="105" y="218"/>
                  </a:cubicBezTo>
                  <a:cubicBezTo>
                    <a:pt x="105" y="240"/>
                    <a:pt x="105" y="240"/>
                    <a:pt x="105" y="240"/>
                  </a:cubicBezTo>
                  <a:close/>
                  <a:moveTo>
                    <a:pt x="134" y="45"/>
                  </a:moveTo>
                  <a:cubicBezTo>
                    <a:pt x="134" y="62"/>
                    <a:pt x="134" y="62"/>
                    <a:pt x="134" y="62"/>
                  </a:cubicBezTo>
                  <a:cubicBezTo>
                    <a:pt x="105" y="65"/>
                    <a:pt x="105" y="65"/>
                    <a:pt x="105" y="65"/>
                  </a:cubicBezTo>
                  <a:cubicBezTo>
                    <a:pt x="105" y="48"/>
                    <a:pt x="105" y="48"/>
                    <a:pt x="105" y="48"/>
                  </a:cubicBezTo>
                  <a:cubicBezTo>
                    <a:pt x="134" y="45"/>
                    <a:pt x="134" y="45"/>
                    <a:pt x="134" y="45"/>
                  </a:cubicBezTo>
                  <a:close/>
                  <a:moveTo>
                    <a:pt x="134" y="79"/>
                  </a:moveTo>
                  <a:cubicBezTo>
                    <a:pt x="134" y="96"/>
                    <a:pt x="134" y="96"/>
                    <a:pt x="134" y="96"/>
                  </a:cubicBezTo>
                  <a:cubicBezTo>
                    <a:pt x="105" y="99"/>
                    <a:pt x="105" y="99"/>
                    <a:pt x="105" y="99"/>
                  </a:cubicBezTo>
                  <a:cubicBezTo>
                    <a:pt x="105" y="73"/>
                    <a:pt x="105" y="73"/>
                    <a:pt x="105" y="73"/>
                  </a:cubicBezTo>
                  <a:cubicBezTo>
                    <a:pt x="105" y="82"/>
                    <a:pt x="105" y="82"/>
                    <a:pt x="105" y="82"/>
                  </a:cubicBezTo>
                  <a:cubicBezTo>
                    <a:pt x="134" y="79"/>
                    <a:pt x="134" y="79"/>
                    <a:pt x="134" y="79"/>
                  </a:cubicBezTo>
                  <a:close/>
                  <a:moveTo>
                    <a:pt x="134" y="113"/>
                  </a:moveTo>
                  <a:cubicBezTo>
                    <a:pt x="134" y="130"/>
                    <a:pt x="134" y="130"/>
                    <a:pt x="134" y="130"/>
                  </a:cubicBezTo>
                  <a:cubicBezTo>
                    <a:pt x="105" y="133"/>
                    <a:pt x="105" y="133"/>
                    <a:pt x="105" y="133"/>
                  </a:cubicBezTo>
                  <a:cubicBezTo>
                    <a:pt x="105" y="116"/>
                    <a:pt x="105" y="116"/>
                    <a:pt x="105" y="116"/>
                  </a:cubicBezTo>
                  <a:cubicBezTo>
                    <a:pt x="134" y="113"/>
                    <a:pt x="134" y="113"/>
                    <a:pt x="134" y="113"/>
                  </a:cubicBezTo>
                  <a:close/>
                  <a:moveTo>
                    <a:pt x="134" y="147"/>
                  </a:moveTo>
                  <a:cubicBezTo>
                    <a:pt x="134" y="164"/>
                    <a:pt x="134" y="164"/>
                    <a:pt x="134" y="164"/>
                  </a:cubicBezTo>
                  <a:cubicBezTo>
                    <a:pt x="114" y="166"/>
                    <a:pt x="114" y="166"/>
                    <a:pt x="114" y="166"/>
                  </a:cubicBezTo>
                  <a:cubicBezTo>
                    <a:pt x="115" y="172"/>
                    <a:pt x="115" y="177"/>
                    <a:pt x="116" y="183"/>
                  </a:cubicBezTo>
                  <a:cubicBezTo>
                    <a:pt x="134" y="181"/>
                    <a:pt x="134" y="181"/>
                    <a:pt x="134" y="181"/>
                  </a:cubicBezTo>
                  <a:cubicBezTo>
                    <a:pt x="134" y="198"/>
                    <a:pt x="134" y="198"/>
                    <a:pt x="134" y="198"/>
                  </a:cubicBezTo>
                  <a:cubicBezTo>
                    <a:pt x="105" y="201"/>
                    <a:pt x="105" y="201"/>
                    <a:pt x="105" y="201"/>
                  </a:cubicBezTo>
                  <a:cubicBezTo>
                    <a:pt x="105" y="184"/>
                    <a:pt x="105" y="184"/>
                    <a:pt x="105" y="184"/>
                  </a:cubicBezTo>
                  <a:cubicBezTo>
                    <a:pt x="108" y="183"/>
                    <a:pt x="108" y="183"/>
                    <a:pt x="108" y="183"/>
                  </a:cubicBezTo>
                  <a:cubicBezTo>
                    <a:pt x="107" y="178"/>
                    <a:pt x="106" y="172"/>
                    <a:pt x="106" y="167"/>
                  </a:cubicBezTo>
                  <a:cubicBezTo>
                    <a:pt x="105" y="167"/>
                    <a:pt x="105" y="167"/>
                    <a:pt x="105" y="167"/>
                  </a:cubicBezTo>
                  <a:cubicBezTo>
                    <a:pt x="105" y="150"/>
                    <a:pt x="105" y="150"/>
                    <a:pt x="105" y="150"/>
                  </a:cubicBezTo>
                  <a:lnTo>
                    <a:pt x="134" y="147"/>
                  </a:lnTo>
                  <a:close/>
                  <a:moveTo>
                    <a:pt x="105" y="5"/>
                  </a:moveTo>
                  <a:cubicBezTo>
                    <a:pt x="38" y="11"/>
                    <a:pt x="38" y="11"/>
                    <a:pt x="38" y="11"/>
                  </a:cubicBezTo>
                  <a:cubicBezTo>
                    <a:pt x="38" y="37"/>
                    <a:pt x="38" y="37"/>
                    <a:pt x="38" y="37"/>
                  </a:cubicBezTo>
                  <a:cubicBezTo>
                    <a:pt x="55" y="36"/>
                    <a:pt x="55" y="36"/>
                    <a:pt x="55" y="36"/>
                  </a:cubicBezTo>
                  <a:cubicBezTo>
                    <a:pt x="56" y="41"/>
                    <a:pt x="56" y="47"/>
                    <a:pt x="57" y="53"/>
                  </a:cubicBezTo>
                  <a:cubicBezTo>
                    <a:pt x="38" y="54"/>
                    <a:pt x="38" y="54"/>
                    <a:pt x="38" y="54"/>
                  </a:cubicBezTo>
                  <a:cubicBezTo>
                    <a:pt x="38" y="72"/>
                    <a:pt x="38" y="72"/>
                    <a:pt x="38" y="72"/>
                  </a:cubicBezTo>
                  <a:cubicBezTo>
                    <a:pt x="96" y="66"/>
                    <a:pt x="96" y="66"/>
                    <a:pt x="96" y="66"/>
                  </a:cubicBezTo>
                  <a:cubicBezTo>
                    <a:pt x="96" y="71"/>
                    <a:pt x="97" y="77"/>
                    <a:pt x="97" y="82"/>
                  </a:cubicBezTo>
                  <a:cubicBezTo>
                    <a:pt x="38" y="88"/>
                    <a:pt x="38" y="88"/>
                    <a:pt x="38" y="88"/>
                  </a:cubicBezTo>
                  <a:cubicBezTo>
                    <a:pt x="38" y="106"/>
                    <a:pt x="38" y="106"/>
                    <a:pt x="38" y="106"/>
                  </a:cubicBezTo>
                  <a:cubicBezTo>
                    <a:pt x="105" y="99"/>
                    <a:pt x="105" y="99"/>
                    <a:pt x="105" y="99"/>
                  </a:cubicBezTo>
                  <a:cubicBezTo>
                    <a:pt x="105" y="73"/>
                    <a:pt x="105" y="73"/>
                    <a:pt x="105" y="73"/>
                  </a:cubicBezTo>
                  <a:cubicBezTo>
                    <a:pt x="104" y="65"/>
                    <a:pt x="104" y="65"/>
                    <a:pt x="104" y="65"/>
                  </a:cubicBezTo>
                  <a:cubicBezTo>
                    <a:pt x="105" y="65"/>
                    <a:pt x="105" y="65"/>
                    <a:pt x="105" y="65"/>
                  </a:cubicBezTo>
                  <a:cubicBezTo>
                    <a:pt x="105" y="48"/>
                    <a:pt x="105" y="48"/>
                    <a:pt x="105" y="48"/>
                  </a:cubicBezTo>
                  <a:cubicBezTo>
                    <a:pt x="70" y="51"/>
                    <a:pt x="70" y="51"/>
                    <a:pt x="70" y="51"/>
                  </a:cubicBezTo>
                  <a:cubicBezTo>
                    <a:pt x="69" y="46"/>
                    <a:pt x="68" y="40"/>
                    <a:pt x="68" y="35"/>
                  </a:cubicBezTo>
                  <a:cubicBezTo>
                    <a:pt x="105" y="31"/>
                    <a:pt x="105" y="31"/>
                    <a:pt x="105" y="31"/>
                  </a:cubicBezTo>
                  <a:cubicBezTo>
                    <a:pt x="105" y="5"/>
                    <a:pt x="105" y="5"/>
                    <a:pt x="105" y="5"/>
                  </a:cubicBezTo>
                  <a:close/>
                  <a:moveTo>
                    <a:pt x="38" y="247"/>
                  </a:moveTo>
                  <a:cubicBezTo>
                    <a:pt x="105" y="240"/>
                    <a:pt x="105" y="240"/>
                    <a:pt x="105" y="240"/>
                  </a:cubicBezTo>
                  <a:cubicBezTo>
                    <a:pt x="105" y="218"/>
                    <a:pt x="105" y="218"/>
                    <a:pt x="105" y="218"/>
                  </a:cubicBezTo>
                  <a:cubicBezTo>
                    <a:pt x="38" y="225"/>
                    <a:pt x="38" y="225"/>
                    <a:pt x="38" y="225"/>
                  </a:cubicBezTo>
                  <a:cubicBezTo>
                    <a:pt x="38" y="223"/>
                    <a:pt x="38" y="223"/>
                    <a:pt x="38" y="223"/>
                  </a:cubicBezTo>
                  <a:cubicBezTo>
                    <a:pt x="38" y="247"/>
                    <a:pt x="38" y="247"/>
                    <a:pt x="38" y="247"/>
                  </a:cubicBezTo>
                  <a:close/>
                  <a:moveTo>
                    <a:pt x="105" y="116"/>
                  </a:moveTo>
                  <a:cubicBezTo>
                    <a:pt x="105" y="133"/>
                    <a:pt x="105" y="133"/>
                    <a:pt x="105" y="133"/>
                  </a:cubicBezTo>
                  <a:cubicBezTo>
                    <a:pt x="67" y="137"/>
                    <a:pt x="67" y="137"/>
                    <a:pt x="67" y="137"/>
                  </a:cubicBezTo>
                  <a:cubicBezTo>
                    <a:pt x="68" y="142"/>
                    <a:pt x="69" y="148"/>
                    <a:pt x="69" y="153"/>
                  </a:cubicBezTo>
                  <a:cubicBezTo>
                    <a:pt x="105" y="150"/>
                    <a:pt x="105" y="150"/>
                    <a:pt x="105" y="150"/>
                  </a:cubicBezTo>
                  <a:cubicBezTo>
                    <a:pt x="105" y="167"/>
                    <a:pt x="105" y="167"/>
                    <a:pt x="105" y="167"/>
                  </a:cubicBezTo>
                  <a:cubicBezTo>
                    <a:pt x="38" y="174"/>
                    <a:pt x="38" y="174"/>
                    <a:pt x="38" y="174"/>
                  </a:cubicBezTo>
                  <a:cubicBezTo>
                    <a:pt x="38" y="156"/>
                    <a:pt x="38" y="156"/>
                    <a:pt x="38" y="156"/>
                  </a:cubicBezTo>
                  <a:cubicBezTo>
                    <a:pt x="58" y="154"/>
                    <a:pt x="58" y="154"/>
                    <a:pt x="58" y="154"/>
                  </a:cubicBezTo>
                  <a:cubicBezTo>
                    <a:pt x="58" y="149"/>
                    <a:pt x="57" y="143"/>
                    <a:pt x="56" y="138"/>
                  </a:cubicBezTo>
                  <a:cubicBezTo>
                    <a:pt x="38" y="140"/>
                    <a:pt x="38" y="140"/>
                    <a:pt x="38" y="140"/>
                  </a:cubicBezTo>
                  <a:cubicBezTo>
                    <a:pt x="38" y="122"/>
                    <a:pt x="38" y="122"/>
                    <a:pt x="38" y="122"/>
                  </a:cubicBezTo>
                  <a:cubicBezTo>
                    <a:pt x="105" y="116"/>
                    <a:pt x="105" y="116"/>
                    <a:pt x="105" y="116"/>
                  </a:cubicBezTo>
                  <a:close/>
                  <a:moveTo>
                    <a:pt x="105" y="184"/>
                  </a:moveTo>
                  <a:cubicBezTo>
                    <a:pt x="105" y="201"/>
                    <a:pt x="105" y="201"/>
                    <a:pt x="105" y="201"/>
                  </a:cubicBezTo>
                  <a:cubicBezTo>
                    <a:pt x="38" y="208"/>
                    <a:pt x="38" y="208"/>
                    <a:pt x="38" y="208"/>
                  </a:cubicBezTo>
                  <a:cubicBezTo>
                    <a:pt x="38" y="190"/>
                    <a:pt x="38" y="190"/>
                    <a:pt x="38" y="190"/>
                  </a:cubicBezTo>
                  <a:lnTo>
                    <a:pt x="105" y="184"/>
                  </a:lnTo>
                  <a:close/>
                  <a:moveTo>
                    <a:pt x="38" y="11"/>
                  </a:moveTo>
                  <a:cubicBezTo>
                    <a:pt x="0" y="15"/>
                    <a:pt x="0" y="15"/>
                    <a:pt x="0" y="15"/>
                  </a:cubicBezTo>
                  <a:cubicBezTo>
                    <a:pt x="4" y="54"/>
                    <a:pt x="8" y="93"/>
                    <a:pt x="12" y="132"/>
                  </a:cubicBezTo>
                  <a:cubicBezTo>
                    <a:pt x="16" y="171"/>
                    <a:pt x="20" y="209"/>
                    <a:pt x="24" y="248"/>
                  </a:cubicBezTo>
                  <a:cubicBezTo>
                    <a:pt x="38" y="247"/>
                    <a:pt x="38" y="247"/>
                    <a:pt x="38" y="247"/>
                  </a:cubicBezTo>
                  <a:cubicBezTo>
                    <a:pt x="38" y="223"/>
                    <a:pt x="38" y="223"/>
                    <a:pt x="38" y="223"/>
                  </a:cubicBezTo>
                  <a:cubicBezTo>
                    <a:pt x="37" y="208"/>
                    <a:pt x="37" y="208"/>
                    <a:pt x="37" y="208"/>
                  </a:cubicBezTo>
                  <a:cubicBezTo>
                    <a:pt x="38" y="208"/>
                    <a:pt x="38" y="208"/>
                    <a:pt x="38" y="208"/>
                  </a:cubicBezTo>
                  <a:cubicBezTo>
                    <a:pt x="38" y="190"/>
                    <a:pt x="38" y="190"/>
                    <a:pt x="38" y="190"/>
                  </a:cubicBezTo>
                  <a:cubicBezTo>
                    <a:pt x="35" y="191"/>
                    <a:pt x="35" y="191"/>
                    <a:pt x="35" y="191"/>
                  </a:cubicBezTo>
                  <a:cubicBezTo>
                    <a:pt x="35" y="185"/>
                    <a:pt x="34" y="180"/>
                    <a:pt x="33" y="174"/>
                  </a:cubicBezTo>
                  <a:cubicBezTo>
                    <a:pt x="38" y="174"/>
                    <a:pt x="38" y="174"/>
                    <a:pt x="38" y="174"/>
                  </a:cubicBezTo>
                  <a:cubicBezTo>
                    <a:pt x="38" y="156"/>
                    <a:pt x="38" y="156"/>
                    <a:pt x="38" y="156"/>
                  </a:cubicBezTo>
                  <a:cubicBezTo>
                    <a:pt x="32" y="157"/>
                    <a:pt x="32" y="157"/>
                    <a:pt x="32" y="157"/>
                  </a:cubicBezTo>
                  <a:cubicBezTo>
                    <a:pt x="31" y="152"/>
                    <a:pt x="31" y="146"/>
                    <a:pt x="30" y="140"/>
                  </a:cubicBezTo>
                  <a:cubicBezTo>
                    <a:pt x="38" y="140"/>
                    <a:pt x="38" y="140"/>
                    <a:pt x="38" y="140"/>
                  </a:cubicBezTo>
                  <a:cubicBezTo>
                    <a:pt x="38" y="122"/>
                    <a:pt x="38" y="122"/>
                    <a:pt x="38" y="122"/>
                  </a:cubicBezTo>
                  <a:cubicBezTo>
                    <a:pt x="28" y="123"/>
                    <a:pt x="28" y="123"/>
                    <a:pt x="28" y="123"/>
                  </a:cubicBezTo>
                  <a:cubicBezTo>
                    <a:pt x="28" y="118"/>
                    <a:pt x="27" y="112"/>
                    <a:pt x="27" y="107"/>
                  </a:cubicBezTo>
                  <a:cubicBezTo>
                    <a:pt x="38" y="106"/>
                    <a:pt x="38" y="106"/>
                    <a:pt x="38" y="106"/>
                  </a:cubicBezTo>
                  <a:cubicBezTo>
                    <a:pt x="38" y="88"/>
                    <a:pt x="38" y="88"/>
                    <a:pt x="38" y="88"/>
                  </a:cubicBezTo>
                  <a:cubicBezTo>
                    <a:pt x="25" y="90"/>
                    <a:pt x="25" y="90"/>
                    <a:pt x="25" y="90"/>
                  </a:cubicBezTo>
                  <a:cubicBezTo>
                    <a:pt x="24" y="84"/>
                    <a:pt x="24" y="79"/>
                    <a:pt x="23" y="73"/>
                  </a:cubicBezTo>
                  <a:cubicBezTo>
                    <a:pt x="38" y="72"/>
                    <a:pt x="38" y="72"/>
                    <a:pt x="38" y="72"/>
                  </a:cubicBezTo>
                  <a:cubicBezTo>
                    <a:pt x="38" y="54"/>
                    <a:pt x="38" y="54"/>
                    <a:pt x="38" y="54"/>
                  </a:cubicBezTo>
                  <a:cubicBezTo>
                    <a:pt x="21" y="56"/>
                    <a:pt x="21" y="56"/>
                    <a:pt x="21" y="56"/>
                  </a:cubicBezTo>
                  <a:cubicBezTo>
                    <a:pt x="21" y="51"/>
                    <a:pt x="20" y="45"/>
                    <a:pt x="20" y="39"/>
                  </a:cubicBezTo>
                  <a:cubicBezTo>
                    <a:pt x="38" y="37"/>
                    <a:pt x="38" y="37"/>
                    <a:pt x="38" y="37"/>
                  </a:cubicBezTo>
                  <a:lnTo>
                    <a:pt x="38" y="11"/>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3" name="îšľîḓé">
              <a:extLst>
                <a:ext uri="{FF2B5EF4-FFF2-40B4-BE49-F238E27FC236}">
                  <a16:creationId xmlns:a16="http://schemas.microsoft.com/office/drawing/2014/main" id="{07367467-E54D-4C49-A95C-57486E4C3F1F}"/>
                </a:ext>
              </a:extLst>
            </p:cNvPr>
            <p:cNvSpPr/>
            <p:nvPr/>
          </p:nvSpPr>
          <p:spPr bwMode="auto">
            <a:xfrm flipH="1">
              <a:off x="3237915" y="1851158"/>
              <a:ext cx="302756" cy="783794"/>
            </a:xfrm>
            <a:custGeom>
              <a:avLst/>
              <a:gdLst>
                <a:gd name="T0" fmla="*/ 154 w 181"/>
                <a:gd name="T1" fmla="*/ 0 h 480"/>
                <a:gd name="T2" fmla="*/ 154 w 181"/>
                <a:gd name="T3" fmla="*/ 407 h 480"/>
                <a:gd name="T4" fmla="*/ 123 w 181"/>
                <a:gd name="T5" fmla="*/ 20 h 480"/>
                <a:gd name="T6" fmla="*/ 125 w 181"/>
                <a:gd name="T7" fmla="*/ 121 h 480"/>
                <a:gd name="T8" fmla="*/ 127 w 181"/>
                <a:gd name="T9" fmla="*/ 55 h 480"/>
                <a:gd name="T10" fmla="*/ 125 w 181"/>
                <a:gd name="T11" fmla="*/ 221 h 480"/>
                <a:gd name="T12" fmla="*/ 128 w 181"/>
                <a:gd name="T13" fmla="*/ 206 h 480"/>
                <a:gd name="T14" fmla="*/ 123 w 181"/>
                <a:gd name="T15" fmla="*/ 156 h 480"/>
                <a:gd name="T16" fmla="*/ 130 w 181"/>
                <a:gd name="T17" fmla="*/ 322 h 480"/>
                <a:gd name="T18" fmla="*/ 122 w 181"/>
                <a:gd name="T19" fmla="*/ 307 h 480"/>
                <a:gd name="T20" fmla="*/ 130 w 181"/>
                <a:gd name="T21" fmla="*/ 256 h 480"/>
                <a:gd name="T22" fmla="*/ 128 w 181"/>
                <a:gd name="T23" fmla="*/ 357 h 480"/>
                <a:gd name="T24" fmla="*/ 117 w 181"/>
                <a:gd name="T25" fmla="*/ 20 h 480"/>
                <a:gd name="T26" fmla="*/ 119 w 181"/>
                <a:gd name="T27" fmla="*/ 55 h 480"/>
                <a:gd name="T28" fmla="*/ 119 w 181"/>
                <a:gd name="T29" fmla="*/ 121 h 480"/>
                <a:gd name="T30" fmla="*/ 119 w 181"/>
                <a:gd name="T31" fmla="*/ 156 h 480"/>
                <a:gd name="T32" fmla="*/ 119 w 181"/>
                <a:gd name="T33" fmla="*/ 171 h 480"/>
                <a:gd name="T34" fmla="*/ 118 w 181"/>
                <a:gd name="T35" fmla="*/ 221 h 480"/>
                <a:gd name="T36" fmla="*/ 120 w 181"/>
                <a:gd name="T37" fmla="*/ 206 h 480"/>
                <a:gd name="T38" fmla="*/ 120 w 181"/>
                <a:gd name="T39" fmla="*/ 256 h 480"/>
                <a:gd name="T40" fmla="*/ 118 w 181"/>
                <a:gd name="T41" fmla="*/ 322 h 480"/>
                <a:gd name="T42" fmla="*/ 120 w 181"/>
                <a:gd name="T43" fmla="*/ 357 h 480"/>
                <a:gd name="T44" fmla="*/ 95 w 181"/>
                <a:gd name="T45" fmla="*/ 20 h 480"/>
                <a:gd name="T46" fmla="*/ 96 w 181"/>
                <a:gd name="T47" fmla="*/ 70 h 480"/>
                <a:gd name="T48" fmla="*/ 92 w 181"/>
                <a:gd name="T49" fmla="*/ 55 h 480"/>
                <a:gd name="T50" fmla="*/ 91 w 181"/>
                <a:gd name="T51" fmla="*/ 105 h 480"/>
                <a:gd name="T52" fmla="*/ 97 w 181"/>
                <a:gd name="T53" fmla="*/ 221 h 480"/>
                <a:gd name="T54" fmla="*/ 97 w 181"/>
                <a:gd name="T55" fmla="*/ 272 h 480"/>
                <a:gd name="T56" fmla="*/ 91 w 181"/>
                <a:gd name="T57" fmla="*/ 256 h 480"/>
                <a:gd name="T58" fmla="*/ 91 w 181"/>
                <a:gd name="T59" fmla="*/ 407 h 480"/>
                <a:gd name="T60" fmla="*/ 95 w 181"/>
                <a:gd name="T61" fmla="*/ 372 h 480"/>
                <a:gd name="T62" fmla="*/ 94 w 181"/>
                <a:gd name="T63" fmla="*/ 307 h 480"/>
                <a:gd name="T64" fmla="*/ 87 w 181"/>
                <a:gd name="T65" fmla="*/ 20 h 480"/>
                <a:gd name="T66" fmla="*/ 87 w 181"/>
                <a:gd name="T67" fmla="*/ 55 h 480"/>
                <a:gd name="T68" fmla="*/ 86 w 181"/>
                <a:gd name="T69" fmla="*/ 70 h 480"/>
                <a:gd name="T70" fmla="*/ 61 w 181"/>
                <a:gd name="T71" fmla="*/ 70 h 480"/>
                <a:gd name="T72" fmla="*/ 63 w 181"/>
                <a:gd name="T73" fmla="*/ 458 h 480"/>
                <a:gd name="T74" fmla="*/ 63 w 181"/>
                <a:gd name="T75" fmla="*/ 171 h 480"/>
                <a:gd name="T76" fmla="*/ 62 w 181"/>
                <a:gd name="T77" fmla="*/ 105 h 480"/>
                <a:gd name="T78" fmla="*/ 87 w 181"/>
                <a:gd name="T79" fmla="*/ 105 h 480"/>
                <a:gd name="T80" fmla="*/ 86 w 181"/>
                <a:gd name="T81" fmla="*/ 221 h 480"/>
                <a:gd name="T82" fmla="*/ 88 w 181"/>
                <a:gd name="T83" fmla="*/ 256 h 480"/>
                <a:gd name="T84" fmla="*/ 85 w 181"/>
                <a:gd name="T85" fmla="*/ 272 h 480"/>
                <a:gd name="T86" fmla="*/ 60 w 181"/>
                <a:gd name="T87" fmla="*/ 272 h 480"/>
                <a:gd name="T88" fmla="*/ 65 w 181"/>
                <a:gd name="T89" fmla="*/ 206 h 480"/>
                <a:gd name="T90" fmla="*/ 84 w 181"/>
                <a:gd name="T91" fmla="*/ 372 h 480"/>
                <a:gd name="T92" fmla="*/ 59 w 181"/>
                <a:gd name="T93" fmla="*/ 372 h 480"/>
                <a:gd name="T94" fmla="*/ 65 w 181"/>
                <a:gd name="T95" fmla="*/ 307 h 480"/>
                <a:gd name="T96" fmla="*/ 90 w 181"/>
                <a:gd name="T97" fmla="*/ 407 h 480"/>
                <a:gd name="T98" fmla="*/ 59 w 181"/>
                <a:gd name="T99" fmla="*/ 407 h 480"/>
                <a:gd name="T100" fmla="*/ 84 w 181"/>
                <a:gd name="T101" fmla="*/ 407 h 480"/>
                <a:gd name="T102" fmla="*/ 57 w 181"/>
                <a:gd name="T103" fmla="*/ 70 h 480"/>
                <a:gd name="T104" fmla="*/ 54 w 181"/>
                <a:gd name="T105" fmla="*/ 105 h 480"/>
                <a:gd name="T106" fmla="*/ 57 w 181"/>
                <a:gd name="T107" fmla="*/ 171 h 480"/>
                <a:gd name="T108" fmla="*/ 59 w 181"/>
                <a:gd name="T109" fmla="*/ 480 h 480"/>
                <a:gd name="T110" fmla="*/ 58 w 181"/>
                <a:gd name="T111" fmla="*/ 407 h 480"/>
                <a:gd name="T112" fmla="*/ 52 w 181"/>
                <a:gd name="T113" fmla="*/ 423 h 480"/>
                <a:gd name="T114" fmla="*/ 52 w 181"/>
                <a:gd name="T115" fmla="*/ 221 h 480"/>
                <a:gd name="T116" fmla="*/ 52 w 181"/>
                <a:gd name="T117" fmla="*/ 307 h 480"/>
                <a:gd name="T118" fmla="*/ 59 w 181"/>
                <a:gd name="T119" fmla="*/ 357 h 480"/>
                <a:gd name="T120" fmla="*/ 27 w 181"/>
                <a:gd name="T121" fmla="*/ 357 h 480"/>
                <a:gd name="T122" fmla="*/ 57 w 181"/>
                <a:gd name="T123" fmla="*/ 206 h 480"/>
                <a:gd name="T124" fmla="*/ 27 w 181"/>
                <a:gd name="T125"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480">
                  <a:moveTo>
                    <a:pt x="154" y="0"/>
                  </a:moveTo>
                  <a:cubicBezTo>
                    <a:pt x="181" y="0"/>
                    <a:pt x="181" y="0"/>
                    <a:pt x="181" y="0"/>
                  </a:cubicBezTo>
                  <a:cubicBezTo>
                    <a:pt x="181" y="80"/>
                    <a:pt x="181" y="160"/>
                    <a:pt x="181" y="240"/>
                  </a:cubicBezTo>
                  <a:cubicBezTo>
                    <a:pt x="181" y="320"/>
                    <a:pt x="181" y="400"/>
                    <a:pt x="181" y="480"/>
                  </a:cubicBezTo>
                  <a:cubicBezTo>
                    <a:pt x="154" y="480"/>
                    <a:pt x="154" y="480"/>
                    <a:pt x="154" y="480"/>
                  </a:cubicBezTo>
                  <a:cubicBezTo>
                    <a:pt x="154" y="458"/>
                    <a:pt x="154" y="458"/>
                    <a:pt x="154" y="458"/>
                  </a:cubicBezTo>
                  <a:cubicBezTo>
                    <a:pt x="162" y="458"/>
                    <a:pt x="162" y="458"/>
                    <a:pt x="162" y="458"/>
                  </a:cubicBezTo>
                  <a:cubicBezTo>
                    <a:pt x="162" y="446"/>
                    <a:pt x="162" y="434"/>
                    <a:pt x="162" y="423"/>
                  </a:cubicBezTo>
                  <a:cubicBezTo>
                    <a:pt x="154" y="423"/>
                    <a:pt x="154" y="423"/>
                    <a:pt x="154" y="423"/>
                  </a:cubicBezTo>
                  <a:cubicBezTo>
                    <a:pt x="154" y="407"/>
                    <a:pt x="154" y="407"/>
                    <a:pt x="154" y="407"/>
                  </a:cubicBezTo>
                  <a:cubicBezTo>
                    <a:pt x="162" y="407"/>
                    <a:pt x="162" y="407"/>
                    <a:pt x="162" y="407"/>
                  </a:cubicBezTo>
                  <a:cubicBezTo>
                    <a:pt x="162" y="396"/>
                    <a:pt x="162" y="384"/>
                    <a:pt x="162" y="372"/>
                  </a:cubicBezTo>
                  <a:cubicBezTo>
                    <a:pt x="154" y="372"/>
                    <a:pt x="154" y="372"/>
                    <a:pt x="154" y="372"/>
                  </a:cubicBezTo>
                  <a:cubicBezTo>
                    <a:pt x="154" y="357"/>
                    <a:pt x="154" y="357"/>
                    <a:pt x="154" y="357"/>
                  </a:cubicBezTo>
                  <a:cubicBezTo>
                    <a:pt x="162" y="357"/>
                    <a:pt x="162" y="357"/>
                    <a:pt x="162" y="357"/>
                  </a:cubicBezTo>
                  <a:cubicBezTo>
                    <a:pt x="162" y="345"/>
                    <a:pt x="162" y="334"/>
                    <a:pt x="162" y="322"/>
                  </a:cubicBezTo>
                  <a:cubicBezTo>
                    <a:pt x="154" y="322"/>
                    <a:pt x="154" y="322"/>
                    <a:pt x="154" y="322"/>
                  </a:cubicBezTo>
                  <a:cubicBezTo>
                    <a:pt x="154" y="307"/>
                    <a:pt x="154" y="307"/>
                    <a:pt x="154" y="307"/>
                  </a:cubicBezTo>
                  <a:cubicBezTo>
                    <a:pt x="162" y="307"/>
                    <a:pt x="162" y="307"/>
                    <a:pt x="162" y="307"/>
                  </a:cubicBezTo>
                  <a:cubicBezTo>
                    <a:pt x="162" y="295"/>
                    <a:pt x="162" y="283"/>
                    <a:pt x="162" y="272"/>
                  </a:cubicBezTo>
                  <a:cubicBezTo>
                    <a:pt x="154" y="272"/>
                    <a:pt x="154" y="272"/>
                    <a:pt x="154" y="272"/>
                  </a:cubicBezTo>
                  <a:cubicBezTo>
                    <a:pt x="154" y="256"/>
                    <a:pt x="154" y="256"/>
                    <a:pt x="154" y="256"/>
                  </a:cubicBezTo>
                  <a:cubicBezTo>
                    <a:pt x="162" y="256"/>
                    <a:pt x="162" y="256"/>
                    <a:pt x="162" y="256"/>
                  </a:cubicBezTo>
                  <a:cubicBezTo>
                    <a:pt x="162" y="245"/>
                    <a:pt x="162" y="233"/>
                    <a:pt x="162" y="221"/>
                  </a:cubicBezTo>
                  <a:cubicBezTo>
                    <a:pt x="154" y="221"/>
                    <a:pt x="154" y="221"/>
                    <a:pt x="154" y="221"/>
                  </a:cubicBezTo>
                  <a:cubicBezTo>
                    <a:pt x="154" y="206"/>
                    <a:pt x="154" y="206"/>
                    <a:pt x="154" y="206"/>
                  </a:cubicBezTo>
                  <a:cubicBezTo>
                    <a:pt x="162" y="206"/>
                    <a:pt x="162" y="206"/>
                    <a:pt x="162" y="206"/>
                  </a:cubicBezTo>
                  <a:cubicBezTo>
                    <a:pt x="162" y="194"/>
                    <a:pt x="162" y="183"/>
                    <a:pt x="162" y="171"/>
                  </a:cubicBezTo>
                  <a:cubicBezTo>
                    <a:pt x="154" y="171"/>
                    <a:pt x="154" y="171"/>
                    <a:pt x="154" y="171"/>
                  </a:cubicBezTo>
                  <a:cubicBezTo>
                    <a:pt x="154" y="156"/>
                    <a:pt x="154" y="156"/>
                    <a:pt x="154" y="156"/>
                  </a:cubicBezTo>
                  <a:cubicBezTo>
                    <a:pt x="162" y="156"/>
                    <a:pt x="162" y="156"/>
                    <a:pt x="162" y="156"/>
                  </a:cubicBezTo>
                  <a:cubicBezTo>
                    <a:pt x="162" y="144"/>
                    <a:pt x="162" y="132"/>
                    <a:pt x="162" y="121"/>
                  </a:cubicBezTo>
                  <a:cubicBezTo>
                    <a:pt x="154" y="121"/>
                    <a:pt x="154" y="121"/>
                    <a:pt x="154" y="121"/>
                  </a:cubicBezTo>
                  <a:cubicBezTo>
                    <a:pt x="154" y="105"/>
                    <a:pt x="154" y="105"/>
                    <a:pt x="154" y="105"/>
                  </a:cubicBezTo>
                  <a:cubicBezTo>
                    <a:pt x="162" y="105"/>
                    <a:pt x="162" y="105"/>
                    <a:pt x="162" y="105"/>
                  </a:cubicBezTo>
                  <a:cubicBezTo>
                    <a:pt x="162" y="94"/>
                    <a:pt x="162" y="82"/>
                    <a:pt x="162" y="70"/>
                  </a:cubicBezTo>
                  <a:cubicBezTo>
                    <a:pt x="154" y="70"/>
                    <a:pt x="154" y="70"/>
                    <a:pt x="154" y="70"/>
                  </a:cubicBezTo>
                  <a:cubicBezTo>
                    <a:pt x="154" y="55"/>
                    <a:pt x="154" y="55"/>
                    <a:pt x="154" y="55"/>
                  </a:cubicBezTo>
                  <a:cubicBezTo>
                    <a:pt x="162" y="55"/>
                    <a:pt x="162" y="55"/>
                    <a:pt x="162" y="55"/>
                  </a:cubicBezTo>
                  <a:cubicBezTo>
                    <a:pt x="162" y="43"/>
                    <a:pt x="162" y="32"/>
                    <a:pt x="162" y="20"/>
                  </a:cubicBezTo>
                  <a:cubicBezTo>
                    <a:pt x="154" y="20"/>
                    <a:pt x="154" y="20"/>
                    <a:pt x="154" y="20"/>
                  </a:cubicBezTo>
                  <a:lnTo>
                    <a:pt x="154" y="0"/>
                  </a:lnTo>
                  <a:close/>
                  <a:moveTo>
                    <a:pt x="138" y="0"/>
                  </a:moveTo>
                  <a:cubicBezTo>
                    <a:pt x="154" y="0"/>
                    <a:pt x="154" y="0"/>
                    <a:pt x="154" y="0"/>
                  </a:cubicBezTo>
                  <a:cubicBezTo>
                    <a:pt x="154" y="20"/>
                    <a:pt x="154" y="20"/>
                    <a:pt x="154" y="20"/>
                  </a:cubicBezTo>
                  <a:cubicBezTo>
                    <a:pt x="138" y="20"/>
                    <a:pt x="138" y="20"/>
                    <a:pt x="138" y="20"/>
                  </a:cubicBezTo>
                  <a:cubicBezTo>
                    <a:pt x="138" y="0"/>
                    <a:pt x="138" y="0"/>
                    <a:pt x="138" y="0"/>
                  </a:cubicBezTo>
                  <a:close/>
                  <a:moveTo>
                    <a:pt x="154" y="480"/>
                  </a:moveTo>
                  <a:cubicBezTo>
                    <a:pt x="138" y="480"/>
                    <a:pt x="138" y="480"/>
                    <a:pt x="138" y="480"/>
                  </a:cubicBezTo>
                  <a:cubicBezTo>
                    <a:pt x="138" y="458"/>
                    <a:pt x="138" y="458"/>
                    <a:pt x="138" y="458"/>
                  </a:cubicBezTo>
                  <a:cubicBezTo>
                    <a:pt x="154" y="458"/>
                    <a:pt x="154" y="458"/>
                    <a:pt x="154" y="458"/>
                  </a:cubicBezTo>
                  <a:cubicBezTo>
                    <a:pt x="154" y="480"/>
                    <a:pt x="154" y="480"/>
                    <a:pt x="154" y="480"/>
                  </a:cubicBezTo>
                  <a:close/>
                  <a:moveTo>
                    <a:pt x="154" y="55"/>
                  </a:moveTo>
                  <a:cubicBezTo>
                    <a:pt x="154" y="70"/>
                    <a:pt x="154" y="70"/>
                    <a:pt x="154" y="70"/>
                  </a:cubicBezTo>
                  <a:cubicBezTo>
                    <a:pt x="147" y="70"/>
                    <a:pt x="147" y="70"/>
                    <a:pt x="147" y="70"/>
                  </a:cubicBezTo>
                  <a:cubicBezTo>
                    <a:pt x="147" y="82"/>
                    <a:pt x="147" y="94"/>
                    <a:pt x="147" y="105"/>
                  </a:cubicBezTo>
                  <a:cubicBezTo>
                    <a:pt x="154" y="105"/>
                    <a:pt x="154" y="105"/>
                    <a:pt x="154" y="105"/>
                  </a:cubicBezTo>
                  <a:cubicBezTo>
                    <a:pt x="154" y="121"/>
                    <a:pt x="154" y="121"/>
                    <a:pt x="154" y="121"/>
                  </a:cubicBezTo>
                  <a:cubicBezTo>
                    <a:pt x="138" y="121"/>
                    <a:pt x="138" y="121"/>
                    <a:pt x="138" y="121"/>
                  </a:cubicBezTo>
                  <a:cubicBezTo>
                    <a:pt x="138" y="55"/>
                    <a:pt x="138" y="55"/>
                    <a:pt x="138" y="55"/>
                  </a:cubicBezTo>
                  <a:cubicBezTo>
                    <a:pt x="154" y="55"/>
                    <a:pt x="154" y="55"/>
                    <a:pt x="154" y="55"/>
                  </a:cubicBezTo>
                  <a:close/>
                  <a:moveTo>
                    <a:pt x="154" y="156"/>
                  </a:moveTo>
                  <a:cubicBezTo>
                    <a:pt x="154" y="171"/>
                    <a:pt x="154" y="171"/>
                    <a:pt x="154" y="171"/>
                  </a:cubicBezTo>
                  <a:cubicBezTo>
                    <a:pt x="147" y="171"/>
                    <a:pt x="147" y="171"/>
                    <a:pt x="147" y="171"/>
                  </a:cubicBezTo>
                  <a:cubicBezTo>
                    <a:pt x="147" y="183"/>
                    <a:pt x="147" y="194"/>
                    <a:pt x="147" y="206"/>
                  </a:cubicBezTo>
                  <a:cubicBezTo>
                    <a:pt x="154" y="206"/>
                    <a:pt x="154" y="206"/>
                    <a:pt x="154" y="206"/>
                  </a:cubicBezTo>
                  <a:cubicBezTo>
                    <a:pt x="154" y="221"/>
                    <a:pt x="154" y="221"/>
                    <a:pt x="154" y="221"/>
                  </a:cubicBezTo>
                  <a:cubicBezTo>
                    <a:pt x="138" y="221"/>
                    <a:pt x="138" y="221"/>
                    <a:pt x="138" y="221"/>
                  </a:cubicBezTo>
                  <a:cubicBezTo>
                    <a:pt x="138" y="156"/>
                    <a:pt x="138" y="156"/>
                    <a:pt x="138" y="156"/>
                  </a:cubicBezTo>
                  <a:cubicBezTo>
                    <a:pt x="154" y="156"/>
                    <a:pt x="154" y="156"/>
                    <a:pt x="154" y="156"/>
                  </a:cubicBezTo>
                  <a:close/>
                  <a:moveTo>
                    <a:pt x="154" y="256"/>
                  </a:moveTo>
                  <a:cubicBezTo>
                    <a:pt x="154" y="272"/>
                    <a:pt x="154" y="272"/>
                    <a:pt x="154" y="272"/>
                  </a:cubicBezTo>
                  <a:cubicBezTo>
                    <a:pt x="147" y="272"/>
                    <a:pt x="147" y="272"/>
                    <a:pt x="147" y="272"/>
                  </a:cubicBezTo>
                  <a:cubicBezTo>
                    <a:pt x="147" y="283"/>
                    <a:pt x="147" y="295"/>
                    <a:pt x="147" y="307"/>
                  </a:cubicBezTo>
                  <a:cubicBezTo>
                    <a:pt x="154" y="307"/>
                    <a:pt x="154" y="307"/>
                    <a:pt x="154" y="307"/>
                  </a:cubicBezTo>
                  <a:cubicBezTo>
                    <a:pt x="154" y="322"/>
                    <a:pt x="154" y="322"/>
                    <a:pt x="154" y="322"/>
                  </a:cubicBezTo>
                  <a:cubicBezTo>
                    <a:pt x="138" y="322"/>
                    <a:pt x="138" y="322"/>
                    <a:pt x="138" y="322"/>
                  </a:cubicBezTo>
                  <a:cubicBezTo>
                    <a:pt x="138" y="256"/>
                    <a:pt x="138" y="256"/>
                    <a:pt x="138" y="256"/>
                  </a:cubicBezTo>
                  <a:cubicBezTo>
                    <a:pt x="154" y="256"/>
                    <a:pt x="154" y="256"/>
                    <a:pt x="154" y="256"/>
                  </a:cubicBezTo>
                  <a:close/>
                  <a:moveTo>
                    <a:pt x="154" y="357"/>
                  </a:moveTo>
                  <a:cubicBezTo>
                    <a:pt x="154" y="372"/>
                    <a:pt x="154" y="372"/>
                    <a:pt x="154" y="372"/>
                  </a:cubicBezTo>
                  <a:cubicBezTo>
                    <a:pt x="147" y="372"/>
                    <a:pt x="147" y="372"/>
                    <a:pt x="147" y="372"/>
                  </a:cubicBezTo>
                  <a:cubicBezTo>
                    <a:pt x="147" y="384"/>
                    <a:pt x="147" y="396"/>
                    <a:pt x="147" y="407"/>
                  </a:cubicBezTo>
                  <a:cubicBezTo>
                    <a:pt x="154" y="407"/>
                    <a:pt x="154" y="407"/>
                    <a:pt x="154" y="407"/>
                  </a:cubicBezTo>
                  <a:cubicBezTo>
                    <a:pt x="154" y="423"/>
                    <a:pt x="154" y="423"/>
                    <a:pt x="154" y="423"/>
                  </a:cubicBezTo>
                  <a:cubicBezTo>
                    <a:pt x="138" y="423"/>
                    <a:pt x="138" y="423"/>
                    <a:pt x="138" y="423"/>
                  </a:cubicBezTo>
                  <a:cubicBezTo>
                    <a:pt x="138" y="357"/>
                    <a:pt x="138" y="357"/>
                    <a:pt x="138" y="357"/>
                  </a:cubicBezTo>
                  <a:lnTo>
                    <a:pt x="154" y="357"/>
                  </a:lnTo>
                  <a:close/>
                  <a:moveTo>
                    <a:pt x="122" y="0"/>
                  </a:moveTo>
                  <a:cubicBezTo>
                    <a:pt x="138" y="0"/>
                    <a:pt x="138" y="0"/>
                    <a:pt x="138" y="0"/>
                  </a:cubicBezTo>
                  <a:cubicBezTo>
                    <a:pt x="138" y="20"/>
                    <a:pt x="138" y="20"/>
                    <a:pt x="138" y="20"/>
                  </a:cubicBezTo>
                  <a:cubicBezTo>
                    <a:pt x="130" y="20"/>
                    <a:pt x="130" y="20"/>
                    <a:pt x="130"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2" y="20"/>
                    <a:pt x="122" y="20"/>
                    <a:pt x="122" y="20"/>
                  </a:cubicBezTo>
                  <a:cubicBezTo>
                    <a:pt x="122" y="20"/>
                    <a:pt x="122" y="20"/>
                    <a:pt x="122" y="20"/>
                  </a:cubicBezTo>
                  <a:cubicBezTo>
                    <a:pt x="122" y="0"/>
                    <a:pt x="122" y="0"/>
                    <a:pt x="122" y="0"/>
                  </a:cubicBezTo>
                  <a:close/>
                  <a:moveTo>
                    <a:pt x="138" y="480"/>
                  </a:moveTo>
                  <a:cubicBezTo>
                    <a:pt x="122" y="480"/>
                    <a:pt x="122" y="480"/>
                    <a:pt x="122" y="480"/>
                  </a:cubicBezTo>
                  <a:cubicBezTo>
                    <a:pt x="122" y="458"/>
                    <a:pt x="122" y="458"/>
                    <a:pt x="122" y="458"/>
                  </a:cubicBezTo>
                  <a:cubicBezTo>
                    <a:pt x="130" y="458"/>
                    <a:pt x="130" y="458"/>
                    <a:pt x="130" y="458"/>
                  </a:cubicBezTo>
                  <a:cubicBezTo>
                    <a:pt x="138" y="458"/>
                    <a:pt x="138" y="458"/>
                    <a:pt x="138" y="458"/>
                  </a:cubicBezTo>
                  <a:cubicBezTo>
                    <a:pt x="138" y="480"/>
                    <a:pt x="138" y="480"/>
                    <a:pt x="138" y="480"/>
                  </a:cubicBezTo>
                  <a:close/>
                  <a:moveTo>
                    <a:pt x="138" y="55"/>
                  </a:moveTo>
                  <a:cubicBezTo>
                    <a:pt x="138" y="121"/>
                    <a:pt x="138" y="121"/>
                    <a:pt x="138" y="121"/>
                  </a:cubicBezTo>
                  <a:cubicBezTo>
                    <a:pt x="130" y="121"/>
                    <a:pt x="130" y="121"/>
                    <a:pt x="130"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2" y="121"/>
                    <a:pt x="122" y="121"/>
                    <a:pt x="122" y="121"/>
                  </a:cubicBezTo>
                  <a:cubicBezTo>
                    <a:pt x="122" y="105"/>
                    <a:pt x="122" y="105"/>
                    <a:pt x="122" y="105"/>
                  </a:cubicBezTo>
                  <a:cubicBezTo>
                    <a:pt x="130" y="105"/>
                    <a:pt x="130" y="105"/>
                    <a:pt x="130" y="105"/>
                  </a:cubicBezTo>
                  <a:cubicBezTo>
                    <a:pt x="130" y="94"/>
                    <a:pt x="130" y="82"/>
                    <a:pt x="130" y="70"/>
                  </a:cubicBezTo>
                  <a:cubicBezTo>
                    <a:pt x="122" y="70"/>
                    <a:pt x="122" y="70"/>
                    <a:pt x="122" y="70"/>
                  </a:cubicBezTo>
                  <a:cubicBezTo>
                    <a:pt x="122" y="55"/>
                    <a:pt x="122" y="55"/>
                    <a:pt x="122" y="55"/>
                  </a:cubicBezTo>
                  <a:cubicBezTo>
                    <a:pt x="122" y="55"/>
                    <a:pt x="122" y="55"/>
                    <a:pt x="122"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30" y="55"/>
                    <a:pt x="130" y="55"/>
                    <a:pt x="130" y="55"/>
                  </a:cubicBezTo>
                  <a:cubicBezTo>
                    <a:pt x="138" y="55"/>
                    <a:pt x="138" y="55"/>
                    <a:pt x="138" y="55"/>
                  </a:cubicBezTo>
                  <a:close/>
                  <a:moveTo>
                    <a:pt x="138" y="156"/>
                  </a:moveTo>
                  <a:cubicBezTo>
                    <a:pt x="138" y="221"/>
                    <a:pt x="138" y="221"/>
                    <a:pt x="138" y="221"/>
                  </a:cubicBezTo>
                  <a:cubicBezTo>
                    <a:pt x="130" y="221"/>
                    <a:pt x="130" y="221"/>
                    <a:pt x="130"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2" y="221"/>
                    <a:pt x="122" y="221"/>
                    <a:pt x="122" y="221"/>
                  </a:cubicBezTo>
                  <a:cubicBezTo>
                    <a:pt x="122" y="221"/>
                    <a:pt x="122" y="221"/>
                    <a:pt x="122" y="221"/>
                  </a:cubicBezTo>
                  <a:cubicBezTo>
                    <a:pt x="122" y="206"/>
                    <a:pt x="122" y="206"/>
                    <a:pt x="122"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4" y="206"/>
                    <a:pt x="124" y="206"/>
                    <a:pt x="124" y="206"/>
                  </a:cubicBezTo>
                  <a:cubicBezTo>
                    <a:pt x="124" y="206"/>
                    <a:pt x="124" y="206"/>
                    <a:pt x="124" y="206"/>
                  </a:cubicBezTo>
                  <a:cubicBezTo>
                    <a:pt x="124" y="206"/>
                    <a:pt x="124" y="206"/>
                    <a:pt x="124" y="206"/>
                  </a:cubicBezTo>
                  <a:cubicBezTo>
                    <a:pt x="124" y="206"/>
                    <a:pt x="124" y="206"/>
                    <a:pt x="124"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6" y="206"/>
                    <a:pt x="126" y="206"/>
                    <a:pt x="126" y="206"/>
                  </a:cubicBezTo>
                  <a:cubicBezTo>
                    <a:pt x="126" y="206"/>
                    <a:pt x="126" y="206"/>
                    <a:pt x="126" y="206"/>
                  </a:cubicBezTo>
                  <a:cubicBezTo>
                    <a:pt x="126" y="206"/>
                    <a:pt x="126" y="206"/>
                    <a:pt x="126" y="206"/>
                  </a:cubicBezTo>
                  <a:cubicBezTo>
                    <a:pt x="126" y="206"/>
                    <a:pt x="126" y="206"/>
                    <a:pt x="126" y="206"/>
                  </a:cubicBezTo>
                  <a:cubicBezTo>
                    <a:pt x="127" y="206"/>
                    <a:pt x="127" y="206"/>
                    <a:pt x="127" y="206"/>
                  </a:cubicBezTo>
                  <a:cubicBezTo>
                    <a:pt x="127" y="206"/>
                    <a:pt x="127" y="206"/>
                    <a:pt x="127" y="206"/>
                  </a:cubicBezTo>
                  <a:cubicBezTo>
                    <a:pt x="127" y="206"/>
                    <a:pt x="127" y="206"/>
                    <a:pt x="127" y="206"/>
                  </a:cubicBezTo>
                  <a:cubicBezTo>
                    <a:pt x="127" y="206"/>
                    <a:pt x="127" y="206"/>
                    <a:pt x="127"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9" y="206"/>
                    <a:pt x="129" y="206"/>
                    <a:pt x="129" y="206"/>
                  </a:cubicBezTo>
                  <a:cubicBezTo>
                    <a:pt x="129" y="206"/>
                    <a:pt x="129" y="206"/>
                    <a:pt x="129" y="206"/>
                  </a:cubicBezTo>
                  <a:cubicBezTo>
                    <a:pt x="129" y="206"/>
                    <a:pt x="129" y="206"/>
                    <a:pt x="129" y="206"/>
                  </a:cubicBezTo>
                  <a:cubicBezTo>
                    <a:pt x="129" y="206"/>
                    <a:pt x="129" y="206"/>
                    <a:pt x="129" y="206"/>
                  </a:cubicBezTo>
                  <a:cubicBezTo>
                    <a:pt x="130" y="206"/>
                    <a:pt x="130" y="206"/>
                    <a:pt x="130" y="206"/>
                  </a:cubicBezTo>
                  <a:cubicBezTo>
                    <a:pt x="130" y="194"/>
                    <a:pt x="130" y="183"/>
                    <a:pt x="130" y="171"/>
                  </a:cubicBezTo>
                  <a:cubicBezTo>
                    <a:pt x="129" y="171"/>
                    <a:pt x="129" y="171"/>
                    <a:pt x="129" y="171"/>
                  </a:cubicBezTo>
                  <a:cubicBezTo>
                    <a:pt x="129" y="171"/>
                    <a:pt x="129" y="171"/>
                    <a:pt x="129" y="171"/>
                  </a:cubicBezTo>
                  <a:cubicBezTo>
                    <a:pt x="129" y="171"/>
                    <a:pt x="129" y="171"/>
                    <a:pt x="129" y="171"/>
                  </a:cubicBezTo>
                  <a:cubicBezTo>
                    <a:pt x="129" y="171"/>
                    <a:pt x="129" y="171"/>
                    <a:pt x="129"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7" y="171"/>
                    <a:pt x="127" y="171"/>
                    <a:pt x="127" y="171"/>
                  </a:cubicBezTo>
                  <a:cubicBezTo>
                    <a:pt x="127" y="171"/>
                    <a:pt x="127" y="171"/>
                    <a:pt x="127" y="171"/>
                  </a:cubicBezTo>
                  <a:cubicBezTo>
                    <a:pt x="127" y="171"/>
                    <a:pt x="127" y="171"/>
                    <a:pt x="127" y="171"/>
                  </a:cubicBezTo>
                  <a:cubicBezTo>
                    <a:pt x="127" y="171"/>
                    <a:pt x="127" y="171"/>
                    <a:pt x="127" y="171"/>
                  </a:cubicBezTo>
                  <a:cubicBezTo>
                    <a:pt x="126" y="171"/>
                    <a:pt x="126" y="171"/>
                    <a:pt x="126" y="171"/>
                  </a:cubicBezTo>
                  <a:cubicBezTo>
                    <a:pt x="126" y="171"/>
                    <a:pt x="126" y="171"/>
                    <a:pt x="126" y="171"/>
                  </a:cubicBezTo>
                  <a:cubicBezTo>
                    <a:pt x="126" y="171"/>
                    <a:pt x="126" y="171"/>
                    <a:pt x="126" y="171"/>
                  </a:cubicBezTo>
                  <a:cubicBezTo>
                    <a:pt x="126" y="171"/>
                    <a:pt x="126" y="171"/>
                    <a:pt x="126"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4" y="171"/>
                    <a:pt x="124" y="171"/>
                    <a:pt x="124" y="171"/>
                  </a:cubicBezTo>
                  <a:cubicBezTo>
                    <a:pt x="124" y="171"/>
                    <a:pt x="124" y="171"/>
                    <a:pt x="124" y="171"/>
                  </a:cubicBezTo>
                  <a:cubicBezTo>
                    <a:pt x="124" y="171"/>
                    <a:pt x="124" y="171"/>
                    <a:pt x="124" y="171"/>
                  </a:cubicBezTo>
                  <a:cubicBezTo>
                    <a:pt x="124" y="171"/>
                    <a:pt x="124" y="171"/>
                    <a:pt x="124"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2" y="171"/>
                    <a:pt x="122" y="171"/>
                    <a:pt x="122" y="171"/>
                  </a:cubicBezTo>
                  <a:cubicBezTo>
                    <a:pt x="122" y="156"/>
                    <a:pt x="122" y="156"/>
                    <a:pt x="122"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30" y="156"/>
                    <a:pt x="130" y="156"/>
                    <a:pt x="130" y="156"/>
                  </a:cubicBezTo>
                  <a:cubicBezTo>
                    <a:pt x="138" y="156"/>
                    <a:pt x="138" y="156"/>
                    <a:pt x="138" y="156"/>
                  </a:cubicBezTo>
                  <a:close/>
                  <a:moveTo>
                    <a:pt x="138" y="256"/>
                  </a:moveTo>
                  <a:cubicBezTo>
                    <a:pt x="138" y="322"/>
                    <a:pt x="138" y="322"/>
                    <a:pt x="138" y="322"/>
                  </a:cubicBezTo>
                  <a:cubicBezTo>
                    <a:pt x="130" y="322"/>
                    <a:pt x="130" y="322"/>
                    <a:pt x="130"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2" y="322"/>
                    <a:pt x="122" y="322"/>
                    <a:pt x="122" y="322"/>
                  </a:cubicBezTo>
                  <a:cubicBezTo>
                    <a:pt x="122" y="307"/>
                    <a:pt x="122" y="307"/>
                    <a:pt x="122" y="307"/>
                  </a:cubicBezTo>
                  <a:cubicBezTo>
                    <a:pt x="130" y="307"/>
                    <a:pt x="130" y="307"/>
                    <a:pt x="130" y="307"/>
                  </a:cubicBezTo>
                  <a:cubicBezTo>
                    <a:pt x="130" y="295"/>
                    <a:pt x="130" y="283"/>
                    <a:pt x="130" y="272"/>
                  </a:cubicBezTo>
                  <a:cubicBezTo>
                    <a:pt x="122" y="272"/>
                    <a:pt x="122" y="272"/>
                    <a:pt x="122" y="272"/>
                  </a:cubicBezTo>
                  <a:cubicBezTo>
                    <a:pt x="122" y="256"/>
                    <a:pt x="122" y="256"/>
                    <a:pt x="122" y="256"/>
                  </a:cubicBezTo>
                  <a:cubicBezTo>
                    <a:pt x="122" y="256"/>
                    <a:pt x="122" y="256"/>
                    <a:pt x="122"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30" y="256"/>
                    <a:pt x="130" y="256"/>
                    <a:pt x="130" y="256"/>
                  </a:cubicBezTo>
                  <a:cubicBezTo>
                    <a:pt x="138" y="256"/>
                    <a:pt x="138" y="256"/>
                    <a:pt x="138" y="256"/>
                  </a:cubicBezTo>
                  <a:close/>
                  <a:moveTo>
                    <a:pt x="138" y="357"/>
                  </a:moveTo>
                  <a:cubicBezTo>
                    <a:pt x="138" y="423"/>
                    <a:pt x="138" y="423"/>
                    <a:pt x="138" y="423"/>
                  </a:cubicBezTo>
                  <a:cubicBezTo>
                    <a:pt x="130" y="423"/>
                    <a:pt x="130" y="423"/>
                    <a:pt x="130" y="423"/>
                  </a:cubicBezTo>
                  <a:cubicBezTo>
                    <a:pt x="122" y="423"/>
                    <a:pt x="122" y="423"/>
                    <a:pt x="122" y="423"/>
                  </a:cubicBezTo>
                  <a:cubicBezTo>
                    <a:pt x="122" y="407"/>
                    <a:pt x="122" y="407"/>
                    <a:pt x="122" y="407"/>
                  </a:cubicBezTo>
                  <a:cubicBezTo>
                    <a:pt x="130" y="407"/>
                    <a:pt x="130" y="407"/>
                    <a:pt x="130" y="407"/>
                  </a:cubicBezTo>
                  <a:cubicBezTo>
                    <a:pt x="130" y="396"/>
                    <a:pt x="130" y="384"/>
                    <a:pt x="130" y="372"/>
                  </a:cubicBezTo>
                  <a:cubicBezTo>
                    <a:pt x="122" y="372"/>
                    <a:pt x="122" y="372"/>
                    <a:pt x="122" y="372"/>
                  </a:cubicBezTo>
                  <a:cubicBezTo>
                    <a:pt x="122" y="357"/>
                    <a:pt x="122" y="357"/>
                    <a:pt x="122"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30" y="357"/>
                    <a:pt x="130" y="357"/>
                    <a:pt x="130" y="357"/>
                  </a:cubicBezTo>
                  <a:lnTo>
                    <a:pt x="138" y="357"/>
                  </a:lnTo>
                  <a:close/>
                  <a:moveTo>
                    <a:pt x="107" y="0"/>
                  </a:moveTo>
                  <a:cubicBezTo>
                    <a:pt x="122" y="0"/>
                    <a:pt x="122" y="0"/>
                    <a:pt x="122" y="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5" y="20"/>
                    <a:pt x="115" y="20"/>
                    <a:pt x="115" y="20"/>
                  </a:cubicBezTo>
                  <a:cubicBezTo>
                    <a:pt x="115" y="20"/>
                    <a:pt x="115" y="20"/>
                    <a:pt x="115" y="20"/>
                  </a:cubicBezTo>
                  <a:cubicBezTo>
                    <a:pt x="107" y="20"/>
                    <a:pt x="107" y="20"/>
                    <a:pt x="107" y="20"/>
                  </a:cubicBezTo>
                  <a:cubicBezTo>
                    <a:pt x="107" y="0"/>
                    <a:pt x="107" y="0"/>
                    <a:pt x="107" y="0"/>
                  </a:cubicBezTo>
                  <a:close/>
                  <a:moveTo>
                    <a:pt x="122" y="480"/>
                  </a:moveTo>
                  <a:cubicBezTo>
                    <a:pt x="107" y="480"/>
                    <a:pt x="107" y="480"/>
                    <a:pt x="107" y="480"/>
                  </a:cubicBezTo>
                  <a:cubicBezTo>
                    <a:pt x="107" y="458"/>
                    <a:pt x="107" y="458"/>
                    <a:pt x="107" y="458"/>
                  </a:cubicBezTo>
                  <a:cubicBezTo>
                    <a:pt x="115" y="458"/>
                    <a:pt x="115" y="458"/>
                    <a:pt x="115" y="458"/>
                  </a:cubicBezTo>
                  <a:cubicBezTo>
                    <a:pt x="122" y="458"/>
                    <a:pt x="122" y="458"/>
                    <a:pt x="122" y="458"/>
                  </a:cubicBezTo>
                  <a:cubicBezTo>
                    <a:pt x="122" y="480"/>
                    <a:pt x="122" y="480"/>
                    <a:pt x="122" y="480"/>
                  </a:cubicBezTo>
                  <a:close/>
                  <a:moveTo>
                    <a:pt x="122" y="55"/>
                  </a:moveTo>
                  <a:cubicBezTo>
                    <a:pt x="122" y="70"/>
                    <a:pt x="122" y="70"/>
                    <a:pt x="122" y="70"/>
                  </a:cubicBezTo>
                  <a:cubicBezTo>
                    <a:pt x="107" y="70"/>
                    <a:pt x="107" y="70"/>
                    <a:pt x="107" y="70"/>
                  </a:cubicBezTo>
                  <a:cubicBezTo>
                    <a:pt x="107" y="55"/>
                    <a:pt x="107" y="55"/>
                    <a:pt x="107" y="55"/>
                  </a:cubicBezTo>
                  <a:cubicBezTo>
                    <a:pt x="115" y="55"/>
                    <a:pt x="115" y="55"/>
                    <a:pt x="115" y="55"/>
                  </a:cubicBezTo>
                  <a:cubicBezTo>
                    <a:pt x="115" y="55"/>
                    <a:pt x="115" y="55"/>
                    <a:pt x="115"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2" y="55"/>
                    <a:pt x="122" y="55"/>
                    <a:pt x="122" y="55"/>
                  </a:cubicBezTo>
                  <a:cubicBezTo>
                    <a:pt x="122" y="55"/>
                    <a:pt x="122" y="55"/>
                    <a:pt x="122" y="55"/>
                  </a:cubicBezTo>
                  <a:cubicBezTo>
                    <a:pt x="122" y="55"/>
                    <a:pt x="122" y="55"/>
                    <a:pt x="122" y="55"/>
                  </a:cubicBezTo>
                  <a:cubicBezTo>
                    <a:pt x="122" y="55"/>
                    <a:pt x="122" y="55"/>
                    <a:pt x="122" y="55"/>
                  </a:cubicBezTo>
                  <a:cubicBezTo>
                    <a:pt x="122" y="55"/>
                    <a:pt x="122" y="55"/>
                    <a:pt x="122" y="55"/>
                  </a:cubicBezTo>
                  <a:close/>
                  <a:moveTo>
                    <a:pt x="122" y="105"/>
                  </a:move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5" y="121"/>
                    <a:pt x="115" y="121"/>
                    <a:pt x="115" y="121"/>
                  </a:cubicBezTo>
                  <a:cubicBezTo>
                    <a:pt x="115" y="121"/>
                    <a:pt x="115" y="121"/>
                    <a:pt x="115" y="121"/>
                  </a:cubicBezTo>
                  <a:cubicBezTo>
                    <a:pt x="115" y="132"/>
                    <a:pt x="115" y="144"/>
                    <a:pt x="115" y="156"/>
                  </a:cubicBezTo>
                  <a:cubicBezTo>
                    <a:pt x="115" y="156"/>
                    <a:pt x="115" y="156"/>
                    <a:pt x="115"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0" y="171"/>
                    <a:pt x="120" y="171"/>
                    <a:pt x="120" y="171"/>
                  </a:cubicBezTo>
                  <a:cubicBezTo>
                    <a:pt x="120" y="171"/>
                    <a:pt x="120" y="171"/>
                    <a:pt x="120" y="171"/>
                  </a:cubicBezTo>
                  <a:cubicBezTo>
                    <a:pt x="120" y="171"/>
                    <a:pt x="120" y="171"/>
                    <a:pt x="120" y="171"/>
                  </a:cubicBezTo>
                  <a:cubicBezTo>
                    <a:pt x="120" y="171"/>
                    <a:pt x="120" y="171"/>
                    <a:pt x="120"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8" y="171"/>
                    <a:pt x="118" y="171"/>
                    <a:pt x="118" y="171"/>
                  </a:cubicBezTo>
                  <a:cubicBezTo>
                    <a:pt x="118" y="171"/>
                    <a:pt x="118" y="171"/>
                    <a:pt x="118" y="171"/>
                  </a:cubicBezTo>
                  <a:cubicBezTo>
                    <a:pt x="118" y="171"/>
                    <a:pt x="118" y="171"/>
                    <a:pt x="118" y="171"/>
                  </a:cubicBezTo>
                  <a:cubicBezTo>
                    <a:pt x="118" y="171"/>
                    <a:pt x="118" y="171"/>
                    <a:pt x="118"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6" y="171"/>
                    <a:pt x="116" y="171"/>
                    <a:pt x="116" y="171"/>
                  </a:cubicBezTo>
                  <a:cubicBezTo>
                    <a:pt x="116" y="171"/>
                    <a:pt x="116" y="171"/>
                    <a:pt x="116" y="171"/>
                  </a:cubicBezTo>
                  <a:cubicBezTo>
                    <a:pt x="116" y="171"/>
                    <a:pt x="116" y="171"/>
                    <a:pt x="116" y="171"/>
                  </a:cubicBezTo>
                  <a:cubicBezTo>
                    <a:pt x="116" y="171"/>
                    <a:pt x="116" y="171"/>
                    <a:pt x="116" y="171"/>
                  </a:cubicBezTo>
                  <a:cubicBezTo>
                    <a:pt x="115" y="171"/>
                    <a:pt x="115" y="171"/>
                    <a:pt x="115" y="171"/>
                  </a:cubicBezTo>
                  <a:cubicBezTo>
                    <a:pt x="115" y="171"/>
                    <a:pt x="115" y="171"/>
                    <a:pt x="115" y="171"/>
                  </a:cubicBezTo>
                  <a:cubicBezTo>
                    <a:pt x="107" y="171"/>
                    <a:pt x="107" y="171"/>
                    <a:pt x="107" y="171"/>
                  </a:cubicBezTo>
                  <a:cubicBezTo>
                    <a:pt x="107" y="105"/>
                    <a:pt x="107" y="105"/>
                    <a:pt x="107" y="105"/>
                  </a:cubicBezTo>
                  <a:cubicBezTo>
                    <a:pt x="122" y="105"/>
                    <a:pt x="122" y="105"/>
                    <a:pt x="122" y="105"/>
                  </a:cubicBezTo>
                  <a:close/>
                  <a:moveTo>
                    <a:pt x="122" y="206"/>
                  </a:move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5" y="221"/>
                    <a:pt x="115" y="221"/>
                    <a:pt x="115" y="221"/>
                  </a:cubicBezTo>
                  <a:cubicBezTo>
                    <a:pt x="115" y="221"/>
                    <a:pt x="115" y="221"/>
                    <a:pt x="115" y="221"/>
                  </a:cubicBezTo>
                  <a:cubicBezTo>
                    <a:pt x="107" y="221"/>
                    <a:pt x="107" y="221"/>
                    <a:pt x="107" y="221"/>
                  </a:cubicBezTo>
                  <a:cubicBezTo>
                    <a:pt x="107" y="206"/>
                    <a:pt x="107" y="206"/>
                    <a:pt x="107" y="206"/>
                  </a:cubicBezTo>
                  <a:cubicBezTo>
                    <a:pt x="115" y="206"/>
                    <a:pt x="115" y="206"/>
                    <a:pt x="115" y="206"/>
                  </a:cubicBezTo>
                  <a:cubicBezTo>
                    <a:pt x="115" y="206"/>
                    <a:pt x="115" y="206"/>
                    <a:pt x="115" y="206"/>
                  </a:cubicBezTo>
                  <a:cubicBezTo>
                    <a:pt x="116" y="206"/>
                    <a:pt x="116" y="206"/>
                    <a:pt x="116" y="206"/>
                  </a:cubicBezTo>
                  <a:cubicBezTo>
                    <a:pt x="116" y="206"/>
                    <a:pt x="116" y="206"/>
                    <a:pt x="116" y="206"/>
                  </a:cubicBezTo>
                  <a:cubicBezTo>
                    <a:pt x="116" y="206"/>
                    <a:pt x="116" y="206"/>
                    <a:pt x="116" y="206"/>
                  </a:cubicBezTo>
                  <a:cubicBezTo>
                    <a:pt x="116" y="206"/>
                    <a:pt x="116" y="206"/>
                    <a:pt x="116"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8" y="206"/>
                    <a:pt x="118" y="206"/>
                    <a:pt x="118" y="206"/>
                  </a:cubicBezTo>
                  <a:cubicBezTo>
                    <a:pt x="118" y="206"/>
                    <a:pt x="118" y="206"/>
                    <a:pt x="118" y="206"/>
                  </a:cubicBezTo>
                  <a:cubicBezTo>
                    <a:pt x="118" y="206"/>
                    <a:pt x="118" y="206"/>
                    <a:pt x="118" y="206"/>
                  </a:cubicBezTo>
                  <a:cubicBezTo>
                    <a:pt x="118" y="206"/>
                    <a:pt x="118" y="206"/>
                    <a:pt x="118"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20" y="206"/>
                    <a:pt x="120" y="206"/>
                    <a:pt x="120" y="206"/>
                  </a:cubicBezTo>
                  <a:cubicBezTo>
                    <a:pt x="120" y="206"/>
                    <a:pt x="120" y="206"/>
                    <a:pt x="120" y="206"/>
                  </a:cubicBezTo>
                  <a:cubicBezTo>
                    <a:pt x="120" y="206"/>
                    <a:pt x="120" y="206"/>
                    <a:pt x="120" y="206"/>
                  </a:cubicBezTo>
                  <a:cubicBezTo>
                    <a:pt x="120" y="206"/>
                    <a:pt x="120" y="206"/>
                    <a:pt x="120"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lose/>
                  <a:moveTo>
                    <a:pt x="122" y="256"/>
                  </a:moveTo>
                  <a:cubicBezTo>
                    <a:pt x="122" y="272"/>
                    <a:pt x="122" y="272"/>
                    <a:pt x="122" y="272"/>
                  </a:cubicBezTo>
                  <a:cubicBezTo>
                    <a:pt x="107" y="272"/>
                    <a:pt x="107" y="272"/>
                    <a:pt x="107" y="272"/>
                  </a:cubicBezTo>
                  <a:cubicBezTo>
                    <a:pt x="107" y="256"/>
                    <a:pt x="107" y="256"/>
                    <a:pt x="107" y="256"/>
                  </a:cubicBezTo>
                  <a:cubicBezTo>
                    <a:pt x="115" y="256"/>
                    <a:pt x="115" y="256"/>
                    <a:pt x="115" y="256"/>
                  </a:cubicBezTo>
                  <a:cubicBezTo>
                    <a:pt x="115" y="256"/>
                    <a:pt x="115" y="256"/>
                    <a:pt x="115"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lose/>
                  <a:moveTo>
                    <a:pt x="122" y="307"/>
                  </a:move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5" y="322"/>
                    <a:pt x="115" y="322"/>
                    <a:pt x="115" y="322"/>
                  </a:cubicBezTo>
                  <a:cubicBezTo>
                    <a:pt x="115" y="322"/>
                    <a:pt x="115" y="322"/>
                    <a:pt x="115" y="322"/>
                  </a:cubicBezTo>
                  <a:cubicBezTo>
                    <a:pt x="115" y="334"/>
                    <a:pt x="115" y="345"/>
                    <a:pt x="115" y="357"/>
                  </a:cubicBezTo>
                  <a:cubicBezTo>
                    <a:pt x="115" y="357"/>
                    <a:pt x="115" y="357"/>
                    <a:pt x="115"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72"/>
                    <a:pt x="122" y="372"/>
                    <a:pt x="122" y="372"/>
                  </a:cubicBezTo>
                  <a:cubicBezTo>
                    <a:pt x="115" y="372"/>
                    <a:pt x="115" y="372"/>
                    <a:pt x="115" y="372"/>
                  </a:cubicBezTo>
                  <a:cubicBezTo>
                    <a:pt x="115" y="384"/>
                    <a:pt x="115" y="396"/>
                    <a:pt x="115" y="407"/>
                  </a:cubicBezTo>
                  <a:cubicBezTo>
                    <a:pt x="122" y="407"/>
                    <a:pt x="122" y="407"/>
                    <a:pt x="122" y="407"/>
                  </a:cubicBezTo>
                  <a:cubicBezTo>
                    <a:pt x="122" y="423"/>
                    <a:pt x="122" y="423"/>
                    <a:pt x="122" y="423"/>
                  </a:cubicBezTo>
                  <a:cubicBezTo>
                    <a:pt x="115" y="423"/>
                    <a:pt x="115" y="423"/>
                    <a:pt x="115" y="423"/>
                  </a:cubicBezTo>
                  <a:cubicBezTo>
                    <a:pt x="107" y="423"/>
                    <a:pt x="107" y="423"/>
                    <a:pt x="107" y="423"/>
                  </a:cubicBezTo>
                  <a:cubicBezTo>
                    <a:pt x="107" y="307"/>
                    <a:pt x="107" y="307"/>
                    <a:pt x="107" y="307"/>
                  </a:cubicBezTo>
                  <a:lnTo>
                    <a:pt x="122" y="307"/>
                  </a:lnTo>
                  <a:close/>
                  <a:moveTo>
                    <a:pt x="90" y="0"/>
                  </a:moveTo>
                  <a:cubicBezTo>
                    <a:pt x="107" y="0"/>
                    <a:pt x="107" y="0"/>
                    <a:pt x="107" y="0"/>
                  </a:cubicBezTo>
                  <a:cubicBezTo>
                    <a:pt x="107" y="20"/>
                    <a:pt x="107" y="20"/>
                    <a:pt x="107" y="20"/>
                  </a:cubicBezTo>
                  <a:cubicBezTo>
                    <a:pt x="98" y="20"/>
                    <a:pt x="98" y="20"/>
                    <a:pt x="98"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6" y="20"/>
                    <a:pt x="96" y="20"/>
                    <a:pt x="96" y="20"/>
                  </a:cubicBezTo>
                  <a:cubicBezTo>
                    <a:pt x="96" y="20"/>
                    <a:pt x="96" y="20"/>
                    <a:pt x="96" y="20"/>
                  </a:cubicBezTo>
                  <a:cubicBezTo>
                    <a:pt x="96" y="20"/>
                    <a:pt x="96" y="20"/>
                    <a:pt x="96" y="20"/>
                  </a:cubicBezTo>
                  <a:cubicBezTo>
                    <a:pt x="96" y="20"/>
                    <a:pt x="96" y="20"/>
                    <a:pt x="96" y="20"/>
                  </a:cubicBezTo>
                  <a:cubicBezTo>
                    <a:pt x="96" y="20"/>
                    <a:pt x="96" y="20"/>
                    <a:pt x="96" y="20"/>
                  </a:cubicBezTo>
                  <a:cubicBezTo>
                    <a:pt x="95" y="20"/>
                    <a:pt x="95" y="20"/>
                    <a:pt x="95" y="20"/>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3" y="20"/>
                    <a:pt x="93" y="20"/>
                  </a:cubicBezTo>
                  <a:cubicBezTo>
                    <a:pt x="93" y="20"/>
                    <a:pt x="93" y="20"/>
                    <a:pt x="93" y="20"/>
                  </a:cubicBezTo>
                  <a:cubicBezTo>
                    <a:pt x="93" y="20"/>
                    <a:pt x="93" y="20"/>
                    <a:pt x="93"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0" y="20"/>
                    <a:pt x="90" y="20"/>
                    <a:pt x="90" y="20"/>
                  </a:cubicBezTo>
                  <a:cubicBezTo>
                    <a:pt x="90" y="0"/>
                    <a:pt x="90" y="0"/>
                    <a:pt x="90" y="0"/>
                  </a:cubicBezTo>
                  <a:close/>
                  <a:moveTo>
                    <a:pt x="107" y="480"/>
                  </a:moveTo>
                  <a:cubicBezTo>
                    <a:pt x="90" y="480"/>
                    <a:pt x="90" y="480"/>
                    <a:pt x="90" y="480"/>
                  </a:cubicBezTo>
                  <a:cubicBezTo>
                    <a:pt x="90" y="458"/>
                    <a:pt x="90" y="458"/>
                    <a:pt x="90" y="458"/>
                  </a:cubicBezTo>
                  <a:cubicBezTo>
                    <a:pt x="98" y="458"/>
                    <a:pt x="98" y="458"/>
                    <a:pt x="98" y="458"/>
                  </a:cubicBezTo>
                  <a:cubicBezTo>
                    <a:pt x="107" y="458"/>
                    <a:pt x="107" y="458"/>
                    <a:pt x="107" y="458"/>
                  </a:cubicBezTo>
                  <a:cubicBezTo>
                    <a:pt x="107" y="480"/>
                    <a:pt x="107" y="480"/>
                    <a:pt x="107" y="480"/>
                  </a:cubicBezTo>
                  <a:close/>
                  <a:moveTo>
                    <a:pt x="107" y="55"/>
                  </a:moveTo>
                  <a:cubicBezTo>
                    <a:pt x="107" y="70"/>
                    <a:pt x="107" y="70"/>
                    <a:pt x="107" y="70"/>
                  </a:cubicBezTo>
                  <a:cubicBezTo>
                    <a:pt x="98" y="70"/>
                    <a:pt x="98" y="70"/>
                    <a:pt x="98"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6" y="70"/>
                    <a:pt x="96" y="70"/>
                    <a:pt x="96" y="70"/>
                  </a:cubicBezTo>
                  <a:cubicBezTo>
                    <a:pt x="96" y="70"/>
                    <a:pt x="96" y="70"/>
                    <a:pt x="96" y="70"/>
                  </a:cubicBezTo>
                  <a:cubicBezTo>
                    <a:pt x="96" y="70"/>
                    <a:pt x="96" y="70"/>
                    <a:pt x="96" y="70"/>
                  </a:cubicBezTo>
                  <a:cubicBezTo>
                    <a:pt x="96" y="70"/>
                    <a:pt x="96" y="70"/>
                    <a:pt x="96" y="70"/>
                  </a:cubicBezTo>
                  <a:cubicBezTo>
                    <a:pt x="95" y="70"/>
                    <a:pt x="95" y="70"/>
                    <a:pt x="95" y="70"/>
                  </a:cubicBezTo>
                  <a:cubicBezTo>
                    <a:pt x="95" y="70"/>
                    <a:pt x="95" y="70"/>
                    <a:pt x="95" y="70"/>
                  </a:cubicBezTo>
                  <a:cubicBezTo>
                    <a:pt x="95" y="70"/>
                    <a:pt x="95" y="70"/>
                    <a:pt x="95" y="70"/>
                  </a:cubicBezTo>
                  <a:cubicBezTo>
                    <a:pt x="95" y="70"/>
                    <a:pt x="95" y="70"/>
                    <a:pt x="95" y="70"/>
                  </a:cubicBezTo>
                  <a:cubicBezTo>
                    <a:pt x="95" y="70"/>
                    <a:pt x="95" y="70"/>
                    <a:pt x="95"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3" y="70"/>
                    <a:pt x="93" y="70"/>
                    <a:pt x="93" y="70"/>
                  </a:cubicBezTo>
                  <a:cubicBezTo>
                    <a:pt x="93" y="70"/>
                    <a:pt x="93" y="70"/>
                    <a:pt x="93" y="70"/>
                  </a:cubicBezTo>
                  <a:cubicBezTo>
                    <a:pt x="93" y="70"/>
                    <a:pt x="93" y="70"/>
                    <a:pt x="93" y="70"/>
                  </a:cubicBezTo>
                  <a:cubicBezTo>
                    <a:pt x="93" y="70"/>
                    <a:pt x="93" y="70"/>
                    <a:pt x="93" y="70"/>
                  </a:cubicBezTo>
                  <a:cubicBezTo>
                    <a:pt x="93" y="70"/>
                    <a:pt x="93" y="70"/>
                    <a:pt x="93"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1" y="70"/>
                    <a:pt x="91" y="70"/>
                    <a:pt x="91" y="70"/>
                  </a:cubicBezTo>
                  <a:cubicBezTo>
                    <a:pt x="91" y="70"/>
                    <a:pt x="91" y="70"/>
                    <a:pt x="91" y="70"/>
                  </a:cubicBezTo>
                  <a:cubicBezTo>
                    <a:pt x="91" y="70"/>
                    <a:pt x="91" y="70"/>
                    <a:pt x="91" y="70"/>
                  </a:cubicBezTo>
                  <a:cubicBezTo>
                    <a:pt x="91" y="70"/>
                    <a:pt x="91" y="70"/>
                    <a:pt x="91" y="70"/>
                  </a:cubicBezTo>
                  <a:cubicBezTo>
                    <a:pt x="91" y="70"/>
                    <a:pt x="91" y="70"/>
                    <a:pt x="91" y="70"/>
                  </a:cubicBezTo>
                  <a:cubicBezTo>
                    <a:pt x="90" y="70"/>
                    <a:pt x="90" y="70"/>
                    <a:pt x="90" y="70"/>
                  </a:cubicBezTo>
                  <a:cubicBezTo>
                    <a:pt x="90" y="55"/>
                    <a:pt x="90" y="55"/>
                    <a:pt x="90" y="55"/>
                  </a:cubicBezTo>
                  <a:cubicBezTo>
                    <a:pt x="91" y="55"/>
                    <a:pt x="91" y="55"/>
                    <a:pt x="91" y="55"/>
                  </a:cubicBezTo>
                  <a:cubicBezTo>
                    <a:pt x="91" y="55"/>
                    <a:pt x="91" y="55"/>
                    <a:pt x="91" y="55"/>
                  </a:cubicBezTo>
                  <a:cubicBezTo>
                    <a:pt x="91" y="55"/>
                    <a:pt x="91" y="55"/>
                    <a:pt x="91" y="55"/>
                  </a:cubicBezTo>
                  <a:cubicBezTo>
                    <a:pt x="91" y="55"/>
                    <a:pt x="91" y="55"/>
                    <a:pt x="91" y="55"/>
                  </a:cubicBezTo>
                  <a:cubicBezTo>
                    <a:pt x="91" y="55"/>
                    <a:pt x="91" y="55"/>
                    <a:pt x="91"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3" y="55"/>
                    <a:pt x="93" y="55"/>
                    <a:pt x="93" y="55"/>
                  </a:cubicBezTo>
                  <a:cubicBezTo>
                    <a:pt x="93" y="55"/>
                    <a:pt x="93" y="55"/>
                    <a:pt x="93" y="55"/>
                  </a:cubicBezTo>
                  <a:cubicBezTo>
                    <a:pt x="93" y="55"/>
                    <a:pt x="93" y="55"/>
                    <a:pt x="93" y="55"/>
                  </a:cubicBezTo>
                  <a:cubicBezTo>
                    <a:pt x="93" y="55"/>
                    <a:pt x="93" y="55"/>
                    <a:pt x="93" y="55"/>
                  </a:cubicBezTo>
                  <a:cubicBezTo>
                    <a:pt x="93" y="55"/>
                    <a:pt x="93" y="55"/>
                    <a:pt x="93"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5" y="55"/>
                    <a:pt x="95" y="55"/>
                    <a:pt x="95" y="55"/>
                  </a:cubicBezTo>
                  <a:cubicBezTo>
                    <a:pt x="95" y="55"/>
                    <a:pt x="95" y="55"/>
                    <a:pt x="95" y="55"/>
                  </a:cubicBezTo>
                  <a:cubicBezTo>
                    <a:pt x="95" y="55"/>
                    <a:pt x="95" y="55"/>
                    <a:pt x="95" y="55"/>
                  </a:cubicBezTo>
                  <a:cubicBezTo>
                    <a:pt x="95" y="55"/>
                    <a:pt x="95" y="55"/>
                    <a:pt x="95" y="55"/>
                  </a:cubicBezTo>
                  <a:cubicBezTo>
                    <a:pt x="96" y="55"/>
                    <a:pt x="96" y="55"/>
                    <a:pt x="96" y="55"/>
                  </a:cubicBezTo>
                  <a:cubicBezTo>
                    <a:pt x="96" y="55"/>
                    <a:pt x="96" y="55"/>
                    <a:pt x="96" y="55"/>
                  </a:cubicBezTo>
                  <a:cubicBezTo>
                    <a:pt x="96" y="55"/>
                    <a:pt x="96" y="55"/>
                    <a:pt x="96" y="55"/>
                  </a:cubicBezTo>
                  <a:cubicBezTo>
                    <a:pt x="96" y="55"/>
                    <a:pt x="96" y="55"/>
                    <a:pt x="96" y="55"/>
                  </a:cubicBezTo>
                  <a:cubicBezTo>
                    <a:pt x="96" y="55"/>
                    <a:pt x="96" y="55"/>
                    <a:pt x="96"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8" y="55"/>
                    <a:pt x="98" y="55"/>
                    <a:pt x="98" y="55"/>
                  </a:cubicBezTo>
                  <a:cubicBezTo>
                    <a:pt x="107" y="55"/>
                    <a:pt x="107" y="55"/>
                    <a:pt x="107" y="55"/>
                  </a:cubicBezTo>
                  <a:close/>
                  <a:moveTo>
                    <a:pt x="107" y="105"/>
                  </a:moveTo>
                  <a:cubicBezTo>
                    <a:pt x="107" y="171"/>
                    <a:pt x="107" y="171"/>
                    <a:pt x="107" y="171"/>
                  </a:cubicBezTo>
                  <a:cubicBezTo>
                    <a:pt x="98" y="171"/>
                    <a:pt x="98" y="171"/>
                    <a:pt x="98" y="171"/>
                  </a:cubicBezTo>
                  <a:cubicBezTo>
                    <a:pt x="90" y="171"/>
                    <a:pt x="90" y="171"/>
                    <a:pt x="90" y="171"/>
                  </a:cubicBezTo>
                  <a:cubicBezTo>
                    <a:pt x="90" y="156"/>
                    <a:pt x="90" y="156"/>
                    <a:pt x="90" y="156"/>
                  </a:cubicBezTo>
                  <a:cubicBezTo>
                    <a:pt x="98" y="156"/>
                    <a:pt x="98" y="156"/>
                    <a:pt x="98" y="156"/>
                  </a:cubicBezTo>
                  <a:cubicBezTo>
                    <a:pt x="98" y="144"/>
                    <a:pt x="98" y="132"/>
                    <a:pt x="98" y="121"/>
                  </a:cubicBezTo>
                  <a:cubicBezTo>
                    <a:pt x="90" y="121"/>
                    <a:pt x="90" y="121"/>
                    <a:pt x="90" y="121"/>
                  </a:cubicBezTo>
                  <a:cubicBezTo>
                    <a:pt x="90" y="105"/>
                    <a:pt x="90" y="105"/>
                    <a:pt x="90"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6" y="105"/>
                    <a:pt x="96" y="105"/>
                    <a:pt x="96" y="105"/>
                  </a:cubicBezTo>
                  <a:cubicBezTo>
                    <a:pt x="96" y="105"/>
                    <a:pt x="96" y="105"/>
                    <a:pt x="96" y="105"/>
                  </a:cubicBezTo>
                  <a:cubicBezTo>
                    <a:pt x="96" y="105"/>
                    <a:pt x="96" y="105"/>
                    <a:pt x="96" y="105"/>
                  </a:cubicBezTo>
                  <a:cubicBezTo>
                    <a:pt x="96" y="105"/>
                    <a:pt x="96" y="105"/>
                    <a:pt x="96"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8" y="105"/>
                    <a:pt x="98" y="105"/>
                    <a:pt x="98" y="105"/>
                  </a:cubicBezTo>
                  <a:cubicBezTo>
                    <a:pt x="107" y="105"/>
                    <a:pt x="107" y="105"/>
                    <a:pt x="107" y="105"/>
                  </a:cubicBezTo>
                  <a:close/>
                  <a:moveTo>
                    <a:pt x="107" y="206"/>
                  </a:moveTo>
                  <a:cubicBezTo>
                    <a:pt x="107" y="221"/>
                    <a:pt x="107" y="221"/>
                    <a:pt x="107" y="221"/>
                  </a:cubicBezTo>
                  <a:cubicBezTo>
                    <a:pt x="98" y="221"/>
                    <a:pt x="98" y="221"/>
                    <a:pt x="98"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5" y="221"/>
                    <a:pt x="95" y="221"/>
                    <a:pt x="95" y="221"/>
                  </a:cubicBezTo>
                  <a:cubicBezTo>
                    <a:pt x="95" y="221"/>
                    <a:pt x="95" y="221"/>
                    <a:pt x="95" y="221"/>
                  </a:cubicBezTo>
                  <a:cubicBezTo>
                    <a:pt x="95" y="221"/>
                    <a:pt x="95" y="221"/>
                    <a:pt x="95" y="221"/>
                  </a:cubicBezTo>
                  <a:cubicBezTo>
                    <a:pt x="95" y="221"/>
                    <a:pt x="95" y="221"/>
                    <a:pt x="95"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0" y="221"/>
                    <a:pt x="90" y="221"/>
                    <a:pt x="90" y="221"/>
                  </a:cubicBezTo>
                  <a:cubicBezTo>
                    <a:pt x="90" y="206"/>
                    <a:pt x="90" y="206"/>
                    <a:pt x="90" y="206"/>
                  </a:cubicBezTo>
                  <a:cubicBezTo>
                    <a:pt x="98" y="206"/>
                    <a:pt x="98" y="206"/>
                    <a:pt x="98" y="206"/>
                  </a:cubicBezTo>
                  <a:cubicBezTo>
                    <a:pt x="107" y="206"/>
                    <a:pt x="107" y="206"/>
                    <a:pt x="107" y="206"/>
                  </a:cubicBezTo>
                  <a:close/>
                  <a:moveTo>
                    <a:pt x="107" y="256"/>
                  </a:moveTo>
                  <a:cubicBezTo>
                    <a:pt x="107" y="272"/>
                    <a:pt x="107" y="272"/>
                    <a:pt x="107" y="272"/>
                  </a:cubicBezTo>
                  <a:cubicBezTo>
                    <a:pt x="98" y="272"/>
                    <a:pt x="98" y="272"/>
                    <a:pt x="98"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6" y="272"/>
                    <a:pt x="96" y="272"/>
                    <a:pt x="96" y="272"/>
                  </a:cubicBezTo>
                  <a:cubicBezTo>
                    <a:pt x="96" y="272"/>
                    <a:pt x="96" y="272"/>
                    <a:pt x="96" y="272"/>
                  </a:cubicBezTo>
                  <a:cubicBezTo>
                    <a:pt x="96" y="272"/>
                    <a:pt x="96" y="272"/>
                    <a:pt x="96" y="272"/>
                  </a:cubicBezTo>
                  <a:cubicBezTo>
                    <a:pt x="96" y="272"/>
                    <a:pt x="96" y="272"/>
                    <a:pt x="96"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0" y="272"/>
                    <a:pt x="90" y="272"/>
                    <a:pt x="90" y="272"/>
                  </a:cubicBezTo>
                  <a:cubicBezTo>
                    <a:pt x="90" y="256"/>
                    <a:pt x="90" y="256"/>
                    <a:pt x="90"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5" y="256"/>
                    <a:pt x="95" y="256"/>
                    <a:pt x="95" y="256"/>
                  </a:cubicBezTo>
                  <a:cubicBezTo>
                    <a:pt x="95" y="256"/>
                    <a:pt x="95" y="256"/>
                    <a:pt x="95" y="256"/>
                  </a:cubicBezTo>
                  <a:cubicBezTo>
                    <a:pt x="95" y="256"/>
                    <a:pt x="95" y="256"/>
                    <a:pt x="95" y="256"/>
                  </a:cubicBezTo>
                  <a:cubicBezTo>
                    <a:pt x="95" y="256"/>
                    <a:pt x="95" y="256"/>
                    <a:pt x="95"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8" y="256"/>
                    <a:pt x="98" y="256"/>
                    <a:pt x="98" y="256"/>
                  </a:cubicBezTo>
                  <a:cubicBezTo>
                    <a:pt x="107" y="256"/>
                    <a:pt x="107" y="256"/>
                    <a:pt x="107" y="256"/>
                  </a:cubicBezTo>
                  <a:close/>
                  <a:moveTo>
                    <a:pt x="107" y="307"/>
                  </a:moveTo>
                  <a:cubicBezTo>
                    <a:pt x="107" y="423"/>
                    <a:pt x="107" y="423"/>
                    <a:pt x="107" y="423"/>
                  </a:cubicBezTo>
                  <a:cubicBezTo>
                    <a:pt x="98" y="423"/>
                    <a:pt x="98" y="423"/>
                    <a:pt x="98" y="423"/>
                  </a:cubicBezTo>
                  <a:cubicBezTo>
                    <a:pt x="90" y="423"/>
                    <a:pt x="90" y="423"/>
                    <a:pt x="90" y="423"/>
                  </a:cubicBezTo>
                  <a:cubicBezTo>
                    <a:pt x="90" y="407"/>
                    <a:pt x="90" y="407"/>
                    <a:pt x="90" y="407"/>
                  </a:cubicBezTo>
                  <a:cubicBezTo>
                    <a:pt x="91" y="407"/>
                    <a:pt x="91" y="407"/>
                    <a:pt x="91" y="407"/>
                  </a:cubicBezTo>
                  <a:cubicBezTo>
                    <a:pt x="91" y="407"/>
                    <a:pt x="91" y="407"/>
                    <a:pt x="91" y="407"/>
                  </a:cubicBezTo>
                  <a:cubicBezTo>
                    <a:pt x="91" y="407"/>
                    <a:pt x="91" y="407"/>
                    <a:pt x="91" y="407"/>
                  </a:cubicBezTo>
                  <a:cubicBezTo>
                    <a:pt x="91" y="407"/>
                    <a:pt x="91" y="407"/>
                    <a:pt x="91"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3" y="407"/>
                    <a:pt x="93" y="407"/>
                    <a:pt x="93" y="407"/>
                  </a:cubicBezTo>
                  <a:cubicBezTo>
                    <a:pt x="93" y="407"/>
                    <a:pt x="93" y="407"/>
                    <a:pt x="93" y="407"/>
                  </a:cubicBezTo>
                  <a:cubicBezTo>
                    <a:pt x="93" y="407"/>
                    <a:pt x="93" y="407"/>
                    <a:pt x="93" y="407"/>
                  </a:cubicBezTo>
                  <a:cubicBezTo>
                    <a:pt x="93" y="407"/>
                    <a:pt x="93" y="407"/>
                    <a:pt x="93"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5" y="407"/>
                    <a:pt x="95" y="407"/>
                    <a:pt x="95" y="407"/>
                  </a:cubicBezTo>
                  <a:cubicBezTo>
                    <a:pt x="95" y="407"/>
                    <a:pt x="95" y="407"/>
                    <a:pt x="95" y="407"/>
                  </a:cubicBezTo>
                  <a:cubicBezTo>
                    <a:pt x="95" y="407"/>
                    <a:pt x="95" y="407"/>
                    <a:pt x="95" y="407"/>
                  </a:cubicBezTo>
                  <a:cubicBezTo>
                    <a:pt x="95" y="407"/>
                    <a:pt x="95" y="407"/>
                    <a:pt x="95" y="407"/>
                  </a:cubicBezTo>
                  <a:cubicBezTo>
                    <a:pt x="96" y="407"/>
                    <a:pt x="96" y="407"/>
                    <a:pt x="96" y="407"/>
                  </a:cubicBezTo>
                  <a:cubicBezTo>
                    <a:pt x="96" y="407"/>
                    <a:pt x="96" y="407"/>
                    <a:pt x="96" y="407"/>
                  </a:cubicBezTo>
                  <a:cubicBezTo>
                    <a:pt x="96" y="407"/>
                    <a:pt x="96" y="407"/>
                    <a:pt x="96" y="407"/>
                  </a:cubicBezTo>
                  <a:cubicBezTo>
                    <a:pt x="96" y="407"/>
                    <a:pt x="96" y="407"/>
                    <a:pt x="96"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8" y="407"/>
                    <a:pt x="98" y="407"/>
                    <a:pt x="98" y="407"/>
                  </a:cubicBezTo>
                  <a:cubicBezTo>
                    <a:pt x="98" y="396"/>
                    <a:pt x="98" y="384"/>
                    <a:pt x="98"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6" y="372"/>
                    <a:pt x="96" y="372"/>
                    <a:pt x="96" y="372"/>
                  </a:cubicBezTo>
                  <a:cubicBezTo>
                    <a:pt x="96" y="372"/>
                    <a:pt x="96" y="372"/>
                    <a:pt x="96" y="372"/>
                  </a:cubicBezTo>
                  <a:cubicBezTo>
                    <a:pt x="96" y="372"/>
                    <a:pt x="96" y="372"/>
                    <a:pt x="96" y="372"/>
                  </a:cubicBezTo>
                  <a:cubicBezTo>
                    <a:pt x="96" y="372"/>
                    <a:pt x="96" y="372"/>
                    <a:pt x="96" y="372"/>
                  </a:cubicBezTo>
                  <a:cubicBezTo>
                    <a:pt x="95" y="372"/>
                    <a:pt x="95" y="372"/>
                    <a:pt x="95" y="372"/>
                  </a:cubicBezTo>
                  <a:cubicBezTo>
                    <a:pt x="95" y="372"/>
                    <a:pt x="95" y="372"/>
                    <a:pt x="95" y="372"/>
                  </a:cubicBezTo>
                  <a:cubicBezTo>
                    <a:pt x="95" y="372"/>
                    <a:pt x="95" y="372"/>
                    <a:pt x="95" y="372"/>
                  </a:cubicBezTo>
                  <a:cubicBezTo>
                    <a:pt x="95" y="372"/>
                    <a:pt x="95" y="372"/>
                    <a:pt x="95"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3" y="372"/>
                    <a:pt x="93" y="372"/>
                    <a:pt x="93" y="372"/>
                  </a:cubicBezTo>
                  <a:cubicBezTo>
                    <a:pt x="93" y="372"/>
                    <a:pt x="93" y="372"/>
                    <a:pt x="93" y="372"/>
                  </a:cubicBezTo>
                  <a:cubicBezTo>
                    <a:pt x="93" y="372"/>
                    <a:pt x="93" y="372"/>
                    <a:pt x="93" y="372"/>
                  </a:cubicBezTo>
                  <a:cubicBezTo>
                    <a:pt x="93" y="372"/>
                    <a:pt x="93" y="372"/>
                    <a:pt x="93"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1" y="372"/>
                    <a:pt x="91" y="372"/>
                    <a:pt x="91" y="372"/>
                  </a:cubicBezTo>
                  <a:cubicBezTo>
                    <a:pt x="91" y="372"/>
                    <a:pt x="91" y="372"/>
                    <a:pt x="91" y="372"/>
                  </a:cubicBezTo>
                  <a:cubicBezTo>
                    <a:pt x="91" y="372"/>
                    <a:pt x="91" y="372"/>
                    <a:pt x="91" y="372"/>
                  </a:cubicBezTo>
                  <a:cubicBezTo>
                    <a:pt x="91" y="372"/>
                    <a:pt x="91" y="372"/>
                    <a:pt x="91" y="372"/>
                  </a:cubicBezTo>
                  <a:cubicBezTo>
                    <a:pt x="90" y="372"/>
                    <a:pt x="90" y="372"/>
                    <a:pt x="90" y="372"/>
                  </a:cubicBezTo>
                  <a:cubicBezTo>
                    <a:pt x="90" y="357"/>
                    <a:pt x="90" y="357"/>
                    <a:pt x="90" y="357"/>
                  </a:cubicBezTo>
                  <a:cubicBezTo>
                    <a:pt x="98" y="357"/>
                    <a:pt x="98" y="357"/>
                    <a:pt x="98" y="357"/>
                  </a:cubicBezTo>
                  <a:cubicBezTo>
                    <a:pt x="98" y="345"/>
                    <a:pt x="98" y="334"/>
                    <a:pt x="98" y="322"/>
                  </a:cubicBezTo>
                  <a:cubicBezTo>
                    <a:pt x="90" y="322"/>
                    <a:pt x="90" y="322"/>
                    <a:pt x="90" y="322"/>
                  </a:cubicBezTo>
                  <a:cubicBezTo>
                    <a:pt x="90" y="307"/>
                    <a:pt x="90" y="307"/>
                    <a:pt x="90"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6" y="307"/>
                    <a:pt x="96" y="307"/>
                    <a:pt x="96" y="307"/>
                  </a:cubicBezTo>
                  <a:cubicBezTo>
                    <a:pt x="96" y="307"/>
                    <a:pt x="96" y="307"/>
                    <a:pt x="96" y="307"/>
                  </a:cubicBezTo>
                  <a:cubicBezTo>
                    <a:pt x="96" y="307"/>
                    <a:pt x="96" y="307"/>
                    <a:pt x="96" y="307"/>
                  </a:cubicBezTo>
                  <a:cubicBezTo>
                    <a:pt x="96" y="307"/>
                    <a:pt x="96" y="307"/>
                    <a:pt x="96"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8" y="307"/>
                    <a:pt x="98" y="307"/>
                    <a:pt x="98" y="307"/>
                  </a:cubicBezTo>
                  <a:lnTo>
                    <a:pt x="107" y="307"/>
                  </a:lnTo>
                  <a:close/>
                  <a:moveTo>
                    <a:pt x="59" y="0"/>
                  </a:moveTo>
                  <a:cubicBezTo>
                    <a:pt x="90" y="0"/>
                    <a:pt x="90" y="0"/>
                    <a:pt x="90" y="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8" y="20"/>
                    <a:pt x="88" y="20"/>
                    <a:pt x="88" y="20"/>
                  </a:cubicBezTo>
                  <a:cubicBezTo>
                    <a:pt x="88" y="20"/>
                    <a:pt x="88" y="20"/>
                    <a:pt x="88" y="20"/>
                  </a:cubicBezTo>
                  <a:cubicBezTo>
                    <a:pt x="88" y="20"/>
                    <a:pt x="88" y="20"/>
                    <a:pt x="88" y="20"/>
                  </a:cubicBezTo>
                  <a:cubicBezTo>
                    <a:pt x="88" y="20"/>
                    <a:pt x="88" y="20"/>
                    <a:pt x="88" y="20"/>
                  </a:cubicBezTo>
                  <a:cubicBezTo>
                    <a:pt x="88" y="20"/>
                    <a:pt x="88" y="20"/>
                    <a:pt x="88"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6" y="20"/>
                    <a:pt x="86" y="20"/>
                    <a:pt x="86" y="20"/>
                  </a:cubicBezTo>
                  <a:cubicBezTo>
                    <a:pt x="86" y="20"/>
                    <a:pt x="86" y="20"/>
                    <a:pt x="86" y="20"/>
                  </a:cubicBezTo>
                  <a:cubicBezTo>
                    <a:pt x="86" y="20"/>
                    <a:pt x="86" y="20"/>
                    <a:pt x="86" y="20"/>
                  </a:cubicBezTo>
                  <a:cubicBezTo>
                    <a:pt x="86" y="20"/>
                    <a:pt x="86" y="20"/>
                    <a:pt x="86" y="20"/>
                  </a:cubicBezTo>
                  <a:cubicBezTo>
                    <a:pt x="86" y="20"/>
                    <a:pt x="86" y="20"/>
                    <a:pt x="86" y="20"/>
                  </a:cubicBezTo>
                  <a:cubicBezTo>
                    <a:pt x="85" y="20"/>
                    <a:pt x="85" y="20"/>
                    <a:pt x="85" y="20"/>
                  </a:cubicBezTo>
                  <a:cubicBezTo>
                    <a:pt x="85" y="20"/>
                    <a:pt x="85" y="20"/>
                    <a:pt x="85" y="20"/>
                  </a:cubicBezTo>
                  <a:cubicBezTo>
                    <a:pt x="85" y="20"/>
                    <a:pt x="85" y="20"/>
                    <a:pt x="85" y="20"/>
                  </a:cubicBezTo>
                  <a:cubicBezTo>
                    <a:pt x="85" y="20"/>
                    <a:pt x="85" y="20"/>
                    <a:pt x="85" y="20"/>
                  </a:cubicBezTo>
                  <a:cubicBezTo>
                    <a:pt x="85" y="20"/>
                    <a:pt x="85" y="20"/>
                    <a:pt x="85" y="20"/>
                  </a:cubicBezTo>
                  <a:cubicBezTo>
                    <a:pt x="84" y="20"/>
                    <a:pt x="84" y="20"/>
                    <a:pt x="84" y="20"/>
                  </a:cubicBezTo>
                  <a:cubicBezTo>
                    <a:pt x="84" y="20"/>
                    <a:pt x="84" y="20"/>
                    <a:pt x="84" y="20"/>
                  </a:cubicBezTo>
                  <a:cubicBezTo>
                    <a:pt x="84" y="20"/>
                    <a:pt x="84" y="20"/>
                    <a:pt x="84" y="20"/>
                  </a:cubicBezTo>
                  <a:cubicBezTo>
                    <a:pt x="84" y="20"/>
                    <a:pt x="84" y="20"/>
                    <a:pt x="84" y="20"/>
                  </a:cubicBezTo>
                  <a:cubicBezTo>
                    <a:pt x="84" y="20"/>
                    <a:pt x="84" y="20"/>
                    <a:pt x="84" y="20"/>
                  </a:cubicBezTo>
                  <a:cubicBezTo>
                    <a:pt x="83" y="20"/>
                    <a:pt x="83" y="20"/>
                    <a:pt x="83" y="20"/>
                  </a:cubicBezTo>
                  <a:cubicBezTo>
                    <a:pt x="83" y="20"/>
                    <a:pt x="83" y="20"/>
                    <a:pt x="83" y="20"/>
                  </a:cubicBezTo>
                  <a:cubicBezTo>
                    <a:pt x="83" y="32"/>
                    <a:pt x="83" y="43"/>
                    <a:pt x="83" y="55"/>
                  </a:cubicBezTo>
                  <a:cubicBezTo>
                    <a:pt x="83" y="55"/>
                    <a:pt x="83" y="55"/>
                    <a:pt x="83" y="55"/>
                  </a:cubicBezTo>
                  <a:cubicBezTo>
                    <a:pt x="84" y="55"/>
                    <a:pt x="84" y="55"/>
                    <a:pt x="84" y="55"/>
                  </a:cubicBezTo>
                  <a:cubicBezTo>
                    <a:pt x="84" y="55"/>
                    <a:pt x="84" y="55"/>
                    <a:pt x="84" y="55"/>
                  </a:cubicBezTo>
                  <a:cubicBezTo>
                    <a:pt x="84" y="55"/>
                    <a:pt x="84" y="55"/>
                    <a:pt x="84" y="55"/>
                  </a:cubicBezTo>
                  <a:cubicBezTo>
                    <a:pt x="84" y="55"/>
                    <a:pt x="84" y="55"/>
                    <a:pt x="84" y="55"/>
                  </a:cubicBezTo>
                  <a:cubicBezTo>
                    <a:pt x="84" y="55"/>
                    <a:pt x="84" y="55"/>
                    <a:pt x="84"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6" y="55"/>
                    <a:pt x="86" y="55"/>
                    <a:pt x="86" y="55"/>
                  </a:cubicBezTo>
                  <a:cubicBezTo>
                    <a:pt x="86" y="55"/>
                    <a:pt x="86" y="55"/>
                    <a:pt x="86" y="55"/>
                  </a:cubicBezTo>
                  <a:cubicBezTo>
                    <a:pt x="86" y="55"/>
                    <a:pt x="86" y="55"/>
                    <a:pt x="86" y="55"/>
                  </a:cubicBezTo>
                  <a:cubicBezTo>
                    <a:pt x="86" y="55"/>
                    <a:pt x="86" y="55"/>
                    <a:pt x="86" y="55"/>
                  </a:cubicBezTo>
                  <a:cubicBezTo>
                    <a:pt x="86" y="55"/>
                    <a:pt x="86" y="55"/>
                    <a:pt x="86"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8" y="55"/>
                    <a:pt x="88" y="55"/>
                    <a:pt x="88" y="55"/>
                  </a:cubicBezTo>
                  <a:cubicBezTo>
                    <a:pt x="88" y="55"/>
                    <a:pt x="88" y="55"/>
                    <a:pt x="88" y="55"/>
                  </a:cubicBezTo>
                  <a:cubicBezTo>
                    <a:pt x="88" y="55"/>
                    <a:pt x="88" y="55"/>
                    <a:pt x="88" y="55"/>
                  </a:cubicBezTo>
                  <a:cubicBezTo>
                    <a:pt x="88" y="55"/>
                    <a:pt x="88" y="55"/>
                    <a:pt x="88" y="55"/>
                  </a:cubicBezTo>
                  <a:cubicBezTo>
                    <a:pt x="88" y="55"/>
                    <a:pt x="88" y="55"/>
                    <a:pt x="88"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90" y="55"/>
                    <a:pt x="90" y="55"/>
                    <a:pt x="90" y="55"/>
                  </a:cubicBezTo>
                  <a:cubicBezTo>
                    <a:pt x="90" y="55"/>
                    <a:pt x="90" y="55"/>
                    <a:pt x="90" y="55"/>
                  </a:cubicBezTo>
                  <a:cubicBezTo>
                    <a:pt x="90" y="55"/>
                    <a:pt x="90" y="55"/>
                    <a:pt x="90" y="55"/>
                  </a:cubicBezTo>
                  <a:cubicBezTo>
                    <a:pt x="90" y="55"/>
                    <a:pt x="90" y="55"/>
                    <a:pt x="90" y="55"/>
                  </a:cubicBezTo>
                  <a:cubicBezTo>
                    <a:pt x="90" y="55"/>
                    <a:pt x="90" y="55"/>
                    <a:pt x="90" y="55"/>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8" y="70"/>
                    <a:pt x="88" y="70"/>
                    <a:pt x="88" y="70"/>
                  </a:cubicBezTo>
                  <a:cubicBezTo>
                    <a:pt x="88" y="70"/>
                    <a:pt x="88" y="70"/>
                    <a:pt x="88" y="70"/>
                  </a:cubicBezTo>
                  <a:cubicBezTo>
                    <a:pt x="88" y="70"/>
                    <a:pt x="88" y="70"/>
                    <a:pt x="88" y="70"/>
                  </a:cubicBezTo>
                  <a:cubicBezTo>
                    <a:pt x="88" y="70"/>
                    <a:pt x="88" y="70"/>
                    <a:pt x="88" y="70"/>
                  </a:cubicBezTo>
                  <a:cubicBezTo>
                    <a:pt x="88" y="70"/>
                    <a:pt x="88" y="70"/>
                    <a:pt x="88"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6" y="70"/>
                    <a:pt x="86" y="70"/>
                    <a:pt x="86" y="70"/>
                  </a:cubicBezTo>
                  <a:cubicBezTo>
                    <a:pt x="86" y="70"/>
                    <a:pt x="86" y="70"/>
                    <a:pt x="86" y="70"/>
                  </a:cubicBezTo>
                  <a:cubicBezTo>
                    <a:pt x="86" y="70"/>
                    <a:pt x="86" y="70"/>
                    <a:pt x="86" y="70"/>
                  </a:cubicBezTo>
                  <a:cubicBezTo>
                    <a:pt x="86" y="70"/>
                    <a:pt x="86" y="70"/>
                    <a:pt x="86" y="70"/>
                  </a:cubicBezTo>
                  <a:cubicBezTo>
                    <a:pt x="86" y="70"/>
                    <a:pt x="86" y="70"/>
                    <a:pt x="86" y="70"/>
                  </a:cubicBezTo>
                  <a:cubicBezTo>
                    <a:pt x="85" y="70"/>
                    <a:pt x="85" y="70"/>
                    <a:pt x="85" y="70"/>
                  </a:cubicBezTo>
                  <a:cubicBezTo>
                    <a:pt x="85" y="70"/>
                    <a:pt x="85" y="70"/>
                    <a:pt x="85" y="70"/>
                  </a:cubicBezTo>
                  <a:cubicBezTo>
                    <a:pt x="85" y="70"/>
                    <a:pt x="85" y="70"/>
                    <a:pt x="85" y="70"/>
                  </a:cubicBezTo>
                  <a:cubicBezTo>
                    <a:pt x="85" y="70"/>
                    <a:pt x="85" y="70"/>
                    <a:pt x="85" y="70"/>
                  </a:cubicBezTo>
                  <a:cubicBezTo>
                    <a:pt x="85" y="70"/>
                    <a:pt x="85" y="70"/>
                    <a:pt x="85" y="70"/>
                  </a:cubicBezTo>
                  <a:cubicBezTo>
                    <a:pt x="84" y="70"/>
                    <a:pt x="84" y="70"/>
                    <a:pt x="84" y="70"/>
                  </a:cubicBezTo>
                  <a:cubicBezTo>
                    <a:pt x="84" y="70"/>
                    <a:pt x="84" y="70"/>
                    <a:pt x="84" y="70"/>
                  </a:cubicBezTo>
                  <a:cubicBezTo>
                    <a:pt x="84" y="70"/>
                    <a:pt x="84" y="70"/>
                    <a:pt x="84" y="70"/>
                  </a:cubicBezTo>
                  <a:cubicBezTo>
                    <a:pt x="84" y="70"/>
                    <a:pt x="84" y="70"/>
                    <a:pt x="84" y="70"/>
                  </a:cubicBezTo>
                  <a:cubicBezTo>
                    <a:pt x="84" y="70"/>
                    <a:pt x="84" y="70"/>
                    <a:pt x="84" y="70"/>
                  </a:cubicBezTo>
                  <a:cubicBezTo>
                    <a:pt x="83" y="70"/>
                    <a:pt x="83" y="70"/>
                    <a:pt x="83" y="70"/>
                  </a:cubicBezTo>
                  <a:cubicBezTo>
                    <a:pt x="83" y="70"/>
                    <a:pt x="83" y="70"/>
                    <a:pt x="83" y="70"/>
                  </a:cubicBezTo>
                  <a:cubicBezTo>
                    <a:pt x="66" y="70"/>
                    <a:pt x="66" y="70"/>
                    <a:pt x="66" y="70"/>
                  </a:cubicBezTo>
                  <a:cubicBezTo>
                    <a:pt x="66" y="70"/>
                    <a:pt x="66" y="70"/>
                    <a:pt x="66"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4" y="70"/>
                    <a:pt x="64" y="70"/>
                    <a:pt x="64" y="70"/>
                  </a:cubicBezTo>
                  <a:cubicBezTo>
                    <a:pt x="64" y="70"/>
                    <a:pt x="64" y="70"/>
                    <a:pt x="64" y="70"/>
                  </a:cubicBezTo>
                  <a:cubicBezTo>
                    <a:pt x="64" y="70"/>
                    <a:pt x="64" y="70"/>
                    <a:pt x="64" y="70"/>
                  </a:cubicBezTo>
                  <a:cubicBezTo>
                    <a:pt x="64" y="70"/>
                    <a:pt x="64" y="70"/>
                    <a:pt x="64" y="70"/>
                  </a:cubicBezTo>
                  <a:cubicBezTo>
                    <a:pt x="64" y="70"/>
                    <a:pt x="64" y="70"/>
                    <a:pt x="64" y="70"/>
                  </a:cubicBezTo>
                  <a:cubicBezTo>
                    <a:pt x="63" y="70"/>
                    <a:pt x="63" y="70"/>
                    <a:pt x="63" y="70"/>
                  </a:cubicBezTo>
                  <a:cubicBezTo>
                    <a:pt x="63" y="70"/>
                    <a:pt x="63" y="70"/>
                    <a:pt x="63" y="70"/>
                  </a:cubicBezTo>
                  <a:cubicBezTo>
                    <a:pt x="63" y="70"/>
                    <a:pt x="63" y="70"/>
                    <a:pt x="63" y="70"/>
                  </a:cubicBezTo>
                  <a:cubicBezTo>
                    <a:pt x="63" y="70"/>
                    <a:pt x="63" y="70"/>
                    <a:pt x="63" y="70"/>
                  </a:cubicBezTo>
                  <a:cubicBezTo>
                    <a:pt x="63" y="70"/>
                    <a:pt x="63" y="70"/>
                    <a:pt x="63" y="70"/>
                  </a:cubicBezTo>
                  <a:cubicBezTo>
                    <a:pt x="62" y="70"/>
                    <a:pt x="62" y="70"/>
                    <a:pt x="62" y="70"/>
                  </a:cubicBezTo>
                  <a:cubicBezTo>
                    <a:pt x="62" y="70"/>
                    <a:pt x="62" y="70"/>
                    <a:pt x="62" y="70"/>
                  </a:cubicBezTo>
                  <a:cubicBezTo>
                    <a:pt x="62" y="70"/>
                    <a:pt x="62" y="70"/>
                    <a:pt x="62" y="70"/>
                  </a:cubicBezTo>
                  <a:cubicBezTo>
                    <a:pt x="62" y="70"/>
                    <a:pt x="62" y="70"/>
                    <a:pt x="62" y="70"/>
                  </a:cubicBezTo>
                  <a:cubicBezTo>
                    <a:pt x="62" y="70"/>
                    <a:pt x="62" y="70"/>
                    <a:pt x="62" y="70"/>
                  </a:cubicBezTo>
                  <a:cubicBezTo>
                    <a:pt x="61" y="70"/>
                    <a:pt x="61" y="70"/>
                    <a:pt x="61" y="70"/>
                  </a:cubicBezTo>
                  <a:cubicBezTo>
                    <a:pt x="61" y="70"/>
                    <a:pt x="61" y="70"/>
                    <a:pt x="61" y="70"/>
                  </a:cubicBezTo>
                  <a:cubicBezTo>
                    <a:pt x="61" y="70"/>
                    <a:pt x="61" y="70"/>
                    <a:pt x="61" y="70"/>
                  </a:cubicBezTo>
                  <a:cubicBezTo>
                    <a:pt x="61" y="70"/>
                    <a:pt x="61" y="70"/>
                    <a:pt x="61" y="70"/>
                  </a:cubicBezTo>
                  <a:cubicBezTo>
                    <a:pt x="61" y="70"/>
                    <a:pt x="61" y="70"/>
                    <a:pt x="61"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59" y="70"/>
                    <a:pt x="59" y="70"/>
                    <a:pt x="59" y="70"/>
                  </a:cubicBezTo>
                  <a:cubicBezTo>
                    <a:pt x="59" y="70"/>
                    <a:pt x="59" y="70"/>
                    <a:pt x="59" y="70"/>
                  </a:cubicBezTo>
                  <a:cubicBezTo>
                    <a:pt x="59" y="70"/>
                    <a:pt x="59" y="70"/>
                    <a:pt x="59" y="70"/>
                  </a:cubicBezTo>
                  <a:cubicBezTo>
                    <a:pt x="59" y="70"/>
                    <a:pt x="59" y="70"/>
                    <a:pt x="59" y="70"/>
                  </a:cubicBezTo>
                  <a:cubicBezTo>
                    <a:pt x="59" y="70"/>
                    <a:pt x="59" y="70"/>
                    <a:pt x="59" y="70"/>
                  </a:cubicBezTo>
                  <a:cubicBezTo>
                    <a:pt x="59" y="55"/>
                    <a:pt x="59" y="55"/>
                    <a:pt x="59" y="55"/>
                  </a:cubicBezTo>
                  <a:cubicBezTo>
                    <a:pt x="66" y="55"/>
                    <a:pt x="66" y="55"/>
                    <a:pt x="66" y="55"/>
                  </a:cubicBezTo>
                  <a:cubicBezTo>
                    <a:pt x="66" y="43"/>
                    <a:pt x="66" y="32"/>
                    <a:pt x="66" y="20"/>
                  </a:cubicBezTo>
                  <a:cubicBezTo>
                    <a:pt x="59" y="20"/>
                    <a:pt x="59" y="20"/>
                    <a:pt x="59" y="20"/>
                  </a:cubicBezTo>
                  <a:cubicBezTo>
                    <a:pt x="59" y="0"/>
                    <a:pt x="59" y="0"/>
                    <a:pt x="59" y="0"/>
                  </a:cubicBezTo>
                  <a:close/>
                  <a:moveTo>
                    <a:pt x="90" y="480"/>
                  </a:moveTo>
                  <a:cubicBezTo>
                    <a:pt x="59" y="480"/>
                    <a:pt x="59" y="480"/>
                    <a:pt x="59" y="480"/>
                  </a:cubicBezTo>
                  <a:cubicBezTo>
                    <a:pt x="59" y="458"/>
                    <a:pt x="59" y="458"/>
                    <a:pt x="59" y="458"/>
                  </a:cubicBezTo>
                  <a:cubicBezTo>
                    <a:pt x="59" y="458"/>
                    <a:pt x="59" y="458"/>
                    <a:pt x="59" y="458"/>
                  </a:cubicBezTo>
                  <a:cubicBezTo>
                    <a:pt x="59" y="458"/>
                    <a:pt x="59" y="458"/>
                    <a:pt x="59" y="458"/>
                  </a:cubicBezTo>
                  <a:cubicBezTo>
                    <a:pt x="59" y="458"/>
                    <a:pt x="59" y="458"/>
                    <a:pt x="59"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1" y="458"/>
                    <a:pt x="61" y="458"/>
                    <a:pt x="61" y="458"/>
                  </a:cubicBezTo>
                  <a:cubicBezTo>
                    <a:pt x="61" y="458"/>
                    <a:pt x="61" y="458"/>
                    <a:pt x="61" y="458"/>
                  </a:cubicBezTo>
                  <a:cubicBezTo>
                    <a:pt x="61" y="458"/>
                    <a:pt x="61" y="458"/>
                    <a:pt x="61" y="458"/>
                  </a:cubicBezTo>
                  <a:cubicBezTo>
                    <a:pt x="61" y="458"/>
                    <a:pt x="61" y="458"/>
                    <a:pt x="61"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6" y="458"/>
                    <a:pt x="66" y="458"/>
                    <a:pt x="66" y="458"/>
                  </a:cubicBezTo>
                  <a:cubicBezTo>
                    <a:pt x="66" y="458"/>
                    <a:pt x="66" y="458"/>
                    <a:pt x="66" y="458"/>
                  </a:cubicBezTo>
                  <a:cubicBezTo>
                    <a:pt x="83" y="458"/>
                    <a:pt x="83" y="458"/>
                    <a:pt x="83" y="458"/>
                  </a:cubicBezTo>
                  <a:cubicBezTo>
                    <a:pt x="90" y="458"/>
                    <a:pt x="90" y="458"/>
                    <a:pt x="90" y="458"/>
                  </a:cubicBezTo>
                  <a:cubicBezTo>
                    <a:pt x="90" y="480"/>
                    <a:pt x="90" y="480"/>
                    <a:pt x="90" y="480"/>
                  </a:cubicBezTo>
                  <a:close/>
                  <a:moveTo>
                    <a:pt x="90" y="105"/>
                  </a:moveTo>
                  <a:cubicBezTo>
                    <a:pt x="90" y="121"/>
                    <a:pt x="90" y="121"/>
                    <a:pt x="90" y="121"/>
                  </a:cubicBezTo>
                  <a:cubicBezTo>
                    <a:pt x="83" y="121"/>
                    <a:pt x="83" y="121"/>
                    <a:pt x="83" y="121"/>
                  </a:cubicBezTo>
                  <a:cubicBezTo>
                    <a:pt x="83" y="132"/>
                    <a:pt x="83" y="144"/>
                    <a:pt x="83" y="156"/>
                  </a:cubicBezTo>
                  <a:cubicBezTo>
                    <a:pt x="90" y="156"/>
                    <a:pt x="90" y="156"/>
                    <a:pt x="90" y="156"/>
                  </a:cubicBezTo>
                  <a:cubicBezTo>
                    <a:pt x="90" y="171"/>
                    <a:pt x="90" y="171"/>
                    <a:pt x="90" y="171"/>
                  </a:cubicBezTo>
                  <a:cubicBezTo>
                    <a:pt x="83" y="171"/>
                    <a:pt x="83" y="171"/>
                    <a:pt x="83" y="171"/>
                  </a:cubicBezTo>
                  <a:cubicBezTo>
                    <a:pt x="66" y="171"/>
                    <a:pt x="66" y="171"/>
                    <a:pt x="66" y="171"/>
                  </a:cubicBezTo>
                  <a:cubicBezTo>
                    <a:pt x="66" y="171"/>
                    <a:pt x="66" y="171"/>
                    <a:pt x="66"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2" y="171"/>
                    <a:pt x="62" y="171"/>
                    <a:pt x="62" y="171"/>
                  </a:cubicBezTo>
                  <a:cubicBezTo>
                    <a:pt x="62" y="171"/>
                    <a:pt x="62" y="171"/>
                    <a:pt x="62" y="171"/>
                  </a:cubicBezTo>
                  <a:cubicBezTo>
                    <a:pt x="62" y="171"/>
                    <a:pt x="62" y="171"/>
                    <a:pt x="62" y="171"/>
                  </a:cubicBezTo>
                  <a:cubicBezTo>
                    <a:pt x="62" y="171"/>
                    <a:pt x="62" y="171"/>
                    <a:pt x="62"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56"/>
                    <a:pt x="59" y="156"/>
                    <a:pt x="59" y="156"/>
                  </a:cubicBezTo>
                  <a:cubicBezTo>
                    <a:pt x="66" y="156"/>
                    <a:pt x="66" y="156"/>
                    <a:pt x="66" y="156"/>
                  </a:cubicBezTo>
                  <a:cubicBezTo>
                    <a:pt x="66" y="144"/>
                    <a:pt x="66" y="132"/>
                    <a:pt x="66" y="121"/>
                  </a:cubicBezTo>
                  <a:cubicBezTo>
                    <a:pt x="59" y="121"/>
                    <a:pt x="59" y="121"/>
                    <a:pt x="59" y="121"/>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6" y="105"/>
                    <a:pt x="66" y="105"/>
                    <a:pt x="66" y="105"/>
                  </a:cubicBezTo>
                  <a:cubicBezTo>
                    <a:pt x="66" y="105"/>
                    <a:pt x="66" y="105"/>
                    <a:pt x="66" y="105"/>
                  </a:cubicBezTo>
                  <a:cubicBezTo>
                    <a:pt x="83" y="105"/>
                    <a:pt x="83" y="105"/>
                    <a:pt x="83" y="105"/>
                  </a:cubicBezTo>
                  <a:cubicBezTo>
                    <a:pt x="83" y="105"/>
                    <a:pt x="83" y="105"/>
                    <a:pt x="83"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90" y="105"/>
                    <a:pt x="90" y="105"/>
                    <a:pt x="90" y="105"/>
                  </a:cubicBezTo>
                  <a:cubicBezTo>
                    <a:pt x="90" y="105"/>
                    <a:pt x="90" y="105"/>
                    <a:pt x="90" y="105"/>
                  </a:cubicBezTo>
                  <a:cubicBezTo>
                    <a:pt x="90" y="105"/>
                    <a:pt x="90" y="105"/>
                    <a:pt x="90" y="105"/>
                  </a:cubicBezTo>
                  <a:cubicBezTo>
                    <a:pt x="90" y="105"/>
                    <a:pt x="90" y="105"/>
                    <a:pt x="90" y="105"/>
                  </a:cubicBezTo>
                  <a:cubicBezTo>
                    <a:pt x="90" y="105"/>
                    <a:pt x="90" y="105"/>
                    <a:pt x="90" y="105"/>
                  </a:cubicBezTo>
                  <a:close/>
                  <a:moveTo>
                    <a:pt x="90" y="206"/>
                  </a:moveTo>
                  <a:cubicBezTo>
                    <a:pt x="90" y="221"/>
                    <a:pt x="90" y="221"/>
                    <a:pt x="90" y="221"/>
                  </a:cubicBezTo>
                  <a:cubicBezTo>
                    <a:pt x="90" y="221"/>
                    <a:pt x="90" y="221"/>
                    <a:pt x="90" y="221"/>
                  </a:cubicBezTo>
                  <a:cubicBezTo>
                    <a:pt x="90" y="221"/>
                    <a:pt x="90" y="221"/>
                    <a:pt x="90" y="221"/>
                  </a:cubicBezTo>
                  <a:cubicBezTo>
                    <a:pt x="90" y="221"/>
                    <a:pt x="90" y="221"/>
                    <a:pt x="90" y="221"/>
                  </a:cubicBezTo>
                  <a:cubicBezTo>
                    <a:pt x="90" y="221"/>
                    <a:pt x="90" y="221"/>
                    <a:pt x="90"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3" y="221"/>
                    <a:pt x="83" y="221"/>
                    <a:pt x="83" y="221"/>
                  </a:cubicBezTo>
                  <a:cubicBezTo>
                    <a:pt x="83" y="221"/>
                    <a:pt x="83" y="221"/>
                    <a:pt x="83" y="221"/>
                  </a:cubicBezTo>
                  <a:cubicBezTo>
                    <a:pt x="83" y="233"/>
                    <a:pt x="83" y="245"/>
                    <a:pt x="83" y="256"/>
                  </a:cubicBezTo>
                  <a:cubicBezTo>
                    <a:pt x="83" y="256"/>
                    <a:pt x="83" y="256"/>
                    <a:pt x="83"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3" y="272"/>
                    <a:pt x="83" y="272"/>
                    <a:pt x="83" y="272"/>
                  </a:cubicBezTo>
                  <a:cubicBezTo>
                    <a:pt x="83" y="272"/>
                    <a:pt x="83" y="272"/>
                    <a:pt x="83" y="272"/>
                  </a:cubicBezTo>
                  <a:cubicBezTo>
                    <a:pt x="66" y="272"/>
                    <a:pt x="66" y="272"/>
                    <a:pt x="66" y="272"/>
                  </a:cubicBezTo>
                  <a:cubicBezTo>
                    <a:pt x="66" y="272"/>
                    <a:pt x="66" y="272"/>
                    <a:pt x="66"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56"/>
                    <a:pt x="59" y="256"/>
                    <a:pt x="59" y="256"/>
                  </a:cubicBezTo>
                  <a:cubicBezTo>
                    <a:pt x="66" y="256"/>
                    <a:pt x="66" y="256"/>
                    <a:pt x="66" y="256"/>
                  </a:cubicBezTo>
                  <a:cubicBezTo>
                    <a:pt x="66" y="245"/>
                    <a:pt x="66" y="233"/>
                    <a:pt x="66" y="221"/>
                  </a:cubicBezTo>
                  <a:cubicBezTo>
                    <a:pt x="59" y="221"/>
                    <a:pt x="59" y="221"/>
                    <a:pt x="59" y="221"/>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2" y="206"/>
                    <a:pt x="62" y="206"/>
                    <a:pt x="62" y="206"/>
                  </a:cubicBezTo>
                  <a:cubicBezTo>
                    <a:pt x="62" y="206"/>
                    <a:pt x="62" y="206"/>
                    <a:pt x="62" y="206"/>
                  </a:cubicBezTo>
                  <a:cubicBezTo>
                    <a:pt x="62" y="206"/>
                    <a:pt x="62" y="206"/>
                    <a:pt x="62" y="206"/>
                  </a:cubicBezTo>
                  <a:cubicBezTo>
                    <a:pt x="62" y="206"/>
                    <a:pt x="62" y="206"/>
                    <a:pt x="62"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6" y="206"/>
                    <a:pt x="66" y="206"/>
                    <a:pt x="66" y="206"/>
                  </a:cubicBezTo>
                  <a:cubicBezTo>
                    <a:pt x="66" y="206"/>
                    <a:pt x="66" y="206"/>
                    <a:pt x="66" y="206"/>
                  </a:cubicBezTo>
                  <a:cubicBezTo>
                    <a:pt x="83" y="206"/>
                    <a:pt x="83" y="206"/>
                    <a:pt x="83" y="206"/>
                  </a:cubicBezTo>
                  <a:cubicBezTo>
                    <a:pt x="90" y="206"/>
                    <a:pt x="90" y="206"/>
                    <a:pt x="90" y="206"/>
                  </a:cubicBezTo>
                  <a:close/>
                  <a:moveTo>
                    <a:pt x="90" y="307"/>
                  </a:moveTo>
                  <a:cubicBezTo>
                    <a:pt x="90" y="322"/>
                    <a:pt x="90" y="322"/>
                    <a:pt x="90" y="322"/>
                  </a:cubicBezTo>
                  <a:cubicBezTo>
                    <a:pt x="83" y="322"/>
                    <a:pt x="83" y="322"/>
                    <a:pt x="83" y="322"/>
                  </a:cubicBezTo>
                  <a:cubicBezTo>
                    <a:pt x="83" y="334"/>
                    <a:pt x="83" y="345"/>
                    <a:pt x="83" y="357"/>
                  </a:cubicBezTo>
                  <a:cubicBezTo>
                    <a:pt x="90" y="357"/>
                    <a:pt x="90" y="357"/>
                    <a:pt x="90" y="357"/>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8" y="372"/>
                    <a:pt x="88" y="372"/>
                    <a:pt x="88" y="372"/>
                  </a:cubicBezTo>
                  <a:cubicBezTo>
                    <a:pt x="88" y="372"/>
                    <a:pt x="88" y="372"/>
                    <a:pt x="88" y="372"/>
                  </a:cubicBezTo>
                  <a:cubicBezTo>
                    <a:pt x="88" y="372"/>
                    <a:pt x="88" y="372"/>
                    <a:pt x="88" y="372"/>
                  </a:cubicBezTo>
                  <a:cubicBezTo>
                    <a:pt x="88" y="372"/>
                    <a:pt x="88" y="372"/>
                    <a:pt x="88"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6" y="372"/>
                    <a:pt x="86" y="372"/>
                    <a:pt x="86" y="372"/>
                  </a:cubicBezTo>
                  <a:cubicBezTo>
                    <a:pt x="86" y="372"/>
                    <a:pt x="86" y="372"/>
                    <a:pt x="86" y="372"/>
                  </a:cubicBezTo>
                  <a:cubicBezTo>
                    <a:pt x="86" y="372"/>
                    <a:pt x="86" y="372"/>
                    <a:pt x="86" y="372"/>
                  </a:cubicBezTo>
                  <a:cubicBezTo>
                    <a:pt x="86" y="372"/>
                    <a:pt x="86" y="372"/>
                    <a:pt x="86"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4" y="372"/>
                    <a:pt x="84" y="372"/>
                    <a:pt x="84" y="372"/>
                  </a:cubicBezTo>
                  <a:cubicBezTo>
                    <a:pt x="84" y="372"/>
                    <a:pt x="84" y="372"/>
                    <a:pt x="84" y="372"/>
                  </a:cubicBezTo>
                  <a:cubicBezTo>
                    <a:pt x="84" y="372"/>
                    <a:pt x="84" y="372"/>
                    <a:pt x="84" y="372"/>
                  </a:cubicBezTo>
                  <a:cubicBezTo>
                    <a:pt x="84" y="372"/>
                    <a:pt x="84" y="372"/>
                    <a:pt x="84" y="372"/>
                  </a:cubicBezTo>
                  <a:cubicBezTo>
                    <a:pt x="83" y="372"/>
                    <a:pt x="83" y="372"/>
                    <a:pt x="83" y="372"/>
                  </a:cubicBezTo>
                  <a:cubicBezTo>
                    <a:pt x="83" y="372"/>
                    <a:pt x="83" y="372"/>
                    <a:pt x="83" y="372"/>
                  </a:cubicBezTo>
                  <a:cubicBezTo>
                    <a:pt x="66" y="372"/>
                    <a:pt x="66" y="372"/>
                    <a:pt x="66" y="372"/>
                  </a:cubicBezTo>
                  <a:cubicBezTo>
                    <a:pt x="66" y="372"/>
                    <a:pt x="66" y="372"/>
                    <a:pt x="66" y="372"/>
                  </a:cubicBezTo>
                  <a:cubicBezTo>
                    <a:pt x="66" y="372"/>
                    <a:pt x="66" y="372"/>
                    <a:pt x="66"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4" y="372"/>
                    <a:pt x="64" y="372"/>
                    <a:pt x="64" y="372"/>
                  </a:cubicBezTo>
                  <a:cubicBezTo>
                    <a:pt x="64" y="372"/>
                    <a:pt x="64" y="372"/>
                    <a:pt x="64" y="372"/>
                  </a:cubicBezTo>
                  <a:cubicBezTo>
                    <a:pt x="64" y="372"/>
                    <a:pt x="64" y="372"/>
                    <a:pt x="64" y="372"/>
                  </a:cubicBezTo>
                  <a:cubicBezTo>
                    <a:pt x="64" y="372"/>
                    <a:pt x="64" y="372"/>
                    <a:pt x="64"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59" y="372"/>
                    <a:pt x="59" y="372"/>
                    <a:pt x="59" y="372"/>
                  </a:cubicBezTo>
                  <a:cubicBezTo>
                    <a:pt x="59" y="372"/>
                    <a:pt x="59" y="372"/>
                    <a:pt x="59" y="372"/>
                  </a:cubicBezTo>
                  <a:cubicBezTo>
                    <a:pt x="59" y="372"/>
                    <a:pt x="59" y="372"/>
                    <a:pt x="59" y="372"/>
                  </a:cubicBezTo>
                  <a:cubicBezTo>
                    <a:pt x="59" y="372"/>
                    <a:pt x="59" y="372"/>
                    <a:pt x="59" y="372"/>
                  </a:cubicBezTo>
                  <a:cubicBezTo>
                    <a:pt x="59" y="357"/>
                    <a:pt x="59" y="357"/>
                    <a:pt x="59" y="357"/>
                  </a:cubicBezTo>
                  <a:cubicBezTo>
                    <a:pt x="66" y="357"/>
                    <a:pt x="66" y="357"/>
                    <a:pt x="66" y="357"/>
                  </a:cubicBezTo>
                  <a:cubicBezTo>
                    <a:pt x="66" y="345"/>
                    <a:pt x="66" y="334"/>
                    <a:pt x="66" y="322"/>
                  </a:cubicBezTo>
                  <a:cubicBezTo>
                    <a:pt x="59" y="322"/>
                    <a:pt x="59" y="322"/>
                    <a:pt x="59" y="322"/>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7"/>
                    <a:pt x="66" y="307"/>
                    <a:pt x="66" y="307"/>
                  </a:cubicBezTo>
                  <a:cubicBezTo>
                    <a:pt x="66" y="307"/>
                    <a:pt x="66" y="307"/>
                    <a:pt x="66" y="307"/>
                  </a:cubicBezTo>
                  <a:cubicBezTo>
                    <a:pt x="83" y="307"/>
                    <a:pt x="83" y="307"/>
                    <a:pt x="83" y="307"/>
                  </a:cubicBezTo>
                  <a:cubicBezTo>
                    <a:pt x="83" y="307"/>
                    <a:pt x="83" y="307"/>
                    <a:pt x="83"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90" y="307"/>
                    <a:pt x="90" y="307"/>
                    <a:pt x="90" y="307"/>
                  </a:cubicBezTo>
                  <a:cubicBezTo>
                    <a:pt x="90" y="307"/>
                    <a:pt x="90" y="307"/>
                    <a:pt x="90" y="307"/>
                  </a:cubicBezTo>
                  <a:cubicBezTo>
                    <a:pt x="90" y="307"/>
                    <a:pt x="90" y="307"/>
                    <a:pt x="90" y="307"/>
                  </a:cubicBezTo>
                  <a:cubicBezTo>
                    <a:pt x="90" y="307"/>
                    <a:pt x="90" y="307"/>
                    <a:pt x="90" y="307"/>
                  </a:cubicBezTo>
                  <a:cubicBezTo>
                    <a:pt x="90" y="307"/>
                    <a:pt x="90" y="307"/>
                    <a:pt x="90" y="307"/>
                  </a:cubicBezTo>
                  <a:close/>
                  <a:moveTo>
                    <a:pt x="90" y="407"/>
                  </a:moveTo>
                  <a:cubicBezTo>
                    <a:pt x="90" y="423"/>
                    <a:pt x="90" y="423"/>
                    <a:pt x="90" y="423"/>
                  </a:cubicBezTo>
                  <a:cubicBezTo>
                    <a:pt x="83" y="423"/>
                    <a:pt x="83" y="423"/>
                    <a:pt x="83" y="423"/>
                  </a:cubicBezTo>
                  <a:cubicBezTo>
                    <a:pt x="66" y="423"/>
                    <a:pt x="66" y="423"/>
                    <a:pt x="66" y="423"/>
                  </a:cubicBezTo>
                  <a:cubicBezTo>
                    <a:pt x="66" y="423"/>
                    <a:pt x="66" y="423"/>
                    <a:pt x="66"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1" y="423"/>
                    <a:pt x="61" y="423"/>
                    <a:pt x="61" y="423"/>
                  </a:cubicBezTo>
                  <a:cubicBezTo>
                    <a:pt x="61" y="423"/>
                    <a:pt x="61" y="423"/>
                    <a:pt x="61" y="423"/>
                  </a:cubicBezTo>
                  <a:cubicBezTo>
                    <a:pt x="61" y="423"/>
                    <a:pt x="61" y="423"/>
                    <a:pt x="61" y="423"/>
                  </a:cubicBezTo>
                  <a:cubicBezTo>
                    <a:pt x="61" y="423"/>
                    <a:pt x="61" y="423"/>
                    <a:pt x="61"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59" y="423"/>
                    <a:pt x="59" y="423"/>
                    <a:pt x="59" y="423"/>
                  </a:cubicBezTo>
                  <a:cubicBezTo>
                    <a:pt x="59" y="423"/>
                    <a:pt x="59" y="423"/>
                    <a:pt x="59" y="423"/>
                  </a:cubicBezTo>
                  <a:cubicBezTo>
                    <a:pt x="59" y="423"/>
                    <a:pt x="59" y="423"/>
                    <a:pt x="59" y="423"/>
                  </a:cubicBezTo>
                  <a:cubicBezTo>
                    <a:pt x="59" y="423"/>
                    <a:pt x="59" y="423"/>
                    <a:pt x="59" y="423"/>
                  </a:cubicBezTo>
                  <a:cubicBezTo>
                    <a:pt x="59" y="407"/>
                    <a:pt x="59" y="407"/>
                    <a:pt x="59" y="407"/>
                  </a:cubicBezTo>
                  <a:cubicBezTo>
                    <a:pt x="59" y="407"/>
                    <a:pt x="59" y="407"/>
                    <a:pt x="59" y="407"/>
                  </a:cubicBezTo>
                  <a:cubicBezTo>
                    <a:pt x="59" y="407"/>
                    <a:pt x="59" y="407"/>
                    <a:pt x="59" y="407"/>
                  </a:cubicBezTo>
                  <a:cubicBezTo>
                    <a:pt x="59" y="407"/>
                    <a:pt x="59" y="407"/>
                    <a:pt x="59"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4" y="407"/>
                    <a:pt x="64" y="407"/>
                    <a:pt x="64" y="407"/>
                  </a:cubicBezTo>
                  <a:cubicBezTo>
                    <a:pt x="64" y="407"/>
                    <a:pt x="64" y="407"/>
                    <a:pt x="64" y="407"/>
                  </a:cubicBezTo>
                  <a:cubicBezTo>
                    <a:pt x="64" y="407"/>
                    <a:pt x="64" y="407"/>
                    <a:pt x="64" y="407"/>
                  </a:cubicBezTo>
                  <a:cubicBezTo>
                    <a:pt x="64" y="407"/>
                    <a:pt x="64" y="407"/>
                    <a:pt x="64"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6" y="407"/>
                    <a:pt x="66" y="407"/>
                    <a:pt x="66" y="407"/>
                  </a:cubicBezTo>
                  <a:cubicBezTo>
                    <a:pt x="66" y="407"/>
                    <a:pt x="66" y="407"/>
                    <a:pt x="66" y="407"/>
                  </a:cubicBezTo>
                  <a:cubicBezTo>
                    <a:pt x="66" y="407"/>
                    <a:pt x="66" y="407"/>
                    <a:pt x="66" y="407"/>
                  </a:cubicBezTo>
                  <a:cubicBezTo>
                    <a:pt x="83" y="407"/>
                    <a:pt x="83" y="407"/>
                    <a:pt x="83" y="407"/>
                  </a:cubicBezTo>
                  <a:cubicBezTo>
                    <a:pt x="83" y="407"/>
                    <a:pt x="83" y="407"/>
                    <a:pt x="83" y="407"/>
                  </a:cubicBezTo>
                  <a:cubicBezTo>
                    <a:pt x="84" y="407"/>
                    <a:pt x="84" y="407"/>
                    <a:pt x="84" y="407"/>
                  </a:cubicBezTo>
                  <a:cubicBezTo>
                    <a:pt x="84" y="407"/>
                    <a:pt x="84" y="407"/>
                    <a:pt x="84" y="407"/>
                  </a:cubicBezTo>
                  <a:cubicBezTo>
                    <a:pt x="84" y="407"/>
                    <a:pt x="84" y="407"/>
                    <a:pt x="84" y="407"/>
                  </a:cubicBezTo>
                  <a:cubicBezTo>
                    <a:pt x="84" y="407"/>
                    <a:pt x="84" y="407"/>
                    <a:pt x="84"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6" y="407"/>
                    <a:pt x="86" y="407"/>
                    <a:pt x="86" y="407"/>
                  </a:cubicBezTo>
                  <a:cubicBezTo>
                    <a:pt x="86" y="407"/>
                    <a:pt x="86" y="407"/>
                    <a:pt x="86" y="407"/>
                  </a:cubicBezTo>
                  <a:cubicBezTo>
                    <a:pt x="86" y="407"/>
                    <a:pt x="86" y="407"/>
                    <a:pt x="86" y="407"/>
                  </a:cubicBezTo>
                  <a:cubicBezTo>
                    <a:pt x="86" y="407"/>
                    <a:pt x="86" y="407"/>
                    <a:pt x="86"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8" y="407"/>
                    <a:pt x="88" y="407"/>
                    <a:pt x="88" y="407"/>
                  </a:cubicBezTo>
                  <a:cubicBezTo>
                    <a:pt x="88" y="407"/>
                    <a:pt x="88" y="407"/>
                    <a:pt x="88" y="407"/>
                  </a:cubicBezTo>
                  <a:cubicBezTo>
                    <a:pt x="88" y="407"/>
                    <a:pt x="88" y="407"/>
                    <a:pt x="88" y="407"/>
                  </a:cubicBezTo>
                  <a:cubicBezTo>
                    <a:pt x="88" y="407"/>
                    <a:pt x="88" y="407"/>
                    <a:pt x="88"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90" y="407"/>
                    <a:pt x="90" y="407"/>
                    <a:pt x="90" y="407"/>
                  </a:cubicBezTo>
                  <a:cubicBezTo>
                    <a:pt x="90" y="407"/>
                    <a:pt x="90" y="407"/>
                    <a:pt x="90" y="407"/>
                  </a:cubicBezTo>
                  <a:cubicBezTo>
                    <a:pt x="90" y="407"/>
                    <a:pt x="90" y="407"/>
                    <a:pt x="90" y="407"/>
                  </a:cubicBezTo>
                  <a:cubicBezTo>
                    <a:pt x="90" y="407"/>
                    <a:pt x="90" y="407"/>
                    <a:pt x="90" y="407"/>
                  </a:cubicBezTo>
                  <a:close/>
                  <a:moveTo>
                    <a:pt x="27" y="0"/>
                  </a:moveTo>
                  <a:cubicBezTo>
                    <a:pt x="59" y="0"/>
                    <a:pt x="59" y="0"/>
                    <a:pt x="59" y="0"/>
                  </a:cubicBezTo>
                  <a:cubicBezTo>
                    <a:pt x="59" y="20"/>
                    <a:pt x="59" y="20"/>
                    <a:pt x="59" y="20"/>
                  </a:cubicBezTo>
                  <a:cubicBezTo>
                    <a:pt x="52" y="20"/>
                    <a:pt x="52" y="20"/>
                    <a:pt x="52" y="20"/>
                  </a:cubicBezTo>
                  <a:cubicBezTo>
                    <a:pt x="52" y="32"/>
                    <a:pt x="52" y="43"/>
                    <a:pt x="52" y="55"/>
                  </a:cubicBezTo>
                  <a:cubicBezTo>
                    <a:pt x="59" y="55"/>
                    <a:pt x="59" y="55"/>
                    <a:pt x="59" y="55"/>
                  </a:cubicBezTo>
                  <a:cubicBezTo>
                    <a:pt x="59" y="70"/>
                    <a:pt x="59" y="70"/>
                    <a:pt x="59" y="70"/>
                  </a:cubicBezTo>
                  <a:cubicBezTo>
                    <a:pt x="59" y="70"/>
                    <a:pt x="59" y="70"/>
                    <a:pt x="59"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7" y="70"/>
                    <a:pt x="57" y="70"/>
                    <a:pt x="57" y="70"/>
                  </a:cubicBezTo>
                  <a:cubicBezTo>
                    <a:pt x="57" y="70"/>
                    <a:pt x="57" y="70"/>
                    <a:pt x="57" y="70"/>
                  </a:cubicBezTo>
                  <a:cubicBezTo>
                    <a:pt x="57" y="70"/>
                    <a:pt x="57" y="70"/>
                    <a:pt x="57" y="70"/>
                  </a:cubicBezTo>
                  <a:cubicBezTo>
                    <a:pt x="57" y="70"/>
                    <a:pt x="57" y="70"/>
                    <a:pt x="57"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5" y="70"/>
                    <a:pt x="55" y="70"/>
                    <a:pt x="55" y="70"/>
                  </a:cubicBezTo>
                  <a:cubicBezTo>
                    <a:pt x="55" y="70"/>
                    <a:pt x="55" y="70"/>
                    <a:pt x="55" y="70"/>
                  </a:cubicBezTo>
                  <a:cubicBezTo>
                    <a:pt x="55" y="70"/>
                    <a:pt x="55" y="70"/>
                    <a:pt x="55" y="70"/>
                  </a:cubicBezTo>
                  <a:cubicBezTo>
                    <a:pt x="55" y="70"/>
                    <a:pt x="55" y="70"/>
                    <a:pt x="55" y="70"/>
                  </a:cubicBezTo>
                  <a:cubicBezTo>
                    <a:pt x="55" y="70"/>
                    <a:pt x="55" y="70"/>
                    <a:pt x="55"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3" y="70"/>
                    <a:pt x="53" y="70"/>
                    <a:pt x="53" y="70"/>
                  </a:cubicBezTo>
                  <a:cubicBezTo>
                    <a:pt x="53" y="70"/>
                    <a:pt x="53" y="70"/>
                    <a:pt x="53" y="70"/>
                  </a:cubicBezTo>
                  <a:cubicBezTo>
                    <a:pt x="53" y="70"/>
                    <a:pt x="53" y="70"/>
                    <a:pt x="53" y="70"/>
                  </a:cubicBezTo>
                  <a:cubicBezTo>
                    <a:pt x="53" y="70"/>
                    <a:pt x="53" y="70"/>
                    <a:pt x="53" y="70"/>
                  </a:cubicBezTo>
                  <a:cubicBezTo>
                    <a:pt x="53" y="70"/>
                    <a:pt x="53" y="70"/>
                    <a:pt x="53" y="70"/>
                  </a:cubicBezTo>
                  <a:cubicBezTo>
                    <a:pt x="52" y="70"/>
                    <a:pt x="52" y="70"/>
                    <a:pt x="52" y="70"/>
                  </a:cubicBezTo>
                  <a:cubicBezTo>
                    <a:pt x="52" y="70"/>
                    <a:pt x="52" y="70"/>
                    <a:pt x="52" y="70"/>
                  </a:cubicBezTo>
                  <a:cubicBezTo>
                    <a:pt x="52" y="70"/>
                    <a:pt x="52" y="70"/>
                    <a:pt x="52" y="70"/>
                  </a:cubicBezTo>
                  <a:cubicBezTo>
                    <a:pt x="52" y="70"/>
                    <a:pt x="52" y="70"/>
                    <a:pt x="52" y="70"/>
                  </a:cubicBezTo>
                  <a:cubicBezTo>
                    <a:pt x="52" y="70"/>
                    <a:pt x="52" y="70"/>
                    <a:pt x="52" y="70"/>
                  </a:cubicBezTo>
                  <a:cubicBezTo>
                    <a:pt x="52" y="82"/>
                    <a:pt x="52" y="94"/>
                    <a:pt x="52" y="105"/>
                  </a:cubicBezTo>
                  <a:cubicBezTo>
                    <a:pt x="52" y="105"/>
                    <a:pt x="52" y="105"/>
                    <a:pt x="52" y="105"/>
                  </a:cubicBezTo>
                  <a:cubicBezTo>
                    <a:pt x="52" y="105"/>
                    <a:pt x="52" y="105"/>
                    <a:pt x="52" y="105"/>
                  </a:cubicBezTo>
                  <a:cubicBezTo>
                    <a:pt x="52" y="105"/>
                    <a:pt x="52" y="105"/>
                    <a:pt x="52" y="105"/>
                  </a:cubicBezTo>
                  <a:cubicBezTo>
                    <a:pt x="52" y="105"/>
                    <a:pt x="52" y="105"/>
                    <a:pt x="52"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7" y="105"/>
                    <a:pt x="57" y="105"/>
                    <a:pt x="57" y="105"/>
                  </a:cubicBezTo>
                  <a:cubicBezTo>
                    <a:pt x="57" y="105"/>
                    <a:pt x="57" y="105"/>
                    <a:pt x="57" y="105"/>
                  </a:cubicBezTo>
                  <a:cubicBezTo>
                    <a:pt x="57" y="105"/>
                    <a:pt x="57" y="105"/>
                    <a:pt x="57" y="105"/>
                  </a:cubicBezTo>
                  <a:cubicBezTo>
                    <a:pt x="57" y="105"/>
                    <a:pt x="57" y="105"/>
                    <a:pt x="57"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9" y="105"/>
                    <a:pt x="59" y="105"/>
                    <a:pt x="59" y="105"/>
                  </a:cubicBezTo>
                  <a:cubicBezTo>
                    <a:pt x="59" y="105"/>
                    <a:pt x="59" y="105"/>
                    <a:pt x="59" y="105"/>
                  </a:cubicBezTo>
                  <a:cubicBezTo>
                    <a:pt x="59" y="121"/>
                    <a:pt x="59" y="121"/>
                    <a:pt x="59" y="121"/>
                  </a:cubicBezTo>
                  <a:cubicBezTo>
                    <a:pt x="52" y="121"/>
                    <a:pt x="52" y="121"/>
                    <a:pt x="52" y="121"/>
                  </a:cubicBezTo>
                  <a:cubicBezTo>
                    <a:pt x="52" y="132"/>
                    <a:pt x="52" y="144"/>
                    <a:pt x="52" y="156"/>
                  </a:cubicBezTo>
                  <a:cubicBezTo>
                    <a:pt x="59" y="156"/>
                    <a:pt x="59" y="156"/>
                    <a:pt x="59" y="156"/>
                  </a:cubicBezTo>
                  <a:cubicBezTo>
                    <a:pt x="59" y="171"/>
                    <a:pt x="59" y="171"/>
                    <a:pt x="59" y="171"/>
                  </a:cubicBezTo>
                  <a:cubicBezTo>
                    <a:pt x="59" y="171"/>
                    <a:pt x="59" y="171"/>
                    <a:pt x="59"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5" y="171"/>
                    <a:pt x="55" y="171"/>
                    <a:pt x="55" y="171"/>
                  </a:cubicBezTo>
                  <a:cubicBezTo>
                    <a:pt x="55" y="171"/>
                    <a:pt x="55" y="171"/>
                    <a:pt x="55" y="171"/>
                  </a:cubicBezTo>
                  <a:cubicBezTo>
                    <a:pt x="55" y="171"/>
                    <a:pt x="55" y="171"/>
                    <a:pt x="55" y="171"/>
                  </a:cubicBezTo>
                  <a:cubicBezTo>
                    <a:pt x="55" y="171"/>
                    <a:pt x="55" y="171"/>
                    <a:pt x="55"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3" y="171"/>
                    <a:pt x="53" y="171"/>
                    <a:pt x="53" y="171"/>
                  </a:cubicBezTo>
                  <a:cubicBezTo>
                    <a:pt x="53" y="171"/>
                    <a:pt x="53" y="171"/>
                    <a:pt x="53" y="171"/>
                  </a:cubicBezTo>
                  <a:cubicBezTo>
                    <a:pt x="53" y="171"/>
                    <a:pt x="53" y="171"/>
                    <a:pt x="53" y="171"/>
                  </a:cubicBezTo>
                  <a:cubicBezTo>
                    <a:pt x="53" y="171"/>
                    <a:pt x="53" y="171"/>
                    <a:pt x="53"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27" y="171"/>
                    <a:pt x="27" y="171"/>
                    <a:pt x="27" y="171"/>
                  </a:cubicBezTo>
                  <a:cubicBezTo>
                    <a:pt x="27" y="156"/>
                    <a:pt x="27" y="156"/>
                    <a:pt x="27" y="156"/>
                  </a:cubicBezTo>
                  <a:cubicBezTo>
                    <a:pt x="34" y="156"/>
                    <a:pt x="34" y="156"/>
                    <a:pt x="34" y="156"/>
                  </a:cubicBezTo>
                  <a:cubicBezTo>
                    <a:pt x="34" y="144"/>
                    <a:pt x="34" y="132"/>
                    <a:pt x="34" y="121"/>
                  </a:cubicBezTo>
                  <a:cubicBezTo>
                    <a:pt x="27" y="121"/>
                    <a:pt x="27" y="121"/>
                    <a:pt x="27" y="121"/>
                  </a:cubicBezTo>
                  <a:cubicBezTo>
                    <a:pt x="27" y="105"/>
                    <a:pt x="27" y="105"/>
                    <a:pt x="27" y="105"/>
                  </a:cubicBezTo>
                  <a:cubicBezTo>
                    <a:pt x="34" y="105"/>
                    <a:pt x="34" y="105"/>
                    <a:pt x="34" y="105"/>
                  </a:cubicBezTo>
                  <a:cubicBezTo>
                    <a:pt x="34" y="94"/>
                    <a:pt x="34" y="82"/>
                    <a:pt x="34" y="70"/>
                  </a:cubicBezTo>
                  <a:cubicBezTo>
                    <a:pt x="27" y="70"/>
                    <a:pt x="27" y="70"/>
                    <a:pt x="27" y="70"/>
                  </a:cubicBezTo>
                  <a:cubicBezTo>
                    <a:pt x="27" y="55"/>
                    <a:pt x="27" y="55"/>
                    <a:pt x="27" y="55"/>
                  </a:cubicBezTo>
                  <a:cubicBezTo>
                    <a:pt x="34" y="55"/>
                    <a:pt x="34" y="55"/>
                    <a:pt x="34" y="55"/>
                  </a:cubicBezTo>
                  <a:cubicBezTo>
                    <a:pt x="34" y="43"/>
                    <a:pt x="34" y="32"/>
                    <a:pt x="34" y="20"/>
                  </a:cubicBezTo>
                  <a:cubicBezTo>
                    <a:pt x="27" y="20"/>
                    <a:pt x="27" y="20"/>
                    <a:pt x="27" y="20"/>
                  </a:cubicBezTo>
                  <a:cubicBezTo>
                    <a:pt x="27" y="0"/>
                    <a:pt x="27" y="0"/>
                    <a:pt x="27" y="0"/>
                  </a:cubicBezTo>
                  <a:close/>
                  <a:moveTo>
                    <a:pt x="59" y="480"/>
                  </a:moveTo>
                  <a:cubicBezTo>
                    <a:pt x="27" y="480"/>
                    <a:pt x="27" y="480"/>
                    <a:pt x="27" y="480"/>
                  </a:cubicBezTo>
                  <a:cubicBezTo>
                    <a:pt x="27" y="458"/>
                    <a:pt x="27" y="458"/>
                    <a:pt x="27" y="458"/>
                  </a:cubicBezTo>
                  <a:cubicBezTo>
                    <a:pt x="34" y="458"/>
                    <a:pt x="34" y="458"/>
                    <a:pt x="34" y="458"/>
                  </a:cubicBezTo>
                  <a:cubicBezTo>
                    <a:pt x="34" y="446"/>
                    <a:pt x="34" y="434"/>
                    <a:pt x="34" y="423"/>
                  </a:cubicBezTo>
                  <a:cubicBezTo>
                    <a:pt x="27" y="423"/>
                    <a:pt x="27" y="423"/>
                    <a:pt x="27" y="423"/>
                  </a:cubicBezTo>
                  <a:cubicBezTo>
                    <a:pt x="27" y="407"/>
                    <a:pt x="27" y="407"/>
                    <a:pt x="27"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3" y="407"/>
                    <a:pt x="53" y="407"/>
                    <a:pt x="53" y="407"/>
                  </a:cubicBezTo>
                  <a:cubicBezTo>
                    <a:pt x="53" y="407"/>
                    <a:pt x="53" y="407"/>
                    <a:pt x="53" y="407"/>
                  </a:cubicBezTo>
                  <a:cubicBezTo>
                    <a:pt x="53" y="407"/>
                    <a:pt x="53" y="407"/>
                    <a:pt x="53" y="407"/>
                  </a:cubicBezTo>
                  <a:cubicBezTo>
                    <a:pt x="53" y="407"/>
                    <a:pt x="53" y="407"/>
                    <a:pt x="53"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9" y="407"/>
                    <a:pt x="59" y="407"/>
                    <a:pt x="59" y="407"/>
                  </a:cubicBezTo>
                  <a:cubicBezTo>
                    <a:pt x="59" y="407"/>
                    <a:pt x="59" y="407"/>
                    <a:pt x="59" y="407"/>
                  </a:cubicBezTo>
                  <a:cubicBezTo>
                    <a:pt x="59" y="407"/>
                    <a:pt x="59" y="407"/>
                    <a:pt x="59" y="407"/>
                  </a:cubicBezTo>
                  <a:cubicBezTo>
                    <a:pt x="59" y="423"/>
                    <a:pt x="59" y="423"/>
                    <a:pt x="59" y="423"/>
                  </a:cubicBezTo>
                  <a:cubicBezTo>
                    <a:pt x="59" y="423"/>
                    <a:pt x="59" y="423"/>
                    <a:pt x="59"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34"/>
                    <a:pt x="52" y="446"/>
                    <a:pt x="52" y="458"/>
                  </a:cubicBezTo>
                  <a:cubicBezTo>
                    <a:pt x="52" y="458"/>
                    <a:pt x="52" y="458"/>
                    <a:pt x="52" y="458"/>
                  </a:cubicBezTo>
                  <a:cubicBezTo>
                    <a:pt x="52" y="458"/>
                    <a:pt x="52" y="458"/>
                    <a:pt x="52" y="458"/>
                  </a:cubicBezTo>
                  <a:cubicBezTo>
                    <a:pt x="52" y="458"/>
                    <a:pt x="52" y="458"/>
                    <a:pt x="52" y="458"/>
                  </a:cubicBezTo>
                  <a:cubicBezTo>
                    <a:pt x="52" y="458"/>
                    <a:pt x="52" y="458"/>
                    <a:pt x="52"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9" y="458"/>
                    <a:pt x="59" y="458"/>
                    <a:pt x="59" y="458"/>
                  </a:cubicBezTo>
                  <a:cubicBezTo>
                    <a:pt x="59" y="458"/>
                    <a:pt x="59" y="458"/>
                    <a:pt x="59" y="458"/>
                  </a:cubicBezTo>
                  <a:cubicBezTo>
                    <a:pt x="59" y="480"/>
                    <a:pt x="59" y="480"/>
                    <a:pt x="59" y="480"/>
                  </a:cubicBezTo>
                  <a:close/>
                  <a:moveTo>
                    <a:pt x="59" y="206"/>
                  </a:moveTo>
                  <a:cubicBezTo>
                    <a:pt x="59" y="221"/>
                    <a:pt x="59" y="221"/>
                    <a:pt x="59" y="221"/>
                  </a:cubicBezTo>
                  <a:cubicBezTo>
                    <a:pt x="52" y="221"/>
                    <a:pt x="52" y="221"/>
                    <a:pt x="52" y="221"/>
                  </a:cubicBezTo>
                  <a:cubicBezTo>
                    <a:pt x="52" y="233"/>
                    <a:pt x="52" y="245"/>
                    <a:pt x="52" y="256"/>
                  </a:cubicBezTo>
                  <a:cubicBezTo>
                    <a:pt x="59" y="256"/>
                    <a:pt x="59" y="256"/>
                    <a:pt x="59" y="256"/>
                  </a:cubicBezTo>
                  <a:cubicBezTo>
                    <a:pt x="59" y="272"/>
                    <a:pt x="59" y="272"/>
                    <a:pt x="59" y="272"/>
                  </a:cubicBezTo>
                  <a:cubicBezTo>
                    <a:pt x="59" y="272"/>
                    <a:pt x="59" y="272"/>
                    <a:pt x="59"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7" y="272"/>
                    <a:pt x="57" y="272"/>
                    <a:pt x="57" y="272"/>
                  </a:cubicBezTo>
                  <a:cubicBezTo>
                    <a:pt x="57" y="272"/>
                    <a:pt x="57" y="272"/>
                    <a:pt x="57" y="272"/>
                  </a:cubicBezTo>
                  <a:cubicBezTo>
                    <a:pt x="57" y="272"/>
                    <a:pt x="57" y="272"/>
                    <a:pt x="57" y="272"/>
                  </a:cubicBezTo>
                  <a:cubicBezTo>
                    <a:pt x="57" y="272"/>
                    <a:pt x="57" y="272"/>
                    <a:pt x="57"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83"/>
                    <a:pt x="52" y="295"/>
                    <a:pt x="52" y="307"/>
                  </a:cubicBezTo>
                  <a:cubicBezTo>
                    <a:pt x="52" y="307"/>
                    <a:pt x="52" y="307"/>
                    <a:pt x="52" y="307"/>
                  </a:cubicBezTo>
                  <a:cubicBezTo>
                    <a:pt x="52" y="307"/>
                    <a:pt x="52" y="307"/>
                    <a:pt x="52" y="307"/>
                  </a:cubicBezTo>
                  <a:cubicBezTo>
                    <a:pt x="52" y="307"/>
                    <a:pt x="52" y="307"/>
                    <a:pt x="52" y="307"/>
                  </a:cubicBezTo>
                  <a:cubicBezTo>
                    <a:pt x="52" y="307"/>
                    <a:pt x="52" y="307"/>
                    <a:pt x="52"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7" y="307"/>
                    <a:pt x="57" y="307"/>
                    <a:pt x="57" y="307"/>
                  </a:cubicBezTo>
                  <a:cubicBezTo>
                    <a:pt x="57" y="307"/>
                    <a:pt x="57" y="307"/>
                    <a:pt x="57" y="307"/>
                  </a:cubicBezTo>
                  <a:cubicBezTo>
                    <a:pt x="57" y="307"/>
                    <a:pt x="57" y="307"/>
                    <a:pt x="57" y="307"/>
                  </a:cubicBezTo>
                  <a:cubicBezTo>
                    <a:pt x="57" y="307"/>
                    <a:pt x="57" y="307"/>
                    <a:pt x="57"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9" y="307"/>
                    <a:pt x="59" y="307"/>
                    <a:pt x="59" y="307"/>
                  </a:cubicBezTo>
                  <a:cubicBezTo>
                    <a:pt x="59" y="307"/>
                    <a:pt x="59" y="307"/>
                    <a:pt x="59" y="307"/>
                  </a:cubicBezTo>
                  <a:cubicBezTo>
                    <a:pt x="59" y="322"/>
                    <a:pt x="59" y="322"/>
                    <a:pt x="59" y="322"/>
                  </a:cubicBezTo>
                  <a:cubicBezTo>
                    <a:pt x="52" y="322"/>
                    <a:pt x="52" y="322"/>
                    <a:pt x="52" y="322"/>
                  </a:cubicBezTo>
                  <a:cubicBezTo>
                    <a:pt x="52" y="334"/>
                    <a:pt x="52" y="345"/>
                    <a:pt x="52" y="357"/>
                  </a:cubicBezTo>
                  <a:cubicBezTo>
                    <a:pt x="59" y="357"/>
                    <a:pt x="59" y="357"/>
                    <a:pt x="59" y="357"/>
                  </a:cubicBezTo>
                  <a:cubicBezTo>
                    <a:pt x="59" y="372"/>
                    <a:pt x="59" y="372"/>
                    <a:pt x="59" y="372"/>
                  </a:cubicBezTo>
                  <a:cubicBezTo>
                    <a:pt x="59" y="372"/>
                    <a:pt x="59" y="372"/>
                    <a:pt x="59" y="372"/>
                  </a:cubicBezTo>
                  <a:cubicBezTo>
                    <a:pt x="59" y="372"/>
                    <a:pt x="59" y="372"/>
                    <a:pt x="59"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3" y="372"/>
                    <a:pt x="53" y="372"/>
                    <a:pt x="53" y="372"/>
                  </a:cubicBezTo>
                  <a:cubicBezTo>
                    <a:pt x="53" y="372"/>
                    <a:pt x="53" y="372"/>
                    <a:pt x="53" y="372"/>
                  </a:cubicBezTo>
                  <a:cubicBezTo>
                    <a:pt x="53" y="372"/>
                    <a:pt x="53" y="372"/>
                    <a:pt x="53" y="372"/>
                  </a:cubicBezTo>
                  <a:cubicBezTo>
                    <a:pt x="53" y="372"/>
                    <a:pt x="53" y="372"/>
                    <a:pt x="53"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27" y="372"/>
                    <a:pt x="27" y="372"/>
                    <a:pt x="27" y="372"/>
                  </a:cubicBezTo>
                  <a:cubicBezTo>
                    <a:pt x="27" y="357"/>
                    <a:pt x="27" y="357"/>
                    <a:pt x="27" y="357"/>
                  </a:cubicBezTo>
                  <a:cubicBezTo>
                    <a:pt x="34" y="357"/>
                    <a:pt x="34" y="357"/>
                    <a:pt x="34" y="357"/>
                  </a:cubicBezTo>
                  <a:cubicBezTo>
                    <a:pt x="34" y="345"/>
                    <a:pt x="34" y="334"/>
                    <a:pt x="34" y="322"/>
                  </a:cubicBezTo>
                  <a:cubicBezTo>
                    <a:pt x="27" y="322"/>
                    <a:pt x="27" y="322"/>
                    <a:pt x="27" y="322"/>
                  </a:cubicBezTo>
                  <a:cubicBezTo>
                    <a:pt x="27" y="307"/>
                    <a:pt x="27" y="307"/>
                    <a:pt x="27" y="307"/>
                  </a:cubicBezTo>
                  <a:cubicBezTo>
                    <a:pt x="34" y="307"/>
                    <a:pt x="34" y="307"/>
                    <a:pt x="34" y="307"/>
                  </a:cubicBezTo>
                  <a:cubicBezTo>
                    <a:pt x="34" y="295"/>
                    <a:pt x="34" y="283"/>
                    <a:pt x="34" y="272"/>
                  </a:cubicBezTo>
                  <a:cubicBezTo>
                    <a:pt x="27" y="272"/>
                    <a:pt x="27" y="272"/>
                    <a:pt x="27" y="272"/>
                  </a:cubicBezTo>
                  <a:cubicBezTo>
                    <a:pt x="27" y="256"/>
                    <a:pt x="27" y="256"/>
                    <a:pt x="27" y="256"/>
                  </a:cubicBezTo>
                  <a:cubicBezTo>
                    <a:pt x="34" y="256"/>
                    <a:pt x="34" y="256"/>
                    <a:pt x="34" y="256"/>
                  </a:cubicBezTo>
                  <a:cubicBezTo>
                    <a:pt x="34" y="245"/>
                    <a:pt x="34" y="233"/>
                    <a:pt x="34" y="221"/>
                  </a:cubicBezTo>
                  <a:cubicBezTo>
                    <a:pt x="27" y="221"/>
                    <a:pt x="27" y="221"/>
                    <a:pt x="27" y="221"/>
                  </a:cubicBezTo>
                  <a:cubicBezTo>
                    <a:pt x="27" y="206"/>
                    <a:pt x="27" y="206"/>
                    <a:pt x="27"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3" y="206"/>
                    <a:pt x="53" y="206"/>
                    <a:pt x="53" y="206"/>
                  </a:cubicBezTo>
                  <a:cubicBezTo>
                    <a:pt x="53" y="206"/>
                    <a:pt x="53" y="206"/>
                    <a:pt x="53" y="206"/>
                  </a:cubicBezTo>
                  <a:cubicBezTo>
                    <a:pt x="53" y="206"/>
                    <a:pt x="53" y="206"/>
                    <a:pt x="53" y="206"/>
                  </a:cubicBezTo>
                  <a:cubicBezTo>
                    <a:pt x="53" y="206"/>
                    <a:pt x="53" y="206"/>
                    <a:pt x="53"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5" y="206"/>
                    <a:pt x="55" y="206"/>
                    <a:pt x="55" y="206"/>
                  </a:cubicBezTo>
                  <a:cubicBezTo>
                    <a:pt x="55" y="206"/>
                    <a:pt x="55" y="206"/>
                    <a:pt x="55" y="206"/>
                  </a:cubicBezTo>
                  <a:cubicBezTo>
                    <a:pt x="55" y="206"/>
                    <a:pt x="55" y="206"/>
                    <a:pt x="55" y="206"/>
                  </a:cubicBezTo>
                  <a:cubicBezTo>
                    <a:pt x="55" y="206"/>
                    <a:pt x="55" y="206"/>
                    <a:pt x="55"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9" y="206"/>
                    <a:pt x="59" y="206"/>
                    <a:pt x="59" y="206"/>
                  </a:cubicBezTo>
                  <a:close/>
                  <a:moveTo>
                    <a:pt x="0" y="0"/>
                  </a:moveTo>
                  <a:cubicBezTo>
                    <a:pt x="27" y="0"/>
                    <a:pt x="27" y="0"/>
                    <a:pt x="27" y="0"/>
                  </a:cubicBezTo>
                  <a:cubicBezTo>
                    <a:pt x="27" y="20"/>
                    <a:pt x="27" y="20"/>
                    <a:pt x="27" y="20"/>
                  </a:cubicBezTo>
                  <a:cubicBezTo>
                    <a:pt x="20" y="20"/>
                    <a:pt x="20" y="20"/>
                    <a:pt x="20" y="20"/>
                  </a:cubicBezTo>
                  <a:cubicBezTo>
                    <a:pt x="20" y="32"/>
                    <a:pt x="20" y="43"/>
                    <a:pt x="20" y="55"/>
                  </a:cubicBezTo>
                  <a:cubicBezTo>
                    <a:pt x="27" y="55"/>
                    <a:pt x="27" y="55"/>
                    <a:pt x="27" y="55"/>
                  </a:cubicBezTo>
                  <a:cubicBezTo>
                    <a:pt x="27" y="70"/>
                    <a:pt x="27" y="70"/>
                    <a:pt x="27" y="70"/>
                  </a:cubicBezTo>
                  <a:cubicBezTo>
                    <a:pt x="20" y="70"/>
                    <a:pt x="20" y="70"/>
                    <a:pt x="20" y="70"/>
                  </a:cubicBezTo>
                  <a:cubicBezTo>
                    <a:pt x="20" y="82"/>
                    <a:pt x="20" y="94"/>
                    <a:pt x="20" y="105"/>
                  </a:cubicBezTo>
                  <a:cubicBezTo>
                    <a:pt x="27" y="105"/>
                    <a:pt x="27" y="105"/>
                    <a:pt x="27" y="105"/>
                  </a:cubicBezTo>
                  <a:cubicBezTo>
                    <a:pt x="27" y="121"/>
                    <a:pt x="27" y="121"/>
                    <a:pt x="27" y="121"/>
                  </a:cubicBezTo>
                  <a:cubicBezTo>
                    <a:pt x="20" y="121"/>
                    <a:pt x="20" y="121"/>
                    <a:pt x="20" y="121"/>
                  </a:cubicBezTo>
                  <a:cubicBezTo>
                    <a:pt x="20" y="132"/>
                    <a:pt x="20" y="144"/>
                    <a:pt x="20" y="156"/>
                  </a:cubicBezTo>
                  <a:cubicBezTo>
                    <a:pt x="27" y="156"/>
                    <a:pt x="27" y="156"/>
                    <a:pt x="27" y="156"/>
                  </a:cubicBezTo>
                  <a:cubicBezTo>
                    <a:pt x="27" y="171"/>
                    <a:pt x="27" y="171"/>
                    <a:pt x="27" y="171"/>
                  </a:cubicBezTo>
                  <a:cubicBezTo>
                    <a:pt x="20" y="171"/>
                    <a:pt x="20" y="171"/>
                    <a:pt x="20" y="171"/>
                  </a:cubicBezTo>
                  <a:cubicBezTo>
                    <a:pt x="20" y="183"/>
                    <a:pt x="20" y="194"/>
                    <a:pt x="20" y="206"/>
                  </a:cubicBezTo>
                  <a:cubicBezTo>
                    <a:pt x="27" y="206"/>
                    <a:pt x="27" y="206"/>
                    <a:pt x="27" y="206"/>
                  </a:cubicBezTo>
                  <a:cubicBezTo>
                    <a:pt x="27" y="221"/>
                    <a:pt x="27" y="221"/>
                    <a:pt x="27" y="221"/>
                  </a:cubicBezTo>
                  <a:cubicBezTo>
                    <a:pt x="20" y="221"/>
                    <a:pt x="20" y="221"/>
                    <a:pt x="20" y="221"/>
                  </a:cubicBezTo>
                  <a:cubicBezTo>
                    <a:pt x="20" y="233"/>
                    <a:pt x="20" y="245"/>
                    <a:pt x="20" y="256"/>
                  </a:cubicBezTo>
                  <a:cubicBezTo>
                    <a:pt x="27" y="256"/>
                    <a:pt x="27" y="256"/>
                    <a:pt x="27" y="256"/>
                  </a:cubicBezTo>
                  <a:cubicBezTo>
                    <a:pt x="27" y="272"/>
                    <a:pt x="27" y="272"/>
                    <a:pt x="27" y="272"/>
                  </a:cubicBezTo>
                  <a:cubicBezTo>
                    <a:pt x="20" y="272"/>
                    <a:pt x="20" y="272"/>
                    <a:pt x="20" y="272"/>
                  </a:cubicBezTo>
                  <a:cubicBezTo>
                    <a:pt x="20" y="283"/>
                    <a:pt x="20" y="295"/>
                    <a:pt x="20" y="307"/>
                  </a:cubicBezTo>
                  <a:cubicBezTo>
                    <a:pt x="27" y="307"/>
                    <a:pt x="27" y="307"/>
                    <a:pt x="27" y="307"/>
                  </a:cubicBezTo>
                  <a:cubicBezTo>
                    <a:pt x="27" y="322"/>
                    <a:pt x="27" y="322"/>
                    <a:pt x="27" y="322"/>
                  </a:cubicBezTo>
                  <a:cubicBezTo>
                    <a:pt x="20" y="322"/>
                    <a:pt x="20" y="322"/>
                    <a:pt x="20" y="322"/>
                  </a:cubicBezTo>
                  <a:cubicBezTo>
                    <a:pt x="20" y="334"/>
                    <a:pt x="20" y="345"/>
                    <a:pt x="20" y="357"/>
                  </a:cubicBezTo>
                  <a:cubicBezTo>
                    <a:pt x="27" y="357"/>
                    <a:pt x="27" y="357"/>
                    <a:pt x="27" y="357"/>
                  </a:cubicBezTo>
                  <a:cubicBezTo>
                    <a:pt x="27" y="372"/>
                    <a:pt x="27" y="372"/>
                    <a:pt x="27" y="372"/>
                  </a:cubicBezTo>
                  <a:cubicBezTo>
                    <a:pt x="20" y="372"/>
                    <a:pt x="20" y="372"/>
                    <a:pt x="20" y="372"/>
                  </a:cubicBezTo>
                  <a:cubicBezTo>
                    <a:pt x="20" y="384"/>
                    <a:pt x="20" y="396"/>
                    <a:pt x="20" y="407"/>
                  </a:cubicBezTo>
                  <a:cubicBezTo>
                    <a:pt x="27" y="407"/>
                    <a:pt x="27" y="407"/>
                    <a:pt x="27" y="407"/>
                  </a:cubicBezTo>
                  <a:cubicBezTo>
                    <a:pt x="27" y="423"/>
                    <a:pt x="27" y="423"/>
                    <a:pt x="27" y="423"/>
                  </a:cubicBezTo>
                  <a:cubicBezTo>
                    <a:pt x="20" y="423"/>
                    <a:pt x="20" y="423"/>
                    <a:pt x="20" y="423"/>
                  </a:cubicBezTo>
                  <a:cubicBezTo>
                    <a:pt x="20" y="434"/>
                    <a:pt x="20" y="446"/>
                    <a:pt x="20" y="458"/>
                  </a:cubicBezTo>
                  <a:cubicBezTo>
                    <a:pt x="27" y="458"/>
                    <a:pt x="27" y="458"/>
                    <a:pt x="27" y="458"/>
                  </a:cubicBezTo>
                  <a:cubicBezTo>
                    <a:pt x="27" y="480"/>
                    <a:pt x="27" y="480"/>
                    <a:pt x="27" y="480"/>
                  </a:cubicBezTo>
                  <a:cubicBezTo>
                    <a:pt x="0" y="480"/>
                    <a:pt x="0" y="480"/>
                    <a:pt x="0" y="480"/>
                  </a:cubicBezTo>
                  <a:cubicBezTo>
                    <a:pt x="0" y="400"/>
                    <a:pt x="0" y="320"/>
                    <a:pt x="0" y="240"/>
                  </a:cubicBezTo>
                  <a:cubicBezTo>
                    <a:pt x="0" y="160"/>
                    <a:pt x="0" y="80"/>
                    <a:pt x="0" y="0"/>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iṣḷiḋè">
              <a:extLst>
                <a:ext uri="{FF2B5EF4-FFF2-40B4-BE49-F238E27FC236}">
                  <a16:creationId xmlns:a16="http://schemas.microsoft.com/office/drawing/2014/main" id="{AC50D8D6-E2DA-4FF9-B016-5F1299B77468}"/>
                </a:ext>
              </a:extLst>
            </p:cNvPr>
            <p:cNvSpPr/>
            <p:nvPr/>
          </p:nvSpPr>
          <p:spPr bwMode="auto">
            <a:xfrm flipH="1">
              <a:off x="1898922" y="2659319"/>
              <a:ext cx="621118" cy="603075"/>
            </a:xfrm>
            <a:custGeom>
              <a:avLst/>
              <a:gdLst>
                <a:gd name="T0" fmla="*/ 316 w 371"/>
                <a:gd name="T1" fmla="*/ 101 h 369"/>
                <a:gd name="T2" fmla="*/ 319 w 371"/>
                <a:gd name="T3" fmla="*/ 74 h 369"/>
                <a:gd name="T4" fmla="*/ 309 w 371"/>
                <a:gd name="T5" fmla="*/ 242 h 369"/>
                <a:gd name="T6" fmla="*/ 309 w 371"/>
                <a:gd name="T7" fmla="*/ 175 h 369"/>
                <a:gd name="T8" fmla="*/ 292 w 371"/>
                <a:gd name="T9" fmla="*/ 77 h 369"/>
                <a:gd name="T10" fmla="*/ 276 w 371"/>
                <a:gd name="T11" fmla="*/ 235 h 369"/>
                <a:gd name="T12" fmla="*/ 260 w 371"/>
                <a:gd name="T13" fmla="*/ 182 h 369"/>
                <a:gd name="T14" fmla="*/ 260 w 371"/>
                <a:gd name="T15" fmla="*/ 248 h 369"/>
                <a:gd name="T16" fmla="*/ 247 w 371"/>
                <a:gd name="T17" fmla="*/ 29 h 369"/>
                <a:gd name="T18" fmla="*/ 247 w 371"/>
                <a:gd name="T19" fmla="*/ 139 h 369"/>
                <a:gd name="T20" fmla="*/ 260 w 371"/>
                <a:gd name="T21" fmla="*/ 188 h 369"/>
                <a:gd name="T22" fmla="*/ 232 w 371"/>
                <a:gd name="T23" fmla="*/ 316 h 369"/>
                <a:gd name="T24" fmla="*/ 232 w 371"/>
                <a:gd name="T25" fmla="*/ 152 h 369"/>
                <a:gd name="T26" fmla="*/ 228 w 371"/>
                <a:gd name="T27" fmla="*/ 10 h 369"/>
                <a:gd name="T28" fmla="*/ 232 w 371"/>
                <a:gd name="T29" fmla="*/ 92 h 369"/>
                <a:gd name="T30" fmla="*/ 228 w 371"/>
                <a:gd name="T31" fmla="*/ 191 h 369"/>
                <a:gd name="T32" fmla="*/ 232 w 371"/>
                <a:gd name="T33" fmla="*/ 198 h 369"/>
                <a:gd name="T34" fmla="*/ 226 w 371"/>
                <a:gd name="T35" fmla="*/ 279 h 369"/>
                <a:gd name="T36" fmla="*/ 228 w 371"/>
                <a:gd name="T37" fmla="*/ 191 h 369"/>
                <a:gd name="T38" fmla="*/ 226 w 371"/>
                <a:gd name="T39" fmla="*/ 221 h 369"/>
                <a:gd name="T40" fmla="*/ 216 w 371"/>
                <a:gd name="T41" fmla="*/ 331 h 369"/>
                <a:gd name="T42" fmla="*/ 226 w 371"/>
                <a:gd name="T43" fmla="*/ 159 h 369"/>
                <a:gd name="T44" fmla="*/ 216 w 371"/>
                <a:gd name="T45" fmla="*/ 269 h 369"/>
                <a:gd name="T46" fmla="*/ 200 w 371"/>
                <a:gd name="T47" fmla="*/ 298 h 369"/>
                <a:gd name="T48" fmla="*/ 200 w 371"/>
                <a:gd name="T49" fmla="*/ 98 h 369"/>
                <a:gd name="T50" fmla="*/ 216 w 371"/>
                <a:gd name="T51" fmla="*/ 230 h 369"/>
                <a:gd name="T52" fmla="*/ 200 w 371"/>
                <a:gd name="T53" fmla="*/ 94 h 369"/>
                <a:gd name="T54" fmla="*/ 200 w 371"/>
                <a:gd name="T55" fmla="*/ 347 h 369"/>
                <a:gd name="T56" fmla="*/ 199 w 371"/>
                <a:gd name="T57" fmla="*/ 185 h 369"/>
                <a:gd name="T58" fmla="*/ 197 w 371"/>
                <a:gd name="T59" fmla="*/ 19 h 369"/>
                <a:gd name="T60" fmla="*/ 197 w 371"/>
                <a:gd name="T61" fmla="*/ 295 h 369"/>
                <a:gd name="T62" fmla="*/ 197 w 371"/>
                <a:gd name="T63" fmla="*/ 186 h 369"/>
                <a:gd name="T64" fmla="*/ 193 w 371"/>
                <a:gd name="T65" fmla="*/ 111 h 369"/>
                <a:gd name="T66" fmla="*/ 193 w 371"/>
                <a:gd name="T67" fmla="*/ 129 h 369"/>
                <a:gd name="T68" fmla="*/ 193 w 371"/>
                <a:gd name="T69" fmla="*/ 311 h 369"/>
                <a:gd name="T70" fmla="*/ 183 w 371"/>
                <a:gd name="T71" fmla="*/ 362 h 369"/>
                <a:gd name="T72" fmla="*/ 183 w 371"/>
                <a:gd name="T73" fmla="*/ 172 h 369"/>
                <a:gd name="T74" fmla="*/ 176 w 371"/>
                <a:gd name="T75" fmla="*/ 207 h 369"/>
                <a:gd name="T76" fmla="*/ 164 w 371"/>
                <a:gd name="T77" fmla="*/ 82 h 369"/>
                <a:gd name="T78" fmla="*/ 168 w 371"/>
                <a:gd name="T79" fmla="*/ 198 h 369"/>
                <a:gd name="T80" fmla="*/ 161 w 371"/>
                <a:gd name="T81" fmla="*/ 323 h 369"/>
                <a:gd name="T82" fmla="*/ 162 w 371"/>
                <a:gd name="T83" fmla="*/ 192 h 369"/>
                <a:gd name="T84" fmla="*/ 164 w 371"/>
                <a:gd name="T85" fmla="*/ 280 h 369"/>
                <a:gd name="T86" fmla="*/ 161 w 371"/>
                <a:gd name="T87" fmla="*/ 323 h 369"/>
                <a:gd name="T88" fmla="*/ 152 w 371"/>
                <a:gd name="T89" fmla="*/ 202 h 369"/>
                <a:gd name="T90" fmla="*/ 132 w 371"/>
                <a:gd name="T91" fmla="*/ 323 h 369"/>
                <a:gd name="T92" fmla="*/ 152 w 371"/>
                <a:gd name="T93" fmla="*/ 106 h 369"/>
                <a:gd name="T94" fmla="*/ 132 w 371"/>
                <a:gd name="T95" fmla="*/ 283 h 369"/>
                <a:gd name="T96" fmla="*/ 132 w 371"/>
                <a:gd name="T97" fmla="*/ 249 h 369"/>
                <a:gd name="T98" fmla="*/ 117 w 371"/>
                <a:gd name="T99" fmla="*/ 74 h 369"/>
                <a:gd name="T100" fmla="*/ 117 w 371"/>
                <a:gd name="T101" fmla="*/ 307 h 369"/>
                <a:gd name="T102" fmla="*/ 101 w 371"/>
                <a:gd name="T103" fmla="*/ 155 h 369"/>
                <a:gd name="T104" fmla="*/ 101 w 371"/>
                <a:gd name="T105" fmla="*/ 290 h 369"/>
                <a:gd name="T106" fmla="*/ 101 w 371"/>
                <a:gd name="T107" fmla="*/ 290 h 369"/>
                <a:gd name="T108" fmla="*/ 69 w 371"/>
                <a:gd name="T109" fmla="*/ 186 h 369"/>
                <a:gd name="T110" fmla="*/ 69 w 371"/>
                <a:gd name="T111" fmla="*/ 157 h 369"/>
                <a:gd name="T112" fmla="*/ 67 w 371"/>
                <a:gd name="T113" fmla="*/ 159 h 369"/>
                <a:gd name="T114" fmla="*/ 34 w 371"/>
                <a:gd name="T115" fmla="*/ 19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1" h="369">
                  <a:moveTo>
                    <a:pt x="309" y="35"/>
                  </a:moveTo>
                  <a:cubicBezTo>
                    <a:pt x="316" y="35"/>
                    <a:pt x="324" y="37"/>
                    <a:pt x="330" y="42"/>
                  </a:cubicBezTo>
                  <a:cubicBezTo>
                    <a:pt x="341" y="32"/>
                    <a:pt x="341" y="32"/>
                    <a:pt x="341" y="32"/>
                  </a:cubicBezTo>
                  <a:cubicBezTo>
                    <a:pt x="340" y="29"/>
                    <a:pt x="340" y="26"/>
                    <a:pt x="342" y="24"/>
                  </a:cubicBezTo>
                  <a:cubicBezTo>
                    <a:pt x="345" y="22"/>
                    <a:pt x="350" y="22"/>
                    <a:pt x="352" y="24"/>
                  </a:cubicBezTo>
                  <a:cubicBezTo>
                    <a:pt x="355" y="27"/>
                    <a:pt x="355" y="32"/>
                    <a:pt x="352" y="34"/>
                  </a:cubicBezTo>
                  <a:cubicBezTo>
                    <a:pt x="350" y="36"/>
                    <a:pt x="347" y="37"/>
                    <a:pt x="344" y="35"/>
                  </a:cubicBezTo>
                  <a:cubicBezTo>
                    <a:pt x="333" y="46"/>
                    <a:pt x="333" y="46"/>
                    <a:pt x="333" y="46"/>
                  </a:cubicBezTo>
                  <a:cubicBezTo>
                    <a:pt x="343" y="58"/>
                    <a:pt x="342" y="76"/>
                    <a:pt x="331" y="86"/>
                  </a:cubicBezTo>
                  <a:cubicBezTo>
                    <a:pt x="316" y="101"/>
                    <a:pt x="316" y="101"/>
                    <a:pt x="316" y="101"/>
                  </a:cubicBezTo>
                  <a:cubicBezTo>
                    <a:pt x="371" y="158"/>
                    <a:pt x="371" y="158"/>
                    <a:pt x="371" y="158"/>
                  </a:cubicBezTo>
                  <a:cubicBezTo>
                    <a:pt x="350" y="178"/>
                    <a:pt x="350" y="178"/>
                    <a:pt x="350" y="178"/>
                  </a:cubicBezTo>
                  <a:cubicBezTo>
                    <a:pt x="362" y="191"/>
                    <a:pt x="362" y="191"/>
                    <a:pt x="362" y="191"/>
                  </a:cubicBezTo>
                  <a:cubicBezTo>
                    <a:pt x="309" y="242"/>
                    <a:pt x="309" y="242"/>
                    <a:pt x="309" y="242"/>
                  </a:cubicBezTo>
                  <a:cubicBezTo>
                    <a:pt x="309" y="203"/>
                    <a:pt x="309" y="203"/>
                    <a:pt x="309" y="203"/>
                  </a:cubicBezTo>
                  <a:cubicBezTo>
                    <a:pt x="327" y="186"/>
                    <a:pt x="327" y="186"/>
                    <a:pt x="327" y="186"/>
                  </a:cubicBezTo>
                  <a:cubicBezTo>
                    <a:pt x="323" y="181"/>
                    <a:pt x="318" y="176"/>
                    <a:pt x="314" y="171"/>
                  </a:cubicBezTo>
                  <a:cubicBezTo>
                    <a:pt x="309" y="175"/>
                    <a:pt x="309" y="175"/>
                    <a:pt x="309" y="175"/>
                  </a:cubicBezTo>
                  <a:cubicBezTo>
                    <a:pt x="309" y="84"/>
                    <a:pt x="309" y="84"/>
                    <a:pt x="309" y="84"/>
                  </a:cubicBezTo>
                  <a:cubicBezTo>
                    <a:pt x="319" y="74"/>
                    <a:pt x="319" y="74"/>
                    <a:pt x="319" y="74"/>
                  </a:cubicBezTo>
                  <a:cubicBezTo>
                    <a:pt x="324" y="69"/>
                    <a:pt x="325" y="61"/>
                    <a:pt x="320" y="56"/>
                  </a:cubicBezTo>
                  <a:cubicBezTo>
                    <a:pt x="317" y="53"/>
                    <a:pt x="313" y="51"/>
                    <a:pt x="309" y="52"/>
                  </a:cubicBezTo>
                  <a:lnTo>
                    <a:pt x="309" y="35"/>
                  </a:lnTo>
                  <a:close/>
                  <a:moveTo>
                    <a:pt x="292" y="41"/>
                  </a:moveTo>
                  <a:cubicBezTo>
                    <a:pt x="297" y="37"/>
                    <a:pt x="303" y="35"/>
                    <a:pt x="309" y="35"/>
                  </a:cubicBezTo>
                  <a:cubicBezTo>
                    <a:pt x="309" y="52"/>
                    <a:pt x="309" y="52"/>
                    <a:pt x="309" y="52"/>
                  </a:cubicBezTo>
                  <a:cubicBezTo>
                    <a:pt x="306" y="52"/>
                    <a:pt x="303" y="53"/>
                    <a:pt x="301" y="55"/>
                  </a:cubicBezTo>
                  <a:cubicBezTo>
                    <a:pt x="292" y="63"/>
                    <a:pt x="292" y="63"/>
                    <a:pt x="292" y="63"/>
                  </a:cubicBezTo>
                  <a:cubicBezTo>
                    <a:pt x="292" y="41"/>
                    <a:pt x="292" y="41"/>
                    <a:pt x="292" y="41"/>
                  </a:cubicBezTo>
                  <a:close/>
                  <a:moveTo>
                    <a:pt x="309" y="242"/>
                  </a:moveTo>
                  <a:cubicBezTo>
                    <a:pt x="292" y="258"/>
                    <a:pt x="292" y="258"/>
                    <a:pt x="292" y="258"/>
                  </a:cubicBezTo>
                  <a:cubicBezTo>
                    <a:pt x="292" y="219"/>
                    <a:pt x="292" y="219"/>
                    <a:pt x="292" y="219"/>
                  </a:cubicBezTo>
                  <a:cubicBezTo>
                    <a:pt x="294" y="217"/>
                    <a:pt x="294" y="217"/>
                    <a:pt x="294" y="217"/>
                  </a:cubicBezTo>
                  <a:cubicBezTo>
                    <a:pt x="292" y="215"/>
                    <a:pt x="292" y="215"/>
                    <a:pt x="292" y="215"/>
                  </a:cubicBezTo>
                  <a:cubicBezTo>
                    <a:pt x="292" y="195"/>
                    <a:pt x="292" y="195"/>
                    <a:pt x="292" y="195"/>
                  </a:cubicBezTo>
                  <a:cubicBezTo>
                    <a:pt x="304" y="208"/>
                    <a:pt x="304" y="208"/>
                    <a:pt x="304" y="208"/>
                  </a:cubicBezTo>
                  <a:cubicBezTo>
                    <a:pt x="309" y="203"/>
                    <a:pt x="309" y="203"/>
                    <a:pt x="309" y="203"/>
                  </a:cubicBezTo>
                  <a:cubicBezTo>
                    <a:pt x="309" y="242"/>
                    <a:pt x="309" y="242"/>
                    <a:pt x="309" y="242"/>
                  </a:cubicBezTo>
                  <a:close/>
                  <a:moveTo>
                    <a:pt x="309" y="84"/>
                  </a:moveTo>
                  <a:cubicBezTo>
                    <a:pt x="309" y="175"/>
                    <a:pt x="309" y="175"/>
                    <a:pt x="309" y="175"/>
                  </a:cubicBezTo>
                  <a:cubicBezTo>
                    <a:pt x="292" y="191"/>
                    <a:pt x="292" y="191"/>
                    <a:pt x="292" y="191"/>
                  </a:cubicBezTo>
                  <a:cubicBezTo>
                    <a:pt x="292" y="77"/>
                    <a:pt x="292" y="77"/>
                    <a:pt x="292" y="77"/>
                  </a:cubicBezTo>
                  <a:cubicBezTo>
                    <a:pt x="304" y="89"/>
                    <a:pt x="304" y="89"/>
                    <a:pt x="304" y="89"/>
                  </a:cubicBezTo>
                  <a:lnTo>
                    <a:pt x="309" y="84"/>
                  </a:lnTo>
                  <a:close/>
                  <a:moveTo>
                    <a:pt x="276" y="56"/>
                  </a:moveTo>
                  <a:cubicBezTo>
                    <a:pt x="289" y="43"/>
                    <a:pt x="289" y="43"/>
                    <a:pt x="289" y="43"/>
                  </a:cubicBezTo>
                  <a:cubicBezTo>
                    <a:pt x="290" y="42"/>
                    <a:pt x="291" y="41"/>
                    <a:pt x="292" y="41"/>
                  </a:cubicBezTo>
                  <a:cubicBezTo>
                    <a:pt x="292" y="63"/>
                    <a:pt x="292" y="63"/>
                    <a:pt x="292" y="63"/>
                  </a:cubicBezTo>
                  <a:cubicBezTo>
                    <a:pt x="286" y="70"/>
                    <a:pt x="286" y="70"/>
                    <a:pt x="286" y="70"/>
                  </a:cubicBezTo>
                  <a:cubicBezTo>
                    <a:pt x="292" y="77"/>
                    <a:pt x="292" y="77"/>
                    <a:pt x="292" y="77"/>
                  </a:cubicBezTo>
                  <a:cubicBezTo>
                    <a:pt x="292" y="191"/>
                    <a:pt x="292" y="191"/>
                    <a:pt x="292" y="191"/>
                  </a:cubicBezTo>
                  <a:cubicBezTo>
                    <a:pt x="290" y="193"/>
                    <a:pt x="290" y="193"/>
                    <a:pt x="290" y="193"/>
                  </a:cubicBezTo>
                  <a:cubicBezTo>
                    <a:pt x="292" y="195"/>
                    <a:pt x="292" y="195"/>
                    <a:pt x="292" y="195"/>
                  </a:cubicBezTo>
                  <a:cubicBezTo>
                    <a:pt x="292" y="215"/>
                    <a:pt x="292" y="215"/>
                    <a:pt x="292" y="215"/>
                  </a:cubicBezTo>
                  <a:cubicBezTo>
                    <a:pt x="280" y="203"/>
                    <a:pt x="280" y="203"/>
                    <a:pt x="280" y="203"/>
                  </a:cubicBezTo>
                  <a:cubicBezTo>
                    <a:pt x="276" y="207"/>
                    <a:pt x="276" y="207"/>
                    <a:pt x="276" y="207"/>
                  </a:cubicBezTo>
                  <a:cubicBezTo>
                    <a:pt x="276" y="56"/>
                    <a:pt x="276" y="56"/>
                    <a:pt x="276" y="56"/>
                  </a:cubicBezTo>
                  <a:close/>
                  <a:moveTo>
                    <a:pt x="292" y="258"/>
                  </a:moveTo>
                  <a:cubicBezTo>
                    <a:pt x="276" y="274"/>
                    <a:pt x="276" y="274"/>
                    <a:pt x="276" y="274"/>
                  </a:cubicBezTo>
                  <a:cubicBezTo>
                    <a:pt x="276" y="235"/>
                    <a:pt x="276" y="235"/>
                    <a:pt x="276" y="235"/>
                  </a:cubicBezTo>
                  <a:cubicBezTo>
                    <a:pt x="292" y="219"/>
                    <a:pt x="292" y="219"/>
                    <a:pt x="292" y="219"/>
                  </a:cubicBezTo>
                  <a:lnTo>
                    <a:pt x="292" y="258"/>
                  </a:lnTo>
                  <a:close/>
                  <a:moveTo>
                    <a:pt x="260" y="43"/>
                  </a:moveTo>
                  <a:cubicBezTo>
                    <a:pt x="274" y="58"/>
                    <a:pt x="274" y="58"/>
                    <a:pt x="274" y="58"/>
                  </a:cubicBezTo>
                  <a:cubicBezTo>
                    <a:pt x="276" y="56"/>
                    <a:pt x="276" y="56"/>
                    <a:pt x="276" y="56"/>
                  </a:cubicBezTo>
                  <a:cubicBezTo>
                    <a:pt x="276" y="207"/>
                    <a:pt x="276" y="207"/>
                    <a:pt x="276" y="207"/>
                  </a:cubicBezTo>
                  <a:cubicBezTo>
                    <a:pt x="260" y="222"/>
                    <a:pt x="260" y="222"/>
                    <a:pt x="260" y="222"/>
                  </a:cubicBezTo>
                  <a:cubicBezTo>
                    <a:pt x="260" y="188"/>
                    <a:pt x="260" y="188"/>
                    <a:pt x="260" y="188"/>
                  </a:cubicBezTo>
                  <a:cubicBezTo>
                    <a:pt x="264" y="185"/>
                    <a:pt x="264" y="185"/>
                    <a:pt x="264" y="185"/>
                  </a:cubicBezTo>
                  <a:cubicBezTo>
                    <a:pt x="260" y="182"/>
                    <a:pt x="260" y="182"/>
                    <a:pt x="260" y="182"/>
                  </a:cubicBezTo>
                  <a:cubicBezTo>
                    <a:pt x="260" y="126"/>
                    <a:pt x="260" y="126"/>
                    <a:pt x="260" y="126"/>
                  </a:cubicBezTo>
                  <a:cubicBezTo>
                    <a:pt x="266" y="121"/>
                    <a:pt x="266" y="121"/>
                    <a:pt x="266" y="121"/>
                  </a:cubicBezTo>
                  <a:cubicBezTo>
                    <a:pt x="260" y="116"/>
                    <a:pt x="260" y="116"/>
                    <a:pt x="260" y="116"/>
                  </a:cubicBezTo>
                  <a:cubicBezTo>
                    <a:pt x="260" y="43"/>
                    <a:pt x="260" y="43"/>
                    <a:pt x="260" y="43"/>
                  </a:cubicBezTo>
                  <a:close/>
                  <a:moveTo>
                    <a:pt x="276" y="274"/>
                  </a:moveTo>
                  <a:cubicBezTo>
                    <a:pt x="269" y="280"/>
                    <a:pt x="269" y="280"/>
                    <a:pt x="269" y="280"/>
                  </a:cubicBezTo>
                  <a:cubicBezTo>
                    <a:pt x="260" y="288"/>
                    <a:pt x="260" y="288"/>
                    <a:pt x="260" y="288"/>
                  </a:cubicBezTo>
                  <a:cubicBezTo>
                    <a:pt x="260" y="250"/>
                    <a:pt x="260" y="250"/>
                    <a:pt x="260" y="250"/>
                  </a:cubicBezTo>
                  <a:cubicBezTo>
                    <a:pt x="261" y="249"/>
                    <a:pt x="261" y="249"/>
                    <a:pt x="261" y="249"/>
                  </a:cubicBezTo>
                  <a:cubicBezTo>
                    <a:pt x="260" y="248"/>
                    <a:pt x="260" y="248"/>
                    <a:pt x="260" y="248"/>
                  </a:cubicBezTo>
                  <a:cubicBezTo>
                    <a:pt x="260" y="228"/>
                    <a:pt x="260" y="228"/>
                    <a:pt x="260" y="228"/>
                  </a:cubicBezTo>
                  <a:cubicBezTo>
                    <a:pt x="271" y="240"/>
                    <a:pt x="271" y="240"/>
                    <a:pt x="271" y="240"/>
                  </a:cubicBezTo>
                  <a:cubicBezTo>
                    <a:pt x="276" y="235"/>
                    <a:pt x="276" y="235"/>
                    <a:pt x="276" y="235"/>
                  </a:cubicBezTo>
                  <a:lnTo>
                    <a:pt x="276" y="274"/>
                  </a:lnTo>
                  <a:close/>
                  <a:moveTo>
                    <a:pt x="247" y="29"/>
                  </a:moveTo>
                  <a:cubicBezTo>
                    <a:pt x="260" y="43"/>
                    <a:pt x="260" y="43"/>
                    <a:pt x="260" y="43"/>
                  </a:cubicBezTo>
                  <a:cubicBezTo>
                    <a:pt x="260" y="116"/>
                    <a:pt x="260" y="116"/>
                    <a:pt x="260" y="116"/>
                  </a:cubicBezTo>
                  <a:cubicBezTo>
                    <a:pt x="252" y="107"/>
                    <a:pt x="252" y="107"/>
                    <a:pt x="252" y="107"/>
                  </a:cubicBezTo>
                  <a:cubicBezTo>
                    <a:pt x="247" y="111"/>
                    <a:pt x="247" y="111"/>
                    <a:pt x="247" y="111"/>
                  </a:cubicBezTo>
                  <a:cubicBezTo>
                    <a:pt x="247" y="29"/>
                    <a:pt x="247" y="29"/>
                    <a:pt x="247" y="29"/>
                  </a:cubicBezTo>
                  <a:close/>
                  <a:moveTo>
                    <a:pt x="260" y="288"/>
                  </a:moveTo>
                  <a:cubicBezTo>
                    <a:pt x="247" y="301"/>
                    <a:pt x="247" y="301"/>
                    <a:pt x="247" y="301"/>
                  </a:cubicBezTo>
                  <a:cubicBezTo>
                    <a:pt x="247" y="262"/>
                    <a:pt x="247" y="262"/>
                    <a:pt x="247" y="262"/>
                  </a:cubicBezTo>
                  <a:cubicBezTo>
                    <a:pt x="260" y="250"/>
                    <a:pt x="260" y="250"/>
                    <a:pt x="260" y="250"/>
                  </a:cubicBezTo>
                  <a:cubicBezTo>
                    <a:pt x="260" y="288"/>
                    <a:pt x="260" y="288"/>
                    <a:pt x="260" y="288"/>
                  </a:cubicBezTo>
                  <a:close/>
                  <a:moveTo>
                    <a:pt x="260" y="126"/>
                  </a:moveTo>
                  <a:cubicBezTo>
                    <a:pt x="260" y="182"/>
                    <a:pt x="260" y="182"/>
                    <a:pt x="260" y="182"/>
                  </a:cubicBezTo>
                  <a:cubicBezTo>
                    <a:pt x="249" y="171"/>
                    <a:pt x="249" y="171"/>
                    <a:pt x="249" y="171"/>
                  </a:cubicBezTo>
                  <a:cubicBezTo>
                    <a:pt x="247" y="173"/>
                    <a:pt x="247" y="173"/>
                    <a:pt x="247" y="173"/>
                  </a:cubicBezTo>
                  <a:cubicBezTo>
                    <a:pt x="247" y="139"/>
                    <a:pt x="247" y="139"/>
                    <a:pt x="247" y="139"/>
                  </a:cubicBezTo>
                  <a:cubicBezTo>
                    <a:pt x="260" y="126"/>
                    <a:pt x="260" y="126"/>
                    <a:pt x="260" y="126"/>
                  </a:cubicBezTo>
                  <a:close/>
                  <a:moveTo>
                    <a:pt x="260" y="188"/>
                  </a:moveTo>
                  <a:cubicBezTo>
                    <a:pt x="260" y="222"/>
                    <a:pt x="260" y="222"/>
                    <a:pt x="260" y="222"/>
                  </a:cubicBezTo>
                  <a:cubicBezTo>
                    <a:pt x="257" y="225"/>
                    <a:pt x="257" y="225"/>
                    <a:pt x="257" y="225"/>
                  </a:cubicBezTo>
                  <a:cubicBezTo>
                    <a:pt x="260" y="228"/>
                    <a:pt x="260" y="228"/>
                    <a:pt x="260" y="228"/>
                  </a:cubicBezTo>
                  <a:cubicBezTo>
                    <a:pt x="260" y="248"/>
                    <a:pt x="260" y="248"/>
                    <a:pt x="260" y="248"/>
                  </a:cubicBezTo>
                  <a:cubicBezTo>
                    <a:pt x="247" y="235"/>
                    <a:pt x="247" y="235"/>
                    <a:pt x="247" y="235"/>
                  </a:cubicBezTo>
                  <a:cubicBezTo>
                    <a:pt x="247" y="235"/>
                    <a:pt x="247" y="235"/>
                    <a:pt x="247" y="235"/>
                  </a:cubicBezTo>
                  <a:cubicBezTo>
                    <a:pt x="247" y="201"/>
                    <a:pt x="247" y="201"/>
                    <a:pt x="247" y="201"/>
                  </a:cubicBezTo>
                  <a:lnTo>
                    <a:pt x="260" y="188"/>
                  </a:lnTo>
                  <a:close/>
                  <a:moveTo>
                    <a:pt x="232" y="13"/>
                  </a:moveTo>
                  <a:cubicBezTo>
                    <a:pt x="247" y="29"/>
                    <a:pt x="247" y="29"/>
                    <a:pt x="247" y="29"/>
                  </a:cubicBezTo>
                  <a:cubicBezTo>
                    <a:pt x="247" y="111"/>
                    <a:pt x="247" y="111"/>
                    <a:pt x="247" y="111"/>
                  </a:cubicBezTo>
                  <a:cubicBezTo>
                    <a:pt x="232" y="126"/>
                    <a:pt x="232" y="126"/>
                    <a:pt x="232" y="126"/>
                  </a:cubicBezTo>
                  <a:cubicBezTo>
                    <a:pt x="232" y="92"/>
                    <a:pt x="232" y="92"/>
                    <a:pt x="232" y="92"/>
                  </a:cubicBezTo>
                  <a:cubicBezTo>
                    <a:pt x="235" y="89"/>
                    <a:pt x="235" y="89"/>
                    <a:pt x="235" y="89"/>
                  </a:cubicBezTo>
                  <a:cubicBezTo>
                    <a:pt x="232" y="86"/>
                    <a:pt x="232" y="86"/>
                    <a:pt x="232" y="86"/>
                  </a:cubicBezTo>
                  <a:cubicBezTo>
                    <a:pt x="232" y="13"/>
                    <a:pt x="232" y="13"/>
                    <a:pt x="232" y="13"/>
                  </a:cubicBezTo>
                  <a:close/>
                  <a:moveTo>
                    <a:pt x="247" y="301"/>
                  </a:moveTo>
                  <a:cubicBezTo>
                    <a:pt x="232" y="316"/>
                    <a:pt x="232" y="316"/>
                    <a:pt x="232" y="316"/>
                  </a:cubicBezTo>
                  <a:cubicBezTo>
                    <a:pt x="232" y="265"/>
                    <a:pt x="232" y="265"/>
                    <a:pt x="232" y="265"/>
                  </a:cubicBezTo>
                  <a:cubicBezTo>
                    <a:pt x="238" y="271"/>
                    <a:pt x="238" y="271"/>
                    <a:pt x="238" y="271"/>
                  </a:cubicBezTo>
                  <a:cubicBezTo>
                    <a:pt x="247" y="262"/>
                    <a:pt x="247" y="262"/>
                    <a:pt x="247" y="262"/>
                  </a:cubicBezTo>
                  <a:cubicBezTo>
                    <a:pt x="247" y="301"/>
                    <a:pt x="247" y="301"/>
                    <a:pt x="247" y="301"/>
                  </a:cubicBezTo>
                  <a:close/>
                  <a:moveTo>
                    <a:pt x="247" y="139"/>
                  </a:moveTo>
                  <a:cubicBezTo>
                    <a:pt x="247" y="173"/>
                    <a:pt x="247" y="173"/>
                    <a:pt x="247" y="173"/>
                  </a:cubicBezTo>
                  <a:cubicBezTo>
                    <a:pt x="232" y="187"/>
                    <a:pt x="232" y="187"/>
                    <a:pt x="232" y="187"/>
                  </a:cubicBezTo>
                  <a:cubicBezTo>
                    <a:pt x="232" y="154"/>
                    <a:pt x="232" y="154"/>
                    <a:pt x="232" y="154"/>
                  </a:cubicBezTo>
                  <a:cubicBezTo>
                    <a:pt x="233" y="153"/>
                    <a:pt x="233" y="153"/>
                    <a:pt x="233" y="153"/>
                  </a:cubicBezTo>
                  <a:cubicBezTo>
                    <a:pt x="232" y="152"/>
                    <a:pt x="232" y="152"/>
                    <a:pt x="232" y="152"/>
                  </a:cubicBezTo>
                  <a:cubicBezTo>
                    <a:pt x="232" y="132"/>
                    <a:pt x="232" y="132"/>
                    <a:pt x="232" y="132"/>
                  </a:cubicBezTo>
                  <a:cubicBezTo>
                    <a:pt x="243" y="143"/>
                    <a:pt x="243" y="143"/>
                    <a:pt x="243" y="143"/>
                  </a:cubicBezTo>
                  <a:cubicBezTo>
                    <a:pt x="247" y="139"/>
                    <a:pt x="247" y="139"/>
                    <a:pt x="247" y="139"/>
                  </a:cubicBezTo>
                  <a:close/>
                  <a:moveTo>
                    <a:pt x="247" y="201"/>
                  </a:moveTo>
                  <a:cubicBezTo>
                    <a:pt x="247" y="235"/>
                    <a:pt x="247" y="235"/>
                    <a:pt x="247" y="235"/>
                  </a:cubicBezTo>
                  <a:cubicBezTo>
                    <a:pt x="232" y="249"/>
                    <a:pt x="232" y="249"/>
                    <a:pt x="232" y="249"/>
                  </a:cubicBezTo>
                  <a:cubicBezTo>
                    <a:pt x="232" y="198"/>
                    <a:pt x="232" y="198"/>
                    <a:pt x="232" y="198"/>
                  </a:cubicBezTo>
                  <a:cubicBezTo>
                    <a:pt x="240" y="207"/>
                    <a:pt x="240" y="207"/>
                    <a:pt x="240" y="207"/>
                  </a:cubicBezTo>
                  <a:lnTo>
                    <a:pt x="247" y="201"/>
                  </a:lnTo>
                  <a:close/>
                  <a:moveTo>
                    <a:pt x="228" y="10"/>
                  </a:moveTo>
                  <a:cubicBezTo>
                    <a:pt x="232" y="13"/>
                    <a:pt x="232" y="13"/>
                    <a:pt x="232" y="13"/>
                  </a:cubicBezTo>
                  <a:cubicBezTo>
                    <a:pt x="232" y="86"/>
                    <a:pt x="232" y="86"/>
                    <a:pt x="232" y="86"/>
                  </a:cubicBezTo>
                  <a:cubicBezTo>
                    <a:pt x="228" y="82"/>
                    <a:pt x="228" y="82"/>
                    <a:pt x="228" y="82"/>
                  </a:cubicBezTo>
                  <a:cubicBezTo>
                    <a:pt x="228" y="10"/>
                    <a:pt x="228" y="10"/>
                    <a:pt x="228" y="10"/>
                  </a:cubicBezTo>
                  <a:close/>
                  <a:moveTo>
                    <a:pt x="232" y="316"/>
                  </a:moveTo>
                  <a:cubicBezTo>
                    <a:pt x="228" y="319"/>
                    <a:pt x="228" y="319"/>
                    <a:pt x="228" y="319"/>
                  </a:cubicBezTo>
                  <a:cubicBezTo>
                    <a:pt x="228" y="261"/>
                    <a:pt x="228" y="261"/>
                    <a:pt x="228" y="261"/>
                  </a:cubicBezTo>
                  <a:cubicBezTo>
                    <a:pt x="232" y="265"/>
                    <a:pt x="232" y="265"/>
                    <a:pt x="232" y="265"/>
                  </a:cubicBezTo>
                  <a:cubicBezTo>
                    <a:pt x="232" y="316"/>
                    <a:pt x="232" y="316"/>
                    <a:pt x="232" y="316"/>
                  </a:cubicBezTo>
                  <a:close/>
                  <a:moveTo>
                    <a:pt x="232" y="92"/>
                  </a:moveTo>
                  <a:cubicBezTo>
                    <a:pt x="232" y="126"/>
                    <a:pt x="232" y="126"/>
                    <a:pt x="232" y="126"/>
                  </a:cubicBezTo>
                  <a:cubicBezTo>
                    <a:pt x="229" y="129"/>
                    <a:pt x="229" y="129"/>
                    <a:pt x="229" y="129"/>
                  </a:cubicBezTo>
                  <a:cubicBezTo>
                    <a:pt x="232" y="132"/>
                    <a:pt x="232" y="132"/>
                    <a:pt x="232" y="132"/>
                  </a:cubicBezTo>
                  <a:cubicBezTo>
                    <a:pt x="232" y="152"/>
                    <a:pt x="232" y="152"/>
                    <a:pt x="232" y="152"/>
                  </a:cubicBezTo>
                  <a:cubicBezTo>
                    <a:pt x="228" y="148"/>
                    <a:pt x="228" y="148"/>
                    <a:pt x="228" y="148"/>
                  </a:cubicBezTo>
                  <a:cubicBezTo>
                    <a:pt x="228" y="95"/>
                    <a:pt x="228" y="95"/>
                    <a:pt x="228" y="95"/>
                  </a:cubicBezTo>
                  <a:cubicBezTo>
                    <a:pt x="232" y="92"/>
                    <a:pt x="232" y="92"/>
                    <a:pt x="232" y="92"/>
                  </a:cubicBezTo>
                  <a:close/>
                  <a:moveTo>
                    <a:pt x="232" y="154"/>
                  </a:moveTo>
                  <a:cubicBezTo>
                    <a:pt x="232" y="187"/>
                    <a:pt x="232" y="187"/>
                    <a:pt x="232" y="187"/>
                  </a:cubicBezTo>
                  <a:cubicBezTo>
                    <a:pt x="228" y="191"/>
                    <a:pt x="228" y="191"/>
                    <a:pt x="228" y="191"/>
                  </a:cubicBezTo>
                  <a:cubicBezTo>
                    <a:pt x="228" y="157"/>
                    <a:pt x="228" y="157"/>
                    <a:pt x="228" y="157"/>
                  </a:cubicBezTo>
                  <a:cubicBezTo>
                    <a:pt x="232" y="154"/>
                    <a:pt x="232" y="154"/>
                    <a:pt x="232" y="154"/>
                  </a:cubicBezTo>
                  <a:close/>
                  <a:moveTo>
                    <a:pt x="232" y="198"/>
                  </a:moveTo>
                  <a:cubicBezTo>
                    <a:pt x="232" y="249"/>
                    <a:pt x="232" y="249"/>
                    <a:pt x="232" y="249"/>
                  </a:cubicBezTo>
                  <a:cubicBezTo>
                    <a:pt x="228" y="253"/>
                    <a:pt x="228" y="253"/>
                    <a:pt x="228" y="253"/>
                  </a:cubicBezTo>
                  <a:cubicBezTo>
                    <a:pt x="228" y="219"/>
                    <a:pt x="228" y="219"/>
                    <a:pt x="228" y="219"/>
                  </a:cubicBezTo>
                  <a:cubicBezTo>
                    <a:pt x="230" y="217"/>
                    <a:pt x="230" y="217"/>
                    <a:pt x="230" y="217"/>
                  </a:cubicBezTo>
                  <a:cubicBezTo>
                    <a:pt x="228" y="215"/>
                    <a:pt x="228" y="215"/>
                    <a:pt x="228" y="215"/>
                  </a:cubicBezTo>
                  <a:cubicBezTo>
                    <a:pt x="228" y="195"/>
                    <a:pt x="228" y="195"/>
                    <a:pt x="228" y="195"/>
                  </a:cubicBezTo>
                  <a:lnTo>
                    <a:pt x="232" y="198"/>
                  </a:lnTo>
                  <a:close/>
                  <a:moveTo>
                    <a:pt x="226" y="7"/>
                  </a:moveTo>
                  <a:cubicBezTo>
                    <a:pt x="228" y="10"/>
                    <a:pt x="228" y="10"/>
                    <a:pt x="228" y="10"/>
                  </a:cubicBezTo>
                  <a:cubicBezTo>
                    <a:pt x="228" y="82"/>
                    <a:pt x="228" y="82"/>
                    <a:pt x="228" y="82"/>
                  </a:cubicBezTo>
                  <a:cubicBezTo>
                    <a:pt x="226" y="80"/>
                    <a:pt x="226" y="80"/>
                    <a:pt x="226" y="80"/>
                  </a:cubicBezTo>
                  <a:cubicBezTo>
                    <a:pt x="226" y="7"/>
                    <a:pt x="226" y="7"/>
                    <a:pt x="226" y="7"/>
                  </a:cubicBezTo>
                  <a:close/>
                  <a:moveTo>
                    <a:pt x="228" y="319"/>
                  </a:moveTo>
                  <a:cubicBezTo>
                    <a:pt x="226" y="321"/>
                    <a:pt x="226" y="321"/>
                    <a:pt x="226" y="321"/>
                  </a:cubicBezTo>
                  <a:cubicBezTo>
                    <a:pt x="226" y="283"/>
                    <a:pt x="226" y="283"/>
                    <a:pt x="226" y="283"/>
                  </a:cubicBezTo>
                  <a:cubicBezTo>
                    <a:pt x="228" y="281"/>
                    <a:pt x="228" y="281"/>
                    <a:pt x="228" y="281"/>
                  </a:cubicBezTo>
                  <a:cubicBezTo>
                    <a:pt x="226" y="279"/>
                    <a:pt x="226" y="279"/>
                    <a:pt x="226" y="279"/>
                  </a:cubicBezTo>
                  <a:cubicBezTo>
                    <a:pt x="226" y="259"/>
                    <a:pt x="226" y="259"/>
                    <a:pt x="226" y="259"/>
                  </a:cubicBezTo>
                  <a:cubicBezTo>
                    <a:pt x="228" y="261"/>
                    <a:pt x="228" y="261"/>
                    <a:pt x="228" y="261"/>
                  </a:cubicBezTo>
                  <a:cubicBezTo>
                    <a:pt x="228" y="319"/>
                    <a:pt x="228" y="319"/>
                    <a:pt x="228" y="319"/>
                  </a:cubicBezTo>
                  <a:close/>
                  <a:moveTo>
                    <a:pt x="228" y="95"/>
                  </a:moveTo>
                  <a:cubicBezTo>
                    <a:pt x="228" y="148"/>
                    <a:pt x="228" y="148"/>
                    <a:pt x="228" y="148"/>
                  </a:cubicBezTo>
                  <a:cubicBezTo>
                    <a:pt x="226" y="146"/>
                    <a:pt x="226" y="146"/>
                    <a:pt x="226" y="146"/>
                  </a:cubicBezTo>
                  <a:cubicBezTo>
                    <a:pt x="226" y="97"/>
                    <a:pt x="226" y="97"/>
                    <a:pt x="226" y="97"/>
                  </a:cubicBezTo>
                  <a:cubicBezTo>
                    <a:pt x="228" y="95"/>
                    <a:pt x="228" y="95"/>
                    <a:pt x="228" y="95"/>
                  </a:cubicBezTo>
                  <a:close/>
                  <a:moveTo>
                    <a:pt x="228" y="157"/>
                  </a:moveTo>
                  <a:cubicBezTo>
                    <a:pt x="228" y="191"/>
                    <a:pt x="228" y="191"/>
                    <a:pt x="228" y="191"/>
                  </a:cubicBezTo>
                  <a:cubicBezTo>
                    <a:pt x="226" y="193"/>
                    <a:pt x="226" y="193"/>
                    <a:pt x="226" y="193"/>
                  </a:cubicBezTo>
                  <a:cubicBezTo>
                    <a:pt x="228" y="195"/>
                    <a:pt x="228" y="195"/>
                    <a:pt x="228" y="195"/>
                  </a:cubicBezTo>
                  <a:cubicBezTo>
                    <a:pt x="228" y="215"/>
                    <a:pt x="228" y="215"/>
                    <a:pt x="228" y="215"/>
                  </a:cubicBezTo>
                  <a:cubicBezTo>
                    <a:pt x="226" y="212"/>
                    <a:pt x="226" y="212"/>
                    <a:pt x="226" y="212"/>
                  </a:cubicBezTo>
                  <a:cubicBezTo>
                    <a:pt x="226" y="159"/>
                    <a:pt x="226" y="159"/>
                    <a:pt x="226" y="159"/>
                  </a:cubicBezTo>
                  <a:cubicBezTo>
                    <a:pt x="228" y="157"/>
                    <a:pt x="228" y="157"/>
                    <a:pt x="228" y="157"/>
                  </a:cubicBezTo>
                  <a:close/>
                  <a:moveTo>
                    <a:pt x="228" y="219"/>
                  </a:moveTo>
                  <a:cubicBezTo>
                    <a:pt x="228" y="253"/>
                    <a:pt x="228" y="253"/>
                    <a:pt x="228" y="253"/>
                  </a:cubicBezTo>
                  <a:cubicBezTo>
                    <a:pt x="226" y="255"/>
                    <a:pt x="226" y="255"/>
                    <a:pt x="226" y="255"/>
                  </a:cubicBezTo>
                  <a:cubicBezTo>
                    <a:pt x="226" y="221"/>
                    <a:pt x="226" y="221"/>
                    <a:pt x="226" y="221"/>
                  </a:cubicBezTo>
                  <a:lnTo>
                    <a:pt x="228" y="219"/>
                  </a:lnTo>
                  <a:close/>
                  <a:moveTo>
                    <a:pt x="216" y="3"/>
                  </a:moveTo>
                  <a:cubicBezTo>
                    <a:pt x="219" y="0"/>
                    <a:pt x="219" y="0"/>
                    <a:pt x="219" y="0"/>
                  </a:cubicBezTo>
                  <a:cubicBezTo>
                    <a:pt x="226" y="7"/>
                    <a:pt x="226" y="7"/>
                    <a:pt x="226" y="7"/>
                  </a:cubicBezTo>
                  <a:cubicBezTo>
                    <a:pt x="226" y="80"/>
                    <a:pt x="226" y="80"/>
                    <a:pt x="226" y="80"/>
                  </a:cubicBezTo>
                  <a:cubicBezTo>
                    <a:pt x="221" y="74"/>
                    <a:pt x="221" y="74"/>
                    <a:pt x="221" y="74"/>
                  </a:cubicBezTo>
                  <a:cubicBezTo>
                    <a:pt x="216" y="79"/>
                    <a:pt x="216" y="79"/>
                    <a:pt x="216" y="79"/>
                  </a:cubicBezTo>
                  <a:cubicBezTo>
                    <a:pt x="216" y="3"/>
                    <a:pt x="216" y="3"/>
                    <a:pt x="216" y="3"/>
                  </a:cubicBezTo>
                  <a:close/>
                  <a:moveTo>
                    <a:pt x="226" y="321"/>
                  </a:moveTo>
                  <a:cubicBezTo>
                    <a:pt x="216" y="331"/>
                    <a:pt x="216" y="331"/>
                    <a:pt x="216" y="331"/>
                  </a:cubicBezTo>
                  <a:cubicBezTo>
                    <a:pt x="216" y="292"/>
                    <a:pt x="216" y="292"/>
                    <a:pt x="216" y="292"/>
                  </a:cubicBezTo>
                  <a:cubicBezTo>
                    <a:pt x="226" y="283"/>
                    <a:pt x="226" y="283"/>
                    <a:pt x="226" y="283"/>
                  </a:cubicBezTo>
                  <a:cubicBezTo>
                    <a:pt x="226" y="321"/>
                    <a:pt x="226" y="321"/>
                    <a:pt x="226" y="321"/>
                  </a:cubicBezTo>
                  <a:close/>
                  <a:moveTo>
                    <a:pt x="226" y="97"/>
                  </a:moveTo>
                  <a:cubicBezTo>
                    <a:pt x="226" y="146"/>
                    <a:pt x="226" y="146"/>
                    <a:pt x="226" y="146"/>
                  </a:cubicBezTo>
                  <a:cubicBezTo>
                    <a:pt x="219" y="138"/>
                    <a:pt x="219" y="138"/>
                    <a:pt x="219" y="138"/>
                  </a:cubicBezTo>
                  <a:cubicBezTo>
                    <a:pt x="216" y="141"/>
                    <a:pt x="216" y="141"/>
                    <a:pt x="216" y="141"/>
                  </a:cubicBezTo>
                  <a:cubicBezTo>
                    <a:pt x="216" y="107"/>
                    <a:pt x="216" y="107"/>
                    <a:pt x="216" y="107"/>
                  </a:cubicBezTo>
                  <a:cubicBezTo>
                    <a:pt x="226" y="97"/>
                    <a:pt x="226" y="97"/>
                    <a:pt x="226" y="97"/>
                  </a:cubicBezTo>
                  <a:close/>
                  <a:moveTo>
                    <a:pt x="226" y="159"/>
                  </a:moveTo>
                  <a:cubicBezTo>
                    <a:pt x="226" y="212"/>
                    <a:pt x="226" y="212"/>
                    <a:pt x="226" y="212"/>
                  </a:cubicBezTo>
                  <a:cubicBezTo>
                    <a:pt x="216" y="202"/>
                    <a:pt x="216" y="202"/>
                    <a:pt x="216" y="202"/>
                  </a:cubicBezTo>
                  <a:cubicBezTo>
                    <a:pt x="216" y="168"/>
                    <a:pt x="216" y="168"/>
                    <a:pt x="216" y="168"/>
                  </a:cubicBezTo>
                  <a:cubicBezTo>
                    <a:pt x="226" y="159"/>
                    <a:pt x="226" y="159"/>
                    <a:pt x="226" y="159"/>
                  </a:cubicBezTo>
                  <a:close/>
                  <a:moveTo>
                    <a:pt x="226" y="221"/>
                  </a:moveTo>
                  <a:cubicBezTo>
                    <a:pt x="226" y="255"/>
                    <a:pt x="226" y="255"/>
                    <a:pt x="226" y="255"/>
                  </a:cubicBezTo>
                  <a:cubicBezTo>
                    <a:pt x="224" y="257"/>
                    <a:pt x="224" y="257"/>
                    <a:pt x="224" y="257"/>
                  </a:cubicBezTo>
                  <a:cubicBezTo>
                    <a:pt x="226" y="259"/>
                    <a:pt x="226" y="259"/>
                    <a:pt x="226" y="259"/>
                  </a:cubicBezTo>
                  <a:cubicBezTo>
                    <a:pt x="226" y="279"/>
                    <a:pt x="226" y="279"/>
                    <a:pt x="226" y="279"/>
                  </a:cubicBezTo>
                  <a:cubicBezTo>
                    <a:pt x="216" y="269"/>
                    <a:pt x="216" y="269"/>
                    <a:pt x="216" y="269"/>
                  </a:cubicBezTo>
                  <a:cubicBezTo>
                    <a:pt x="216" y="230"/>
                    <a:pt x="216" y="230"/>
                    <a:pt x="216" y="230"/>
                  </a:cubicBezTo>
                  <a:lnTo>
                    <a:pt x="226" y="221"/>
                  </a:lnTo>
                  <a:close/>
                  <a:moveTo>
                    <a:pt x="200" y="19"/>
                  </a:moveTo>
                  <a:cubicBezTo>
                    <a:pt x="216" y="3"/>
                    <a:pt x="216" y="3"/>
                    <a:pt x="216" y="3"/>
                  </a:cubicBezTo>
                  <a:cubicBezTo>
                    <a:pt x="216" y="79"/>
                    <a:pt x="216" y="79"/>
                    <a:pt x="216" y="79"/>
                  </a:cubicBezTo>
                  <a:cubicBezTo>
                    <a:pt x="200" y="94"/>
                    <a:pt x="200" y="94"/>
                    <a:pt x="200" y="94"/>
                  </a:cubicBezTo>
                  <a:cubicBezTo>
                    <a:pt x="200" y="19"/>
                    <a:pt x="200" y="19"/>
                    <a:pt x="200" y="19"/>
                  </a:cubicBezTo>
                  <a:close/>
                  <a:moveTo>
                    <a:pt x="216" y="331"/>
                  </a:moveTo>
                  <a:cubicBezTo>
                    <a:pt x="200" y="347"/>
                    <a:pt x="200" y="347"/>
                    <a:pt x="200" y="347"/>
                  </a:cubicBezTo>
                  <a:cubicBezTo>
                    <a:pt x="200" y="298"/>
                    <a:pt x="200" y="298"/>
                    <a:pt x="200" y="298"/>
                  </a:cubicBezTo>
                  <a:cubicBezTo>
                    <a:pt x="205" y="303"/>
                    <a:pt x="205" y="303"/>
                    <a:pt x="205" y="303"/>
                  </a:cubicBezTo>
                  <a:cubicBezTo>
                    <a:pt x="216" y="292"/>
                    <a:pt x="216" y="292"/>
                    <a:pt x="216" y="292"/>
                  </a:cubicBezTo>
                  <a:cubicBezTo>
                    <a:pt x="216" y="331"/>
                    <a:pt x="216" y="331"/>
                    <a:pt x="216" y="331"/>
                  </a:cubicBezTo>
                  <a:close/>
                  <a:moveTo>
                    <a:pt x="216" y="107"/>
                  </a:moveTo>
                  <a:cubicBezTo>
                    <a:pt x="216" y="141"/>
                    <a:pt x="216" y="141"/>
                    <a:pt x="216" y="141"/>
                  </a:cubicBezTo>
                  <a:cubicBezTo>
                    <a:pt x="200" y="156"/>
                    <a:pt x="200" y="156"/>
                    <a:pt x="200" y="156"/>
                  </a:cubicBezTo>
                  <a:cubicBezTo>
                    <a:pt x="200" y="123"/>
                    <a:pt x="200" y="123"/>
                    <a:pt x="200" y="123"/>
                  </a:cubicBezTo>
                  <a:cubicBezTo>
                    <a:pt x="202" y="121"/>
                    <a:pt x="202" y="121"/>
                    <a:pt x="202" y="121"/>
                  </a:cubicBezTo>
                  <a:cubicBezTo>
                    <a:pt x="200" y="119"/>
                    <a:pt x="200" y="119"/>
                    <a:pt x="200" y="119"/>
                  </a:cubicBezTo>
                  <a:cubicBezTo>
                    <a:pt x="200" y="98"/>
                    <a:pt x="200" y="98"/>
                    <a:pt x="200" y="98"/>
                  </a:cubicBezTo>
                  <a:cubicBezTo>
                    <a:pt x="212" y="111"/>
                    <a:pt x="212" y="111"/>
                    <a:pt x="212" y="111"/>
                  </a:cubicBezTo>
                  <a:cubicBezTo>
                    <a:pt x="216" y="107"/>
                    <a:pt x="216" y="107"/>
                    <a:pt x="216" y="107"/>
                  </a:cubicBezTo>
                  <a:close/>
                  <a:moveTo>
                    <a:pt x="216" y="168"/>
                  </a:moveTo>
                  <a:cubicBezTo>
                    <a:pt x="216" y="202"/>
                    <a:pt x="216" y="202"/>
                    <a:pt x="216" y="202"/>
                  </a:cubicBezTo>
                  <a:cubicBezTo>
                    <a:pt x="216" y="202"/>
                    <a:pt x="216" y="202"/>
                    <a:pt x="216" y="202"/>
                  </a:cubicBezTo>
                  <a:cubicBezTo>
                    <a:pt x="200" y="218"/>
                    <a:pt x="200" y="218"/>
                    <a:pt x="200" y="218"/>
                  </a:cubicBezTo>
                  <a:cubicBezTo>
                    <a:pt x="200" y="165"/>
                    <a:pt x="200" y="165"/>
                    <a:pt x="200" y="165"/>
                  </a:cubicBezTo>
                  <a:cubicBezTo>
                    <a:pt x="209" y="175"/>
                    <a:pt x="209" y="175"/>
                    <a:pt x="209" y="175"/>
                  </a:cubicBezTo>
                  <a:cubicBezTo>
                    <a:pt x="216" y="168"/>
                    <a:pt x="216" y="168"/>
                    <a:pt x="216" y="168"/>
                  </a:cubicBezTo>
                  <a:close/>
                  <a:moveTo>
                    <a:pt x="216" y="230"/>
                  </a:moveTo>
                  <a:cubicBezTo>
                    <a:pt x="216" y="269"/>
                    <a:pt x="216" y="269"/>
                    <a:pt x="216" y="269"/>
                  </a:cubicBezTo>
                  <a:cubicBezTo>
                    <a:pt x="214" y="266"/>
                    <a:pt x="214" y="266"/>
                    <a:pt x="214" y="266"/>
                  </a:cubicBezTo>
                  <a:cubicBezTo>
                    <a:pt x="200" y="280"/>
                    <a:pt x="200" y="280"/>
                    <a:pt x="200" y="280"/>
                  </a:cubicBezTo>
                  <a:cubicBezTo>
                    <a:pt x="200" y="231"/>
                    <a:pt x="200" y="231"/>
                    <a:pt x="200" y="231"/>
                  </a:cubicBezTo>
                  <a:cubicBezTo>
                    <a:pt x="207" y="239"/>
                    <a:pt x="207" y="239"/>
                    <a:pt x="207" y="239"/>
                  </a:cubicBezTo>
                  <a:lnTo>
                    <a:pt x="216" y="230"/>
                  </a:lnTo>
                  <a:close/>
                  <a:moveTo>
                    <a:pt x="197" y="19"/>
                  </a:moveTo>
                  <a:cubicBezTo>
                    <a:pt x="198" y="20"/>
                    <a:pt x="198" y="20"/>
                    <a:pt x="198" y="20"/>
                  </a:cubicBezTo>
                  <a:cubicBezTo>
                    <a:pt x="200" y="19"/>
                    <a:pt x="200" y="19"/>
                    <a:pt x="200" y="19"/>
                  </a:cubicBezTo>
                  <a:cubicBezTo>
                    <a:pt x="200" y="94"/>
                    <a:pt x="200" y="94"/>
                    <a:pt x="200" y="94"/>
                  </a:cubicBezTo>
                  <a:cubicBezTo>
                    <a:pt x="198" y="96"/>
                    <a:pt x="198" y="96"/>
                    <a:pt x="198" y="96"/>
                  </a:cubicBezTo>
                  <a:cubicBezTo>
                    <a:pt x="200" y="98"/>
                    <a:pt x="200" y="98"/>
                    <a:pt x="200" y="98"/>
                  </a:cubicBezTo>
                  <a:cubicBezTo>
                    <a:pt x="200" y="119"/>
                    <a:pt x="200" y="119"/>
                    <a:pt x="200" y="119"/>
                  </a:cubicBezTo>
                  <a:cubicBezTo>
                    <a:pt x="197" y="116"/>
                    <a:pt x="197" y="116"/>
                    <a:pt x="197" y="116"/>
                  </a:cubicBezTo>
                  <a:cubicBezTo>
                    <a:pt x="197" y="19"/>
                    <a:pt x="197" y="19"/>
                    <a:pt x="197" y="19"/>
                  </a:cubicBezTo>
                  <a:close/>
                  <a:moveTo>
                    <a:pt x="200" y="347"/>
                  </a:moveTo>
                  <a:cubicBezTo>
                    <a:pt x="197" y="349"/>
                    <a:pt x="197" y="349"/>
                    <a:pt x="197" y="349"/>
                  </a:cubicBezTo>
                  <a:cubicBezTo>
                    <a:pt x="197" y="295"/>
                    <a:pt x="197" y="295"/>
                    <a:pt x="197" y="295"/>
                  </a:cubicBezTo>
                  <a:cubicBezTo>
                    <a:pt x="200" y="298"/>
                    <a:pt x="200" y="298"/>
                    <a:pt x="200" y="298"/>
                  </a:cubicBezTo>
                  <a:cubicBezTo>
                    <a:pt x="200" y="347"/>
                    <a:pt x="200" y="347"/>
                    <a:pt x="200" y="347"/>
                  </a:cubicBezTo>
                  <a:close/>
                  <a:moveTo>
                    <a:pt x="200" y="123"/>
                  </a:moveTo>
                  <a:cubicBezTo>
                    <a:pt x="200" y="156"/>
                    <a:pt x="200" y="156"/>
                    <a:pt x="200" y="156"/>
                  </a:cubicBezTo>
                  <a:cubicBezTo>
                    <a:pt x="197" y="159"/>
                    <a:pt x="197" y="159"/>
                    <a:pt x="197" y="159"/>
                  </a:cubicBezTo>
                  <a:cubicBezTo>
                    <a:pt x="197" y="125"/>
                    <a:pt x="197" y="125"/>
                    <a:pt x="197" y="125"/>
                  </a:cubicBezTo>
                  <a:cubicBezTo>
                    <a:pt x="200" y="123"/>
                    <a:pt x="200" y="123"/>
                    <a:pt x="200" y="123"/>
                  </a:cubicBezTo>
                  <a:close/>
                  <a:moveTo>
                    <a:pt x="200" y="165"/>
                  </a:moveTo>
                  <a:cubicBezTo>
                    <a:pt x="200" y="218"/>
                    <a:pt x="200" y="218"/>
                    <a:pt x="200" y="218"/>
                  </a:cubicBezTo>
                  <a:cubicBezTo>
                    <a:pt x="197" y="220"/>
                    <a:pt x="197" y="220"/>
                    <a:pt x="197" y="220"/>
                  </a:cubicBezTo>
                  <a:cubicBezTo>
                    <a:pt x="197" y="186"/>
                    <a:pt x="197" y="186"/>
                    <a:pt x="197" y="186"/>
                  </a:cubicBezTo>
                  <a:cubicBezTo>
                    <a:pt x="199" y="185"/>
                    <a:pt x="199" y="185"/>
                    <a:pt x="199" y="185"/>
                  </a:cubicBezTo>
                  <a:cubicBezTo>
                    <a:pt x="197" y="183"/>
                    <a:pt x="197" y="183"/>
                    <a:pt x="197" y="183"/>
                  </a:cubicBezTo>
                  <a:cubicBezTo>
                    <a:pt x="197" y="163"/>
                    <a:pt x="197" y="163"/>
                    <a:pt x="197" y="163"/>
                  </a:cubicBezTo>
                  <a:cubicBezTo>
                    <a:pt x="200" y="165"/>
                    <a:pt x="200" y="165"/>
                    <a:pt x="200" y="165"/>
                  </a:cubicBezTo>
                  <a:close/>
                  <a:moveTo>
                    <a:pt x="200" y="231"/>
                  </a:moveTo>
                  <a:cubicBezTo>
                    <a:pt x="200" y="280"/>
                    <a:pt x="200" y="280"/>
                    <a:pt x="200" y="280"/>
                  </a:cubicBezTo>
                  <a:cubicBezTo>
                    <a:pt x="197" y="282"/>
                    <a:pt x="197" y="282"/>
                    <a:pt x="197" y="282"/>
                  </a:cubicBezTo>
                  <a:cubicBezTo>
                    <a:pt x="197" y="229"/>
                    <a:pt x="197" y="229"/>
                    <a:pt x="197" y="229"/>
                  </a:cubicBezTo>
                  <a:lnTo>
                    <a:pt x="200" y="231"/>
                  </a:lnTo>
                  <a:close/>
                  <a:moveTo>
                    <a:pt x="193" y="14"/>
                  </a:moveTo>
                  <a:cubicBezTo>
                    <a:pt x="197" y="19"/>
                    <a:pt x="197" y="19"/>
                    <a:pt x="197" y="19"/>
                  </a:cubicBezTo>
                  <a:cubicBezTo>
                    <a:pt x="197" y="116"/>
                    <a:pt x="197" y="116"/>
                    <a:pt x="197" y="116"/>
                  </a:cubicBezTo>
                  <a:cubicBezTo>
                    <a:pt x="193" y="111"/>
                    <a:pt x="193" y="111"/>
                    <a:pt x="193" y="111"/>
                  </a:cubicBezTo>
                  <a:cubicBezTo>
                    <a:pt x="193" y="14"/>
                    <a:pt x="193" y="14"/>
                    <a:pt x="193" y="14"/>
                  </a:cubicBezTo>
                  <a:close/>
                  <a:moveTo>
                    <a:pt x="197" y="349"/>
                  </a:moveTo>
                  <a:cubicBezTo>
                    <a:pt x="193" y="353"/>
                    <a:pt x="193" y="353"/>
                    <a:pt x="193" y="353"/>
                  </a:cubicBezTo>
                  <a:cubicBezTo>
                    <a:pt x="193" y="314"/>
                    <a:pt x="193" y="314"/>
                    <a:pt x="193" y="314"/>
                  </a:cubicBezTo>
                  <a:cubicBezTo>
                    <a:pt x="195" y="313"/>
                    <a:pt x="195" y="313"/>
                    <a:pt x="195" y="313"/>
                  </a:cubicBezTo>
                  <a:cubicBezTo>
                    <a:pt x="193" y="311"/>
                    <a:pt x="193" y="311"/>
                    <a:pt x="193" y="311"/>
                  </a:cubicBezTo>
                  <a:cubicBezTo>
                    <a:pt x="193" y="290"/>
                    <a:pt x="193" y="290"/>
                    <a:pt x="193" y="290"/>
                  </a:cubicBezTo>
                  <a:cubicBezTo>
                    <a:pt x="197" y="295"/>
                    <a:pt x="197" y="295"/>
                    <a:pt x="197" y="295"/>
                  </a:cubicBezTo>
                  <a:cubicBezTo>
                    <a:pt x="197" y="349"/>
                    <a:pt x="197" y="349"/>
                    <a:pt x="197" y="349"/>
                  </a:cubicBezTo>
                  <a:close/>
                  <a:moveTo>
                    <a:pt x="197" y="125"/>
                  </a:moveTo>
                  <a:cubicBezTo>
                    <a:pt x="197" y="159"/>
                    <a:pt x="197" y="159"/>
                    <a:pt x="197" y="159"/>
                  </a:cubicBezTo>
                  <a:cubicBezTo>
                    <a:pt x="196" y="161"/>
                    <a:pt x="196" y="161"/>
                    <a:pt x="196" y="161"/>
                  </a:cubicBezTo>
                  <a:cubicBezTo>
                    <a:pt x="197" y="163"/>
                    <a:pt x="197" y="163"/>
                    <a:pt x="197" y="163"/>
                  </a:cubicBezTo>
                  <a:cubicBezTo>
                    <a:pt x="197" y="183"/>
                    <a:pt x="197" y="183"/>
                    <a:pt x="197" y="183"/>
                  </a:cubicBezTo>
                  <a:cubicBezTo>
                    <a:pt x="193" y="178"/>
                    <a:pt x="193" y="178"/>
                    <a:pt x="193" y="178"/>
                  </a:cubicBezTo>
                  <a:cubicBezTo>
                    <a:pt x="193" y="129"/>
                    <a:pt x="193" y="129"/>
                    <a:pt x="193" y="129"/>
                  </a:cubicBezTo>
                  <a:cubicBezTo>
                    <a:pt x="197" y="125"/>
                    <a:pt x="197" y="125"/>
                    <a:pt x="197" y="125"/>
                  </a:cubicBezTo>
                  <a:close/>
                  <a:moveTo>
                    <a:pt x="197" y="186"/>
                  </a:moveTo>
                  <a:cubicBezTo>
                    <a:pt x="197" y="220"/>
                    <a:pt x="197" y="220"/>
                    <a:pt x="197" y="220"/>
                  </a:cubicBezTo>
                  <a:cubicBezTo>
                    <a:pt x="193" y="224"/>
                    <a:pt x="193" y="224"/>
                    <a:pt x="193" y="224"/>
                  </a:cubicBezTo>
                  <a:cubicBezTo>
                    <a:pt x="197" y="229"/>
                    <a:pt x="197" y="229"/>
                    <a:pt x="197" y="229"/>
                  </a:cubicBezTo>
                  <a:cubicBezTo>
                    <a:pt x="197" y="282"/>
                    <a:pt x="197" y="282"/>
                    <a:pt x="197" y="282"/>
                  </a:cubicBezTo>
                  <a:cubicBezTo>
                    <a:pt x="193" y="287"/>
                    <a:pt x="193" y="287"/>
                    <a:pt x="193" y="287"/>
                  </a:cubicBezTo>
                  <a:cubicBezTo>
                    <a:pt x="193" y="191"/>
                    <a:pt x="193" y="191"/>
                    <a:pt x="193" y="191"/>
                  </a:cubicBezTo>
                  <a:lnTo>
                    <a:pt x="197" y="186"/>
                  </a:lnTo>
                  <a:close/>
                  <a:moveTo>
                    <a:pt x="186" y="7"/>
                  </a:moveTo>
                  <a:cubicBezTo>
                    <a:pt x="193" y="14"/>
                    <a:pt x="193" y="14"/>
                    <a:pt x="193" y="14"/>
                  </a:cubicBezTo>
                  <a:cubicBezTo>
                    <a:pt x="193" y="111"/>
                    <a:pt x="193" y="111"/>
                    <a:pt x="193" y="111"/>
                  </a:cubicBezTo>
                  <a:cubicBezTo>
                    <a:pt x="188" y="106"/>
                    <a:pt x="188" y="106"/>
                    <a:pt x="188" y="106"/>
                  </a:cubicBezTo>
                  <a:cubicBezTo>
                    <a:pt x="183" y="110"/>
                    <a:pt x="183" y="110"/>
                    <a:pt x="183" y="110"/>
                  </a:cubicBezTo>
                  <a:cubicBezTo>
                    <a:pt x="183" y="10"/>
                    <a:pt x="183" y="10"/>
                    <a:pt x="183" y="10"/>
                  </a:cubicBezTo>
                  <a:cubicBezTo>
                    <a:pt x="186" y="7"/>
                    <a:pt x="186" y="7"/>
                    <a:pt x="186" y="7"/>
                  </a:cubicBezTo>
                  <a:close/>
                  <a:moveTo>
                    <a:pt x="193" y="353"/>
                  </a:moveTo>
                  <a:cubicBezTo>
                    <a:pt x="183" y="362"/>
                    <a:pt x="183" y="362"/>
                    <a:pt x="183" y="362"/>
                  </a:cubicBezTo>
                  <a:cubicBezTo>
                    <a:pt x="183" y="324"/>
                    <a:pt x="183" y="324"/>
                    <a:pt x="183" y="324"/>
                  </a:cubicBezTo>
                  <a:cubicBezTo>
                    <a:pt x="193" y="314"/>
                    <a:pt x="193" y="314"/>
                    <a:pt x="193" y="314"/>
                  </a:cubicBezTo>
                  <a:cubicBezTo>
                    <a:pt x="193" y="353"/>
                    <a:pt x="193" y="353"/>
                    <a:pt x="193" y="353"/>
                  </a:cubicBezTo>
                  <a:close/>
                  <a:moveTo>
                    <a:pt x="193" y="129"/>
                  </a:moveTo>
                  <a:cubicBezTo>
                    <a:pt x="193" y="178"/>
                    <a:pt x="193" y="178"/>
                    <a:pt x="193" y="178"/>
                  </a:cubicBezTo>
                  <a:cubicBezTo>
                    <a:pt x="185" y="170"/>
                    <a:pt x="185" y="170"/>
                    <a:pt x="185" y="170"/>
                  </a:cubicBezTo>
                  <a:cubicBezTo>
                    <a:pt x="183" y="172"/>
                    <a:pt x="183" y="172"/>
                    <a:pt x="183" y="172"/>
                  </a:cubicBezTo>
                  <a:cubicBezTo>
                    <a:pt x="183" y="139"/>
                    <a:pt x="183" y="139"/>
                    <a:pt x="183" y="139"/>
                  </a:cubicBezTo>
                  <a:cubicBezTo>
                    <a:pt x="193" y="129"/>
                    <a:pt x="193" y="129"/>
                    <a:pt x="193" y="129"/>
                  </a:cubicBezTo>
                  <a:close/>
                  <a:moveTo>
                    <a:pt x="193" y="191"/>
                  </a:moveTo>
                  <a:cubicBezTo>
                    <a:pt x="193" y="287"/>
                    <a:pt x="193" y="287"/>
                    <a:pt x="193" y="287"/>
                  </a:cubicBezTo>
                  <a:cubicBezTo>
                    <a:pt x="191" y="288"/>
                    <a:pt x="191" y="288"/>
                    <a:pt x="191" y="288"/>
                  </a:cubicBezTo>
                  <a:cubicBezTo>
                    <a:pt x="193" y="290"/>
                    <a:pt x="193" y="290"/>
                    <a:pt x="193" y="290"/>
                  </a:cubicBezTo>
                  <a:cubicBezTo>
                    <a:pt x="193" y="311"/>
                    <a:pt x="193" y="311"/>
                    <a:pt x="193" y="311"/>
                  </a:cubicBezTo>
                  <a:cubicBezTo>
                    <a:pt x="183" y="301"/>
                    <a:pt x="183" y="301"/>
                    <a:pt x="183" y="301"/>
                  </a:cubicBezTo>
                  <a:cubicBezTo>
                    <a:pt x="183" y="200"/>
                    <a:pt x="183" y="200"/>
                    <a:pt x="183" y="200"/>
                  </a:cubicBezTo>
                  <a:lnTo>
                    <a:pt x="193" y="191"/>
                  </a:lnTo>
                  <a:close/>
                  <a:moveTo>
                    <a:pt x="183" y="362"/>
                  </a:moveTo>
                  <a:cubicBezTo>
                    <a:pt x="176" y="369"/>
                    <a:pt x="176" y="369"/>
                    <a:pt x="176" y="369"/>
                  </a:cubicBezTo>
                  <a:cubicBezTo>
                    <a:pt x="168" y="360"/>
                    <a:pt x="168" y="360"/>
                    <a:pt x="168" y="360"/>
                  </a:cubicBezTo>
                  <a:cubicBezTo>
                    <a:pt x="168" y="331"/>
                    <a:pt x="168" y="331"/>
                    <a:pt x="168" y="331"/>
                  </a:cubicBezTo>
                  <a:cubicBezTo>
                    <a:pt x="172" y="335"/>
                    <a:pt x="172" y="335"/>
                    <a:pt x="172" y="335"/>
                  </a:cubicBezTo>
                  <a:cubicBezTo>
                    <a:pt x="183" y="324"/>
                    <a:pt x="183" y="324"/>
                    <a:pt x="183" y="324"/>
                  </a:cubicBezTo>
                  <a:cubicBezTo>
                    <a:pt x="183" y="362"/>
                    <a:pt x="183" y="362"/>
                    <a:pt x="183" y="362"/>
                  </a:cubicBezTo>
                  <a:close/>
                  <a:moveTo>
                    <a:pt x="168" y="25"/>
                  </a:moveTo>
                  <a:cubicBezTo>
                    <a:pt x="183" y="10"/>
                    <a:pt x="183" y="10"/>
                    <a:pt x="183" y="10"/>
                  </a:cubicBezTo>
                  <a:cubicBezTo>
                    <a:pt x="183" y="110"/>
                    <a:pt x="183" y="110"/>
                    <a:pt x="183" y="110"/>
                  </a:cubicBezTo>
                  <a:cubicBezTo>
                    <a:pt x="168" y="125"/>
                    <a:pt x="168" y="125"/>
                    <a:pt x="168" y="125"/>
                  </a:cubicBezTo>
                  <a:cubicBezTo>
                    <a:pt x="168" y="91"/>
                    <a:pt x="168" y="91"/>
                    <a:pt x="168" y="91"/>
                  </a:cubicBezTo>
                  <a:cubicBezTo>
                    <a:pt x="171" y="88"/>
                    <a:pt x="171" y="88"/>
                    <a:pt x="171" y="88"/>
                  </a:cubicBezTo>
                  <a:cubicBezTo>
                    <a:pt x="168" y="85"/>
                    <a:pt x="168" y="85"/>
                    <a:pt x="168" y="85"/>
                  </a:cubicBezTo>
                  <a:cubicBezTo>
                    <a:pt x="168" y="25"/>
                    <a:pt x="168" y="25"/>
                    <a:pt x="168" y="25"/>
                  </a:cubicBezTo>
                  <a:close/>
                  <a:moveTo>
                    <a:pt x="183" y="139"/>
                  </a:moveTo>
                  <a:cubicBezTo>
                    <a:pt x="183" y="172"/>
                    <a:pt x="183" y="172"/>
                    <a:pt x="183" y="172"/>
                  </a:cubicBezTo>
                  <a:cubicBezTo>
                    <a:pt x="168" y="187"/>
                    <a:pt x="168" y="187"/>
                    <a:pt x="168" y="187"/>
                  </a:cubicBezTo>
                  <a:cubicBezTo>
                    <a:pt x="168" y="131"/>
                    <a:pt x="168" y="131"/>
                    <a:pt x="168" y="131"/>
                  </a:cubicBezTo>
                  <a:cubicBezTo>
                    <a:pt x="179" y="143"/>
                    <a:pt x="179" y="143"/>
                    <a:pt x="179" y="143"/>
                  </a:cubicBezTo>
                  <a:cubicBezTo>
                    <a:pt x="183" y="139"/>
                    <a:pt x="183" y="139"/>
                    <a:pt x="183" y="139"/>
                  </a:cubicBezTo>
                  <a:close/>
                  <a:moveTo>
                    <a:pt x="183" y="200"/>
                  </a:moveTo>
                  <a:cubicBezTo>
                    <a:pt x="183" y="301"/>
                    <a:pt x="183" y="301"/>
                    <a:pt x="183" y="301"/>
                  </a:cubicBezTo>
                  <a:cubicBezTo>
                    <a:pt x="181" y="298"/>
                    <a:pt x="181" y="298"/>
                    <a:pt x="181" y="298"/>
                  </a:cubicBezTo>
                  <a:cubicBezTo>
                    <a:pt x="168" y="311"/>
                    <a:pt x="168" y="311"/>
                    <a:pt x="168" y="311"/>
                  </a:cubicBezTo>
                  <a:cubicBezTo>
                    <a:pt x="168" y="198"/>
                    <a:pt x="168" y="198"/>
                    <a:pt x="168" y="198"/>
                  </a:cubicBezTo>
                  <a:cubicBezTo>
                    <a:pt x="176" y="207"/>
                    <a:pt x="176" y="207"/>
                    <a:pt x="176" y="207"/>
                  </a:cubicBezTo>
                  <a:lnTo>
                    <a:pt x="183" y="200"/>
                  </a:lnTo>
                  <a:close/>
                  <a:moveTo>
                    <a:pt x="168" y="360"/>
                  </a:moveTo>
                  <a:cubicBezTo>
                    <a:pt x="164" y="356"/>
                    <a:pt x="164" y="356"/>
                    <a:pt x="164" y="356"/>
                  </a:cubicBezTo>
                  <a:cubicBezTo>
                    <a:pt x="164" y="327"/>
                    <a:pt x="164" y="327"/>
                    <a:pt x="164" y="327"/>
                  </a:cubicBezTo>
                  <a:cubicBezTo>
                    <a:pt x="168" y="331"/>
                    <a:pt x="168" y="331"/>
                    <a:pt x="168" y="331"/>
                  </a:cubicBezTo>
                  <a:cubicBezTo>
                    <a:pt x="168" y="360"/>
                    <a:pt x="168" y="360"/>
                    <a:pt x="168" y="360"/>
                  </a:cubicBezTo>
                  <a:close/>
                  <a:moveTo>
                    <a:pt x="164" y="28"/>
                  </a:moveTo>
                  <a:cubicBezTo>
                    <a:pt x="168" y="25"/>
                    <a:pt x="168" y="25"/>
                    <a:pt x="168" y="25"/>
                  </a:cubicBezTo>
                  <a:cubicBezTo>
                    <a:pt x="168" y="85"/>
                    <a:pt x="168" y="85"/>
                    <a:pt x="168" y="85"/>
                  </a:cubicBezTo>
                  <a:cubicBezTo>
                    <a:pt x="164" y="82"/>
                    <a:pt x="164" y="82"/>
                    <a:pt x="164" y="82"/>
                  </a:cubicBezTo>
                  <a:cubicBezTo>
                    <a:pt x="164" y="28"/>
                    <a:pt x="164" y="28"/>
                    <a:pt x="164" y="28"/>
                  </a:cubicBezTo>
                  <a:close/>
                  <a:moveTo>
                    <a:pt x="168" y="91"/>
                  </a:moveTo>
                  <a:cubicBezTo>
                    <a:pt x="168" y="125"/>
                    <a:pt x="168" y="125"/>
                    <a:pt x="168" y="125"/>
                  </a:cubicBezTo>
                  <a:cubicBezTo>
                    <a:pt x="165" y="128"/>
                    <a:pt x="165" y="128"/>
                    <a:pt x="165" y="128"/>
                  </a:cubicBezTo>
                  <a:cubicBezTo>
                    <a:pt x="168" y="131"/>
                    <a:pt x="168" y="131"/>
                    <a:pt x="168" y="131"/>
                  </a:cubicBezTo>
                  <a:cubicBezTo>
                    <a:pt x="168" y="187"/>
                    <a:pt x="168" y="187"/>
                    <a:pt x="168" y="187"/>
                  </a:cubicBezTo>
                  <a:cubicBezTo>
                    <a:pt x="164" y="190"/>
                    <a:pt x="164" y="190"/>
                    <a:pt x="164" y="190"/>
                  </a:cubicBezTo>
                  <a:cubicBezTo>
                    <a:pt x="164" y="95"/>
                    <a:pt x="164" y="95"/>
                    <a:pt x="164" y="95"/>
                  </a:cubicBezTo>
                  <a:cubicBezTo>
                    <a:pt x="168" y="91"/>
                    <a:pt x="168" y="91"/>
                    <a:pt x="168" y="91"/>
                  </a:cubicBezTo>
                  <a:close/>
                  <a:moveTo>
                    <a:pt x="168" y="198"/>
                  </a:moveTo>
                  <a:cubicBezTo>
                    <a:pt x="168" y="311"/>
                    <a:pt x="168" y="311"/>
                    <a:pt x="168" y="311"/>
                  </a:cubicBezTo>
                  <a:cubicBezTo>
                    <a:pt x="164" y="314"/>
                    <a:pt x="164" y="314"/>
                    <a:pt x="164" y="314"/>
                  </a:cubicBezTo>
                  <a:cubicBezTo>
                    <a:pt x="164" y="218"/>
                    <a:pt x="164" y="218"/>
                    <a:pt x="164" y="218"/>
                  </a:cubicBezTo>
                  <a:cubicBezTo>
                    <a:pt x="166" y="216"/>
                    <a:pt x="166" y="216"/>
                    <a:pt x="166" y="216"/>
                  </a:cubicBezTo>
                  <a:cubicBezTo>
                    <a:pt x="164" y="214"/>
                    <a:pt x="164" y="214"/>
                    <a:pt x="164" y="214"/>
                  </a:cubicBezTo>
                  <a:cubicBezTo>
                    <a:pt x="164" y="194"/>
                    <a:pt x="164" y="194"/>
                    <a:pt x="164" y="194"/>
                  </a:cubicBezTo>
                  <a:lnTo>
                    <a:pt x="168" y="198"/>
                  </a:lnTo>
                  <a:close/>
                  <a:moveTo>
                    <a:pt x="164" y="356"/>
                  </a:moveTo>
                  <a:cubicBezTo>
                    <a:pt x="161" y="353"/>
                    <a:pt x="161" y="353"/>
                    <a:pt x="161" y="353"/>
                  </a:cubicBezTo>
                  <a:cubicBezTo>
                    <a:pt x="161" y="323"/>
                    <a:pt x="161" y="323"/>
                    <a:pt x="161" y="323"/>
                  </a:cubicBezTo>
                  <a:cubicBezTo>
                    <a:pt x="164" y="327"/>
                    <a:pt x="164" y="327"/>
                    <a:pt x="164" y="327"/>
                  </a:cubicBezTo>
                  <a:cubicBezTo>
                    <a:pt x="164" y="356"/>
                    <a:pt x="164" y="356"/>
                    <a:pt x="164" y="356"/>
                  </a:cubicBezTo>
                  <a:close/>
                  <a:moveTo>
                    <a:pt x="161" y="31"/>
                  </a:moveTo>
                  <a:cubicBezTo>
                    <a:pt x="164" y="28"/>
                    <a:pt x="164" y="28"/>
                    <a:pt x="164" y="28"/>
                  </a:cubicBezTo>
                  <a:cubicBezTo>
                    <a:pt x="164" y="82"/>
                    <a:pt x="164" y="82"/>
                    <a:pt x="164" y="82"/>
                  </a:cubicBezTo>
                  <a:cubicBezTo>
                    <a:pt x="161" y="78"/>
                    <a:pt x="161" y="78"/>
                    <a:pt x="161" y="78"/>
                  </a:cubicBezTo>
                  <a:cubicBezTo>
                    <a:pt x="161" y="31"/>
                    <a:pt x="161" y="31"/>
                    <a:pt x="161" y="31"/>
                  </a:cubicBezTo>
                  <a:close/>
                  <a:moveTo>
                    <a:pt x="164" y="95"/>
                  </a:moveTo>
                  <a:cubicBezTo>
                    <a:pt x="164" y="190"/>
                    <a:pt x="164" y="190"/>
                    <a:pt x="164" y="190"/>
                  </a:cubicBezTo>
                  <a:cubicBezTo>
                    <a:pt x="162" y="192"/>
                    <a:pt x="162" y="192"/>
                    <a:pt x="162" y="192"/>
                  </a:cubicBezTo>
                  <a:cubicBezTo>
                    <a:pt x="164" y="194"/>
                    <a:pt x="164" y="194"/>
                    <a:pt x="164" y="194"/>
                  </a:cubicBezTo>
                  <a:cubicBezTo>
                    <a:pt x="164" y="214"/>
                    <a:pt x="164" y="214"/>
                    <a:pt x="164" y="214"/>
                  </a:cubicBezTo>
                  <a:cubicBezTo>
                    <a:pt x="161" y="211"/>
                    <a:pt x="161" y="211"/>
                    <a:pt x="161" y="211"/>
                  </a:cubicBezTo>
                  <a:cubicBezTo>
                    <a:pt x="161" y="98"/>
                    <a:pt x="161" y="98"/>
                    <a:pt x="161" y="98"/>
                  </a:cubicBezTo>
                  <a:cubicBezTo>
                    <a:pt x="164" y="95"/>
                    <a:pt x="164" y="95"/>
                    <a:pt x="164" y="95"/>
                  </a:cubicBezTo>
                  <a:close/>
                  <a:moveTo>
                    <a:pt x="164" y="218"/>
                  </a:moveTo>
                  <a:cubicBezTo>
                    <a:pt x="164" y="314"/>
                    <a:pt x="164" y="314"/>
                    <a:pt x="164" y="314"/>
                  </a:cubicBezTo>
                  <a:cubicBezTo>
                    <a:pt x="161" y="317"/>
                    <a:pt x="161" y="317"/>
                    <a:pt x="161" y="317"/>
                  </a:cubicBezTo>
                  <a:cubicBezTo>
                    <a:pt x="161" y="283"/>
                    <a:pt x="161" y="283"/>
                    <a:pt x="161" y="283"/>
                  </a:cubicBezTo>
                  <a:cubicBezTo>
                    <a:pt x="164" y="280"/>
                    <a:pt x="164" y="280"/>
                    <a:pt x="164" y="280"/>
                  </a:cubicBezTo>
                  <a:cubicBezTo>
                    <a:pt x="161" y="277"/>
                    <a:pt x="161" y="277"/>
                    <a:pt x="161" y="277"/>
                  </a:cubicBezTo>
                  <a:cubicBezTo>
                    <a:pt x="161" y="222"/>
                    <a:pt x="161" y="222"/>
                    <a:pt x="161" y="222"/>
                  </a:cubicBezTo>
                  <a:lnTo>
                    <a:pt x="164" y="218"/>
                  </a:lnTo>
                  <a:close/>
                  <a:moveTo>
                    <a:pt x="161" y="353"/>
                  </a:moveTo>
                  <a:cubicBezTo>
                    <a:pt x="152" y="344"/>
                    <a:pt x="152" y="344"/>
                    <a:pt x="152" y="344"/>
                  </a:cubicBezTo>
                  <a:cubicBezTo>
                    <a:pt x="152" y="292"/>
                    <a:pt x="152" y="292"/>
                    <a:pt x="152" y="292"/>
                  </a:cubicBezTo>
                  <a:cubicBezTo>
                    <a:pt x="161" y="283"/>
                    <a:pt x="161" y="283"/>
                    <a:pt x="161" y="283"/>
                  </a:cubicBezTo>
                  <a:cubicBezTo>
                    <a:pt x="161" y="317"/>
                    <a:pt x="161" y="317"/>
                    <a:pt x="161" y="317"/>
                  </a:cubicBezTo>
                  <a:cubicBezTo>
                    <a:pt x="158" y="320"/>
                    <a:pt x="158" y="320"/>
                    <a:pt x="158" y="320"/>
                  </a:cubicBezTo>
                  <a:cubicBezTo>
                    <a:pt x="161" y="323"/>
                    <a:pt x="161" y="323"/>
                    <a:pt x="161" y="323"/>
                  </a:cubicBezTo>
                  <a:cubicBezTo>
                    <a:pt x="161" y="353"/>
                    <a:pt x="161" y="353"/>
                    <a:pt x="161" y="353"/>
                  </a:cubicBezTo>
                  <a:close/>
                  <a:moveTo>
                    <a:pt x="152" y="40"/>
                  </a:moveTo>
                  <a:cubicBezTo>
                    <a:pt x="161" y="31"/>
                    <a:pt x="161" y="31"/>
                    <a:pt x="161" y="31"/>
                  </a:cubicBezTo>
                  <a:cubicBezTo>
                    <a:pt x="161" y="78"/>
                    <a:pt x="161" y="78"/>
                    <a:pt x="161" y="78"/>
                  </a:cubicBezTo>
                  <a:cubicBezTo>
                    <a:pt x="157" y="74"/>
                    <a:pt x="157" y="74"/>
                    <a:pt x="157" y="74"/>
                  </a:cubicBezTo>
                  <a:cubicBezTo>
                    <a:pt x="152" y="78"/>
                    <a:pt x="152" y="78"/>
                    <a:pt x="152" y="78"/>
                  </a:cubicBezTo>
                  <a:cubicBezTo>
                    <a:pt x="152" y="40"/>
                    <a:pt x="152" y="40"/>
                    <a:pt x="152" y="40"/>
                  </a:cubicBezTo>
                  <a:close/>
                  <a:moveTo>
                    <a:pt x="161" y="98"/>
                  </a:moveTo>
                  <a:cubicBezTo>
                    <a:pt x="161" y="211"/>
                    <a:pt x="161" y="211"/>
                    <a:pt x="161" y="211"/>
                  </a:cubicBezTo>
                  <a:cubicBezTo>
                    <a:pt x="152" y="202"/>
                    <a:pt x="152" y="202"/>
                    <a:pt x="152" y="202"/>
                  </a:cubicBezTo>
                  <a:cubicBezTo>
                    <a:pt x="152" y="202"/>
                    <a:pt x="152" y="202"/>
                    <a:pt x="152" y="202"/>
                  </a:cubicBezTo>
                  <a:cubicBezTo>
                    <a:pt x="152" y="106"/>
                    <a:pt x="152" y="106"/>
                    <a:pt x="152" y="106"/>
                  </a:cubicBezTo>
                  <a:cubicBezTo>
                    <a:pt x="161" y="98"/>
                    <a:pt x="161" y="98"/>
                    <a:pt x="161" y="98"/>
                  </a:cubicBezTo>
                  <a:close/>
                  <a:moveTo>
                    <a:pt x="161" y="222"/>
                  </a:moveTo>
                  <a:cubicBezTo>
                    <a:pt x="161" y="277"/>
                    <a:pt x="161" y="277"/>
                    <a:pt x="161" y="277"/>
                  </a:cubicBezTo>
                  <a:cubicBezTo>
                    <a:pt x="152" y="268"/>
                    <a:pt x="152" y="268"/>
                    <a:pt x="152" y="268"/>
                  </a:cubicBezTo>
                  <a:cubicBezTo>
                    <a:pt x="152" y="230"/>
                    <a:pt x="152" y="230"/>
                    <a:pt x="152" y="230"/>
                  </a:cubicBezTo>
                  <a:lnTo>
                    <a:pt x="161" y="222"/>
                  </a:lnTo>
                  <a:close/>
                  <a:moveTo>
                    <a:pt x="152" y="344"/>
                  </a:moveTo>
                  <a:cubicBezTo>
                    <a:pt x="132" y="323"/>
                    <a:pt x="132" y="323"/>
                    <a:pt x="132" y="323"/>
                  </a:cubicBezTo>
                  <a:cubicBezTo>
                    <a:pt x="132" y="294"/>
                    <a:pt x="132" y="294"/>
                    <a:pt x="132" y="294"/>
                  </a:cubicBezTo>
                  <a:cubicBezTo>
                    <a:pt x="141" y="303"/>
                    <a:pt x="141" y="303"/>
                    <a:pt x="141" y="303"/>
                  </a:cubicBezTo>
                  <a:cubicBezTo>
                    <a:pt x="152" y="292"/>
                    <a:pt x="152" y="292"/>
                    <a:pt x="152" y="292"/>
                  </a:cubicBezTo>
                  <a:cubicBezTo>
                    <a:pt x="152" y="344"/>
                    <a:pt x="152" y="344"/>
                    <a:pt x="152" y="344"/>
                  </a:cubicBezTo>
                  <a:close/>
                  <a:moveTo>
                    <a:pt x="132" y="59"/>
                  </a:moveTo>
                  <a:cubicBezTo>
                    <a:pt x="152" y="40"/>
                    <a:pt x="152" y="40"/>
                    <a:pt x="152" y="40"/>
                  </a:cubicBezTo>
                  <a:cubicBezTo>
                    <a:pt x="152" y="78"/>
                    <a:pt x="152" y="78"/>
                    <a:pt x="152" y="78"/>
                  </a:cubicBezTo>
                  <a:cubicBezTo>
                    <a:pt x="134" y="96"/>
                    <a:pt x="134" y="96"/>
                    <a:pt x="134" y="96"/>
                  </a:cubicBezTo>
                  <a:cubicBezTo>
                    <a:pt x="138" y="101"/>
                    <a:pt x="143" y="106"/>
                    <a:pt x="148" y="111"/>
                  </a:cubicBezTo>
                  <a:cubicBezTo>
                    <a:pt x="152" y="106"/>
                    <a:pt x="152" y="106"/>
                    <a:pt x="152" y="106"/>
                  </a:cubicBezTo>
                  <a:cubicBezTo>
                    <a:pt x="152" y="202"/>
                    <a:pt x="152" y="202"/>
                    <a:pt x="152" y="202"/>
                  </a:cubicBezTo>
                  <a:cubicBezTo>
                    <a:pt x="132" y="221"/>
                    <a:pt x="132" y="221"/>
                    <a:pt x="132" y="221"/>
                  </a:cubicBezTo>
                  <a:cubicBezTo>
                    <a:pt x="132" y="187"/>
                    <a:pt x="132" y="187"/>
                    <a:pt x="132" y="187"/>
                  </a:cubicBezTo>
                  <a:cubicBezTo>
                    <a:pt x="135" y="184"/>
                    <a:pt x="135" y="184"/>
                    <a:pt x="135" y="184"/>
                  </a:cubicBezTo>
                  <a:cubicBezTo>
                    <a:pt x="132" y="181"/>
                    <a:pt x="132" y="181"/>
                    <a:pt x="132" y="181"/>
                  </a:cubicBezTo>
                  <a:cubicBezTo>
                    <a:pt x="132" y="59"/>
                    <a:pt x="132" y="59"/>
                    <a:pt x="132" y="59"/>
                  </a:cubicBezTo>
                  <a:close/>
                  <a:moveTo>
                    <a:pt x="152" y="230"/>
                  </a:moveTo>
                  <a:cubicBezTo>
                    <a:pt x="152" y="268"/>
                    <a:pt x="152" y="268"/>
                    <a:pt x="152" y="268"/>
                  </a:cubicBezTo>
                  <a:cubicBezTo>
                    <a:pt x="150" y="266"/>
                    <a:pt x="150" y="266"/>
                    <a:pt x="150" y="266"/>
                  </a:cubicBezTo>
                  <a:cubicBezTo>
                    <a:pt x="132" y="283"/>
                    <a:pt x="132" y="283"/>
                    <a:pt x="132" y="283"/>
                  </a:cubicBezTo>
                  <a:cubicBezTo>
                    <a:pt x="132" y="249"/>
                    <a:pt x="132" y="249"/>
                    <a:pt x="132" y="249"/>
                  </a:cubicBezTo>
                  <a:cubicBezTo>
                    <a:pt x="133" y="248"/>
                    <a:pt x="133" y="248"/>
                    <a:pt x="133" y="248"/>
                  </a:cubicBezTo>
                  <a:cubicBezTo>
                    <a:pt x="132" y="247"/>
                    <a:pt x="132" y="247"/>
                    <a:pt x="132" y="247"/>
                  </a:cubicBezTo>
                  <a:cubicBezTo>
                    <a:pt x="132" y="227"/>
                    <a:pt x="132" y="227"/>
                    <a:pt x="132" y="227"/>
                  </a:cubicBezTo>
                  <a:cubicBezTo>
                    <a:pt x="143" y="239"/>
                    <a:pt x="143" y="239"/>
                    <a:pt x="143" y="239"/>
                  </a:cubicBezTo>
                  <a:lnTo>
                    <a:pt x="152" y="230"/>
                  </a:lnTo>
                  <a:close/>
                  <a:moveTo>
                    <a:pt x="132" y="323"/>
                  </a:moveTo>
                  <a:cubicBezTo>
                    <a:pt x="117" y="307"/>
                    <a:pt x="117" y="307"/>
                    <a:pt x="117" y="307"/>
                  </a:cubicBezTo>
                  <a:cubicBezTo>
                    <a:pt x="117" y="264"/>
                    <a:pt x="117" y="264"/>
                    <a:pt x="117" y="264"/>
                  </a:cubicBezTo>
                  <a:cubicBezTo>
                    <a:pt x="132" y="249"/>
                    <a:pt x="132" y="249"/>
                    <a:pt x="132" y="249"/>
                  </a:cubicBezTo>
                  <a:cubicBezTo>
                    <a:pt x="132" y="283"/>
                    <a:pt x="132" y="283"/>
                    <a:pt x="132" y="283"/>
                  </a:cubicBezTo>
                  <a:cubicBezTo>
                    <a:pt x="127" y="288"/>
                    <a:pt x="127" y="288"/>
                    <a:pt x="127" y="288"/>
                  </a:cubicBezTo>
                  <a:cubicBezTo>
                    <a:pt x="132" y="294"/>
                    <a:pt x="132" y="294"/>
                    <a:pt x="132" y="294"/>
                  </a:cubicBezTo>
                  <a:cubicBezTo>
                    <a:pt x="132" y="323"/>
                    <a:pt x="132" y="323"/>
                    <a:pt x="132" y="323"/>
                  </a:cubicBezTo>
                  <a:close/>
                  <a:moveTo>
                    <a:pt x="117" y="74"/>
                  </a:moveTo>
                  <a:cubicBezTo>
                    <a:pt x="132" y="59"/>
                    <a:pt x="132" y="59"/>
                    <a:pt x="132" y="59"/>
                  </a:cubicBezTo>
                  <a:cubicBezTo>
                    <a:pt x="132" y="181"/>
                    <a:pt x="132" y="181"/>
                    <a:pt x="132" y="181"/>
                  </a:cubicBezTo>
                  <a:cubicBezTo>
                    <a:pt x="121" y="170"/>
                    <a:pt x="121" y="170"/>
                    <a:pt x="121" y="170"/>
                  </a:cubicBezTo>
                  <a:cubicBezTo>
                    <a:pt x="117" y="174"/>
                    <a:pt x="117" y="174"/>
                    <a:pt x="117" y="174"/>
                  </a:cubicBezTo>
                  <a:cubicBezTo>
                    <a:pt x="117" y="74"/>
                    <a:pt x="117" y="74"/>
                    <a:pt x="117" y="74"/>
                  </a:cubicBezTo>
                  <a:close/>
                  <a:moveTo>
                    <a:pt x="132" y="187"/>
                  </a:moveTo>
                  <a:cubicBezTo>
                    <a:pt x="132" y="221"/>
                    <a:pt x="132" y="221"/>
                    <a:pt x="132" y="221"/>
                  </a:cubicBezTo>
                  <a:cubicBezTo>
                    <a:pt x="129" y="224"/>
                    <a:pt x="129" y="224"/>
                    <a:pt x="129" y="224"/>
                  </a:cubicBezTo>
                  <a:cubicBezTo>
                    <a:pt x="132" y="227"/>
                    <a:pt x="132" y="227"/>
                    <a:pt x="132" y="227"/>
                  </a:cubicBezTo>
                  <a:cubicBezTo>
                    <a:pt x="132" y="247"/>
                    <a:pt x="132" y="247"/>
                    <a:pt x="132" y="247"/>
                  </a:cubicBezTo>
                  <a:cubicBezTo>
                    <a:pt x="119" y="234"/>
                    <a:pt x="119" y="234"/>
                    <a:pt x="119" y="234"/>
                  </a:cubicBezTo>
                  <a:cubicBezTo>
                    <a:pt x="117" y="236"/>
                    <a:pt x="117" y="236"/>
                    <a:pt x="117" y="236"/>
                  </a:cubicBezTo>
                  <a:cubicBezTo>
                    <a:pt x="117" y="202"/>
                    <a:pt x="117" y="202"/>
                    <a:pt x="117" y="202"/>
                  </a:cubicBezTo>
                  <a:lnTo>
                    <a:pt x="132" y="187"/>
                  </a:lnTo>
                  <a:close/>
                  <a:moveTo>
                    <a:pt x="117" y="307"/>
                  </a:moveTo>
                  <a:cubicBezTo>
                    <a:pt x="101" y="290"/>
                    <a:pt x="101" y="290"/>
                    <a:pt x="101" y="290"/>
                  </a:cubicBezTo>
                  <a:cubicBezTo>
                    <a:pt x="101" y="261"/>
                    <a:pt x="101" y="261"/>
                    <a:pt x="101" y="261"/>
                  </a:cubicBezTo>
                  <a:cubicBezTo>
                    <a:pt x="110" y="270"/>
                    <a:pt x="110" y="270"/>
                    <a:pt x="110" y="270"/>
                  </a:cubicBezTo>
                  <a:cubicBezTo>
                    <a:pt x="117" y="264"/>
                    <a:pt x="117" y="264"/>
                    <a:pt x="117" y="264"/>
                  </a:cubicBezTo>
                  <a:cubicBezTo>
                    <a:pt x="117" y="307"/>
                    <a:pt x="117" y="307"/>
                    <a:pt x="117" y="307"/>
                  </a:cubicBezTo>
                  <a:close/>
                  <a:moveTo>
                    <a:pt x="101" y="88"/>
                  </a:moveTo>
                  <a:cubicBezTo>
                    <a:pt x="117" y="74"/>
                    <a:pt x="117" y="74"/>
                    <a:pt x="117" y="74"/>
                  </a:cubicBezTo>
                  <a:cubicBezTo>
                    <a:pt x="117" y="174"/>
                    <a:pt x="117" y="174"/>
                    <a:pt x="117" y="174"/>
                  </a:cubicBezTo>
                  <a:cubicBezTo>
                    <a:pt x="101" y="189"/>
                    <a:pt x="101" y="189"/>
                    <a:pt x="101" y="189"/>
                  </a:cubicBezTo>
                  <a:cubicBezTo>
                    <a:pt x="101" y="155"/>
                    <a:pt x="101" y="155"/>
                    <a:pt x="101" y="155"/>
                  </a:cubicBezTo>
                  <a:cubicBezTo>
                    <a:pt x="104" y="152"/>
                    <a:pt x="104" y="152"/>
                    <a:pt x="104" y="152"/>
                  </a:cubicBezTo>
                  <a:cubicBezTo>
                    <a:pt x="101" y="149"/>
                    <a:pt x="101" y="149"/>
                    <a:pt x="101" y="149"/>
                  </a:cubicBezTo>
                  <a:cubicBezTo>
                    <a:pt x="101" y="88"/>
                    <a:pt x="101" y="88"/>
                    <a:pt x="101" y="88"/>
                  </a:cubicBezTo>
                  <a:close/>
                  <a:moveTo>
                    <a:pt x="117" y="202"/>
                  </a:moveTo>
                  <a:cubicBezTo>
                    <a:pt x="117" y="236"/>
                    <a:pt x="117" y="236"/>
                    <a:pt x="117" y="236"/>
                  </a:cubicBezTo>
                  <a:cubicBezTo>
                    <a:pt x="101" y="251"/>
                    <a:pt x="101" y="251"/>
                    <a:pt x="101" y="251"/>
                  </a:cubicBezTo>
                  <a:cubicBezTo>
                    <a:pt x="101" y="195"/>
                    <a:pt x="101" y="195"/>
                    <a:pt x="101" y="195"/>
                  </a:cubicBezTo>
                  <a:cubicBezTo>
                    <a:pt x="112" y="206"/>
                    <a:pt x="112" y="206"/>
                    <a:pt x="112" y="206"/>
                  </a:cubicBezTo>
                  <a:lnTo>
                    <a:pt x="117" y="202"/>
                  </a:lnTo>
                  <a:close/>
                  <a:moveTo>
                    <a:pt x="101" y="290"/>
                  </a:moveTo>
                  <a:cubicBezTo>
                    <a:pt x="86" y="274"/>
                    <a:pt x="86" y="274"/>
                    <a:pt x="86" y="274"/>
                  </a:cubicBezTo>
                  <a:cubicBezTo>
                    <a:pt x="86" y="170"/>
                    <a:pt x="86" y="170"/>
                    <a:pt x="86" y="170"/>
                  </a:cubicBezTo>
                  <a:cubicBezTo>
                    <a:pt x="101" y="155"/>
                    <a:pt x="101" y="155"/>
                    <a:pt x="101" y="155"/>
                  </a:cubicBezTo>
                  <a:cubicBezTo>
                    <a:pt x="101" y="189"/>
                    <a:pt x="101" y="189"/>
                    <a:pt x="101" y="189"/>
                  </a:cubicBezTo>
                  <a:cubicBezTo>
                    <a:pt x="98" y="192"/>
                    <a:pt x="98" y="192"/>
                    <a:pt x="98" y="192"/>
                  </a:cubicBezTo>
                  <a:cubicBezTo>
                    <a:pt x="101" y="195"/>
                    <a:pt x="101" y="195"/>
                    <a:pt x="101" y="195"/>
                  </a:cubicBezTo>
                  <a:cubicBezTo>
                    <a:pt x="101" y="251"/>
                    <a:pt x="101" y="251"/>
                    <a:pt x="101" y="251"/>
                  </a:cubicBezTo>
                  <a:cubicBezTo>
                    <a:pt x="96" y="256"/>
                    <a:pt x="96" y="256"/>
                    <a:pt x="96" y="256"/>
                  </a:cubicBezTo>
                  <a:cubicBezTo>
                    <a:pt x="101" y="261"/>
                    <a:pt x="101" y="261"/>
                    <a:pt x="101" y="261"/>
                  </a:cubicBezTo>
                  <a:cubicBezTo>
                    <a:pt x="101" y="290"/>
                    <a:pt x="101" y="290"/>
                    <a:pt x="101" y="290"/>
                  </a:cubicBezTo>
                  <a:close/>
                  <a:moveTo>
                    <a:pt x="86" y="103"/>
                  </a:moveTo>
                  <a:cubicBezTo>
                    <a:pt x="93" y="96"/>
                    <a:pt x="93" y="96"/>
                    <a:pt x="93" y="96"/>
                  </a:cubicBezTo>
                  <a:cubicBezTo>
                    <a:pt x="101" y="88"/>
                    <a:pt x="101" y="88"/>
                    <a:pt x="101" y="88"/>
                  </a:cubicBezTo>
                  <a:cubicBezTo>
                    <a:pt x="101" y="149"/>
                    <a:pt x="101" y="149"/>
                    <a:pt x="101" y="149"/>
                  </a:cubicBezTo>
                  <a:cubicBezTo>
                    <a:pt x="90" y="137"/>
                    <a:pt x="90" y="137"/>
                    <a:pt x="90" y="137"/>
                  </a:cubicBezTo>
                  <a:cubicBezTo>
                    <a:pt x="86" y="142"/>
                    <a:pt x="86" y="142"/>
                    <a:pt x="86" y="142"/>
                  </a:cubicBezTo>
                  <a:lnTo>
                    <a:pt x="86" y="103"/>
                  </a:lnTo>
                  <a:close/>
                  <a:moveTo>
                    <a:pt x="86" y="274"/>
                  </a:moveTo>
                  <a:cubicBezTo>
                    <a:pt x="69" y="257"/>
                    <a:pt x="69" y="257"/>
                    <a:pt x="69" y="257"/>
                  </a:cubicBezTo>
                  <a:cubicBezTo>
                    <a:pt x="69" y="186"/>
                    <a:pt x="69" y="186"/>
                    <a:pt x="69" y="186"/>
                  </a:cubicBezTo>
                  <a:cubicBezTo>
                    <a:pt x="71" y="184"/>
                    <a:pt x="71" y="184"/>
                    <a:pt x="71" y="184"/>
                  </a:cubicBezTo>
                  <a:cubicBezTo>
                    <a:pt x="69" y="182"/>
                    <a:pt x="69" y="182"/>
                    <a:pt x="69" y="182"/>
                  </a:cubicBezTo>
                  <a:cubicBezTo>
                    <a:pt x="69" y="161"/>
                    <a:pt x="69" y="161"/>
                    <a:pt x="69" y="161"/>
                  </a:cubicBezTo>
                  <a:cubicBezTo>
                    <a:pt x="81" y="174"/>
                    <a:pt x="81" y="174"/>
                    <a:pt x="81" y="174"/>
                  </a:cubicBezTo>
                  <a:cubicBezTo>
                    <a:pt x="86" y="170"/>
                    <a:pt x="86" y="170"/>
                    <a:pt x="86" y="170"/>
                  </a:cubicBezTo>
                  <a:cubicBezTo>
                    <a:pt x="86" y="274"/>
                    <a:pt x="86" y="274"/>
                    <a:pt x="86" y="274"/>
                  </a:cubicBezTo>
                  <a:close/>
                  <a:moveTo>
                    <a:pt x="69" y="119"/>
                  </a:moveTo>
                  <a:cubicBezTo>
                    <a:pt x="86" y="103"/>
                    <a:pt x="86" y="103"/>
                    <a:pt x="86" y="103"/>
                  </a:cubicBezTo>
                  <a:cubicBezTo>
                    <a:pt x="86" y="142"/>
                    <a:pt x="86" y="142"/>
                    <a:pt x="86" y="142"/>
                  </a:cubicBezTo>
                  <a:cubicBezTo>
                    <a:pt x="69" y="157"/>
                    <a:pt x="69" y="157"/>
                    <a:pt x="69" y="157"/>
                  </a:cubicBezTo>
                  <a:lnTo>
                    <a:pt x="69" y="119"/>
                  </a:lnTo>
                  <a:close/>
                  <a:moveTo>
                    <a:pt x="69" y="257"/>
                  </a:moveTo>
                  <a:cubicBezTo>
                    <a:pt x="53" y="240"/>
                    <a:pt x="53" y="240"/>
                    <a:pt x="53" y="240"/>
                  </a:cubicBezTo>
                  <a:cubicBezTo>
                    <a:pt x="53" y="201"/>
                    <a:pt x="53" y="201"/>
                    <a:pt x="53" y="201"/>
                  </a:cubicBezTo>
                  <a:cubicBezTo>
                    <a:pt x="69" y="186"/>
                    <a:pt x="69" y="186"/>
                    <a:pt x="69" y="186"/>
                  </a:cubicBezTo>
                  <a:cubicBezTo>
                    <a:pt x="69" y="257"/>
                    <a:pt x="69" y="257"/>
                    <a:pt x="69" y="257"/>
                  </a:cubicBezTo>
                  <a:close/>
                  <a:moveTo>
                    <a:pt x="53" y="135"/>
                  </a:moveTo>
                  <a:cubicBezTo>
                    <a:pt x="69" y="119"/>
                    <a:pt x="69" y="119"/>
                    <a:pt x="69" y="119"/>
                  </a:cubicBezTo>
                  <a:cubicBezTo>
                    <a:pt x="69" y="157"/>
                    <a:pt x="69" y="157"/>
                    <a:pt x="69" y="157"/>
                  </a:cubicBezTo>
                  <a:cubicBezTo>
                    <a:pt x="67" y="159"/>
                    <a:pt x="67" y="159"/>
                    <a:pt x="67" y="159"/>
                  </a:cubicBezTo>
                  <a:cubicBezTo>
                    <a:pt x="69" y="161"/>
                    <a:pt x="69" y="161"/>
                    <a:pt x="69" y="161"/>
                  </a:cubicBezTo>
                  <a:cubicBezTo>
                    <a:pt x="69" y="182"/>
                    <a:pt x="69" y="182"/>
                    <a:pt x="69" y="182"/>
                  </a:cubicBezTo>
                  <a:cubicBezTo>
                    <a:pt x="57" y="169"/>
                    <a:pt x="57" y="169"/>
                    <a:pt x="57" y="169"/>
                  </a:cubicBezTo>
                  <a:cubicBezTo>
                    <a:pt x="53" y="173"/>
                    <a:pt x="53" y="173"/>
                    <a:pt x="53" y="173"/>
                  </a:cubicBezTo>
                  <a:lnTo>
                    <a:pt x="53" y="135"/>
                  </a:lnTo>
                  <a:close/>
                  <a:moveTo>
                    <a:pt x="53" y="240"/>
                  </a:moveTo>
                  <a:cubicBezTo>
                    <a:pt x="0" y="185"/>
                    <a:pt x="0" y="185"/>
                    <a:pt x="0" y="185"/>
                  </a:cubicBezTo>
                  <a:cubicBezTo>
                    <a:pt x="53" y="135"/>
                    <a:pt x="53" y="135"/>
                    <a:pt x="53" y="135"/>
                  </a:cubicBezTo>
                  <a:cubicBezTo>
                    <a:pt x="53" y="173"/>
                    <a:pt x="53" y="173"/>
                    <a:pt x="53" y="173"/>
                  </a:cubicBezTo>
                  <a:cubicBezTo>
                    <a:pt x="34" y="191"/>
                    <a:pt x="34" y="191"/>
                    <a:pt x="34" y="191"/>
                  </a:cubicBezTo>
                  <a:cubicBezTo>
                    <a:pt x="39" y="196"/>
                    <a:pt x="44" y="201"/>
                    <a:pt x="48" y="206"/>
                  </a:cubicBezTo>
                  <a:cubicBezTo>
                    <a:pt x="53" y="201"/>
                    <a:pt x="53" y="201"/>
                    <a:pt x="53" y="201"/>
                  </a:cubicBezTo>
                  <a:lnTo>
                    <a:pt x="53" y="24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ïṩliďè">
              <a:extLst>
                <a:ext uri="{FF2B5EF4-FFF2-40B4-BE49-F238E27FC236}">
                  <a16:creationId xmlns:a16="http://schemas.microsoft.com/office/drawing/2014/main" id="{6252BD86-A9B0-4D76-A50B-E133FFCBA066}"/>
                </a:ext>
              </a:extLst>
            </p:cNvPr>
            <p:cNvSpPr/>
            <p:nvPr/>
          </p:nvSpPr>
          <p:spPr bwMode="auto">
            <a:xfrm flipH="1">
              <a:off x="1676277" y="3034973"/>
              <a:ext cx="625279" cy="530990"/>
            </a:xfrm>
            <a:custGeom>
              <a:avLst/>
              <a:gdLst>
                <a:gd name="T0" fmla="*/ 305 w 374"/>
                <a:gd name="T1" fmla="*/ 174 h 325"/>
                <a:gd name="T2" fmla="*/ 331 w 374"/>
                <a:gd name="T3" fmla="*/ 121 h 325"/>
                <a:gd name="T4" fmla="*/ 307 w 374"/>
                <a:gd name="T5" fmla="*/ 81 h 325"/>
                <a:gd name="T6" fmla="*/ 296 w 374"/>
                <a:gd name="T7" fmla="*/ 27 h 325"/>
                <a:gd name="T8" fmla="*/ 263 w 374"/>
                <a:gd name="T9" fmla="*/ 71 h 325"/>
                <a:gd name="T10" fmla="*/ 263 w 374"/>
                <a:gd name="T11" fmla="*/ 11 h 325"/>
                <a:gd name="T12" fmla="*/ 267 w 374"/>
                <a:gd name="T13" fmla="*/ 180 h 325"/>
                <a:gd name="T14" fmla="*/ 296 w 374"/>
                <a:gd name="T15" fmla="*/ 105 h 325"/>
                <a:gd name="T16" fmla="*/ 268 w 374"/>
                <a:gd name="T17" fmla="*/ 85 h 325"/>
                <a:gd name="T18" fmla="*/ 263 w 374"/>
                <a:gd name="T19" fmla="*/ 125 h 325"/>
                <a:gd name="T20" fmla="*/ 237 w 374"/>
                <a:gd name="T21" fmla="*/ 215 h 325"/>
                <a:gd name="T22" fmla="*/ 245 w 374"/>
                <a:gd name="T23" fmla="*/ 173 h 325"/>
                <a:gd name="T24" fmla="*/ 263 w 374"/>
                <a:gd name="T25" fmla="*/ 125 h 325"/>
                <a:gd name="T26" fmla="*/ 244 w 374"/>
                <a:gd name="T27" fmla="*/ 45 h 325"/>
                <a:gd name="T28" fmla="*/ 263 w 374"/>
                <a:gd name="T29" fmla="*/ 76 h 325"/>
                <a:gd name="T30" fmla="*/ 248 w 374"/>
                <a:gd name="T31" fmla="*/ 80 h 325"/>
                <a:gd name="T32" fmla="*/ 210 w 374"/>
                <a:gd name="T33" fmla="*/ 255 h 325"/>
                <a:gd name="T34" fmla="*/ 210 w 374"/>
                <a:gd name="T35" fmla="*/ 183 h 325"/>
                <a:gd name="T36" fmla="*/ 232 w 374"/>
                <a:gd name="T37" fmla="*/ 218 h 325"/>
                <a:gd name="T38" fmla="*/ 237 w 374"/>
                <a:gd name="T39" fmla="*/ 87 h 325"/>
                <a:gd name="T40" fmla="*/ 234 w 374"/>
                <a:gd name="T41" fmla="*/ 125 h 325"/>
                <a:gd name="T42" fmla="*/ 229 w 374"/>
                <a:gd name="T43" fmla="*/ 146 h 325"/>
                <a:gd name="T44" fmla="*/ 210 w 374"/>
                <a:gd name="T45" fmla="*/ 115 h 325"/>
                <a:gd name="T46" fmla="*/ 210 w 374"/>
                <a:gd name="T47" fmla="*/ 231 h 325"/>
                <a:gd name="T48" fmla="*/ 205 w 374"/>
                <a:gd name="T49" fmla="*/ 106 h 325"/>
                <a:gd name="T50" fmla="*/ 192 w 374"/>
                <a:gd name="T51" fmla="*/ 54 h 325"/>
                <a:gd name="T52" fmla="*/ 210 w 374"/>
                <a:gd name="T53" fmla="*/ 120 h 325"/>
                <a:gd name="T54" fmla="*/ 210 w 374"/>
                <a:gd name="T55" fmla="*/ 215 h 325"/>
                <a:gd name="T56" fmla="*/ 192 w 374"/>
                <a:gd name="T57" fmla="*/ 189 h 325"/>
                <a:gd name="T58" fmla="*/ 177 w 374"/>
                <a:gd name="T59" fmla="*/ 275 h 325"/>
                <a:gd name="T60" fmla="*/ 188 w 374"/>
                <a:gd name="T61" fmla="*/ 244 h 325"/>
                <a:gd name="T62" fmla="*/ 192 w 374"/>
                <a:gd name="T63" fmla="*/ 84 h 325"/>
                <a:gd name="T64" fmla="*/ 192 w 374"/>
                <a:gd name="T65" fmla="*/ 114 h 325"/>
                <a:gd name="T66" fmla="*/ 192 w 374"/>
                <a:gd name="T67" fmla="*/ 151 h 325"/>
                <a:gd name="T68" fmla="*/ 177 w 374"/>
                <a:gd name="T69" fmla="*/ 177 h 325"/>
                <a:gd name="T70" fmla="*/ 182 w 374"/>
                <a:gd name="T71" fmla="*/ 137 h 325"/>
                <a:gd name="T72" fmla="*/ 132 w 374"/>
                <a:gd name="T73" fmla="*/ 278 h 325"/>
                <a:gd name="T74" fmla="*/ 159 w 374"/>
                <a:gd name="T75" fmla="*/ 225 h 325"/>
                <a:gd name="T76" fmla="*/ 135 w 374"/>
                <a:gd name="T77" fmla="*/ 185 h 325"/>
                <a:gd name="T78" fmla="*/ 177 w 374"/>
                <a:gd name="T79" fmla="*/ 86 h 325"/>
                <a:gd name="T80" fmla="*/ 175 w 374"/>
                <a:gd name="T81" fmla="*/ 124 h 325"/>
                <a:gd name="T82" fmla="*/ 177 w 374"/>
                <a:gd name="T83" fmla="*/ 177 h 325"/>
                <a:gd name="T84" fmla="*/ 177 w 374"/>
                <a:gd name="T85" fmla="*/ 275 h 325"/>
                <a:gd name="T86" fmla="*/ 124 w 374"/>
                <a:gd name="T87" fmla="*/ 307 h 325"/>
                <a:gd name="T88" fmla="*/ 105 w 374"/>
                <a:gd name="T89" fmla="*/ 146 h 325"/>
                <a:gd name="T90" fmla="*/ 124 w 374"/>
                <a:gd name="T91" fmla="*/ 230 h 325"/>
                <a:gd name="T92" fmla="*/ 105 w 374"/>
                <a:gd name="T93" fmla="*/ 257 h 325"/>
                <a:gd name="T94" fmla="*/ 112 w 374"/>
                <a:gd name="T95" fmla="*/ 216 h 325"/>
                <a:gd name="T96" fmla="*/ 91 w 374"/>
                <a:gd name="T97" fmla="*/ 266 h 325"/>
                <a:gd name="T98" fmla="*/ 105 w 374"/>
                <a:gd name="T99" fmla="*/ 294 h 325"/>
                <a:gd name="T100" fmla="*/ 102 w 374"/>
                <a:gd name="T101" fmla="*/ 131 h 325"/>
                <a:gd name="T102" fmla="*/ 105 w 374"/>
                <a:gd name="T103" fmla="*/ 204 h 325"/>
                <a:gd name="T104" fmla="*/ 99 w 374"/>
                <a:gd name="T105" fmla="*/ 224 h 325"/>
                <a:gd name="T106" fmla="*/ 91 w 374"/>
                <a:gd name="T107" fmla="*/ 320 h 325"/>
                <a:gd name="T108" fmla="*/ 48 w 374"/>
                <a:gd name="T109" fmla="*/ 164 h 325"/>
                <a:gd name="T110" fmla="*/ 80 w 374"/>
                <a:gd name="T111" fmla="*/ 161 h 325"/>
                <a:gd name="T112" fmla="*/ 91 w 374"/>
                <a:gd name="T113" fmla="*/ 229 h 325"/>
                <a:gd name="T114" fmla="*/ 91 w 374"/>
                <a:gd name="T115" fmla="*/ 320 h 325"/>
                <a:gd name="T116" fmla="*/ 29 w 374"/>
                <a:gd name="T117" fmla="*/ 1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4" h="325">
                  <a:moveTo>
                    <a:pt x="296" y="27"/>
                  </a:moveTo>
                  <a:cubicBezTo>
                    <a:pt x="374" y="156"/>
                    <a:pt x="374" y="156"/>
                    <a:pt x="374" y="156"/>
                  </a:cubicBezTo>
                  <a:cubicBezTo>
                    <a:pt x="296" y="203"/>
                    <a:pt x="296" y="203"/>
                    <a:pt x="296" y="203"/>
                  </a:cubicBezTo>
                  <a:cubicBezTo>
                    <a:pt x="296" y="179"/>
                    <a:pt x="296" y="179"/>
                    <a:pt x="296" y="179"/>
                  </a:cubicBezTo>
                  <a:cubicBezTo>
                    <a:pt x="305" y="174"/>
                    <a:pt x="305" y="174"/>
                    <a:pt x="305" y="174"/>
                  </a:cubicBezTo>
                  <a:cubicBezTo>
                    <a:pt x="302" y="170"/>
                    <a:pt x="300" y="166"/>
                    <a:pt x="297" y="162"/>
                  </a:cubicBezTo>
                  <a:cubicBezTo>
                    <a:pt x="296" y="163"/>
                    <a:pt x="296" y="163"/>
                    <a:pt x="296" y="163"/>
                  </a:cubicBezTo>
                  <a:cubicBezTo>
                    <a:pt x="296" y="131"/>
                    <a:pt x="296" y="131"/>
                    <a:pt x="296" y="131"/>
                  </a:cubicBezTo>
                  <a:cubicBezTo>
                    <a:pt x="301" y="139"/>
                    <a:pt x="301" y="139"/>
                    <a:pt x="301" y="139"/>
                  </a:cubicBezTo>
                  <a:cubicBezTo>
                    <a:pt x="311" y="133"/>
                    <a:pt x="321" y="127"/>
                    <a:pt x="331" y="121"/>
                  </a:cubicBezTo>
                  <a:cubicBezTo>
                    <a:pt x="329" y="117"/>
                    <a:pt x="326" y="113"/>
                    <a:pt x="324" y="109"/>
                  </a:cubicBezTo>
                  <a:cubicBezTo>
                    <a:pt x="296" y="126"/>
                    <a:pt x="296" y="126"/>
                    <a:pt x="296" y="126"/>
                  </a:cubicBezTo>
                  <a:cubicBezTo>
                    <a:pt x="296" y="105"/>
                    <a:pt x="296" y="105"/>
                    <a:pt x="296" y="105"/>
                  </a:cubicBezTo>
                  <a:cubicBezTo>
                    <a:pt x="315" y="94"/>
                    <a:pt x="315" y="94"/>
                    <a:pt x="315" y="94"/>
                  </a:cubicBezTo>
                  <a:cubicBezTo>
                    <a:pt x="312" y="89"/>
                    <a:pt x="310" y="85"/>
                    <a:pt x="307" y="81"/>
                  </a:cubicBezTo>
                  <a:cubicBezTo>
                    <a:pt x="296" y="88"/>
                    <a:pt x="296" y="88"/>
                    <a:pt x="296" y="88"/>
                  </a:cubicBezTo>
                  <a:cubicBezTo>
                    <a:pt x="296" y="68"/>
                    <a:pt x="296" y="68"/>
                    <a:pt x="296" y="68"/>
                  </a:cubicBezTo>
                  <a:cubicBezTo>
                    <a:pt x="298" y="67"/>
                    <a:pt x="298" y="67"/>
                    <a:pt x="298" y="67"/>
                  </a:cubicBezTo>
                  <a:cubicBezTo>
                    <a:pt x="296" y="63"/>
                    <a:pt x="296" y="63"/>
                    <a:pt x="296" y="63"/>
                  </a:cubicBezTo>
                  <a:lnTo>
                    <a:pt x="296" y="27"/>
                  </a:lnTo>
                  <a:close/>
                  <a:moveTo>
                    <a:pt x="280" y="0"/>
                  </a:moveTo>
                  <a:cubicBezTo>
                    <a:pt x="296" y="27"/>
                    <a:pt x="296" y="27"/>
                    <a:pt x="296" y="27"/>
                  </a:cubicBezTo>
                  <a:cubicBezTo>
                    <a:pt x="296" y="63"/>
                    <a:pt x="296" y="63"/>
                    <a:pt x="296" y="63"/>
                  </a:cubicBezTo>
                  <a:cubicBezTo>
                    <a:pt x="291" y="54"/>
                    <a:pt x="291" y="54"/>
                    <a:pt x="291" y="54"/>
                  </a:cubicBezTo>
                  <a:cubicBezTo>
                    <a:pt x="263" y="71"/>
                    <a:pt x="263" y="71"/>
                    <a:pt x="263" y="71"/>
                  </a:cubicBezTo>
                  <a:cubicBezTo>
                    <a:pt x="263" y="50"/>
                    <a:pt x="263" y="50"/>
                    <a:pt x="263" y="50"/>
                  </a:cubicBezTo>
                  <a:cubicBezTo>
                    <a:pt x="282" y="39"/>
                    <a:pt x="282" y="39"/>
                    <a:pt x="282" y="39"/>
                  </a:cubicBezTo>
                  <a:cubicBezTo>
                    <a:pt x="279" y="35"/>
                    <a:pt x="277" y="31"/>
                    <a:pt x="274" y="27"/>
                  </a:cubicBezTo>
                  <a:cubicBezTo>
                    <a:pt x="263" y="34"/>
                    <a:pt x="263" y="34"/>
                    <a:pt x="263" y="34"/>
                  </a:cubicBezTo>
                  <a:cubicBezTo>
                    <a:pt x="263" y="11"/>
                    <a:pt x="263" y="11"/>
                    <a:pt x="263" y="11"/>
                  </a:cubicBezTo>
                  <a:cubicBezTo>
                    <a:pt x="280" y="0"/>
                    <a:pt x="280" y="0"/>
                    <a:pt x="280" y="0"/>
                  </a:cubicBezTo>
                  <a:close/>
                  <a:moveTo>
                    <a:pt x="296" y="203"/>
                  </a:moveTo>
                  <a:cubicBezTo>
                    <a:pt x="296" y="179"/>
                    <a:pt x="296" y="179"/>
                    <a:pt x="296" y="179"/>
                  </a:cubicBezTo>
                  <a:cubicBezTo>
                    <a:pt x="275" y="192"/>
                    <a:pt x="275" y="192"/>
                    <a:pt x="275" y="192"/>
                  </a:cubicBezTo>
                  <a:cubicBezTo>
                    <a:pt x="272" y="188"/>
                    <a:pt x="270" y="184"/>
                    <a:pt x="267" y="180"/>
                  </a:cubicBezTo>
                  <a:cubicBezTo>
                    <a:pt x="296" y="163"/>
                    <a:pt x="296" y="163"/>
                    <a:pt x="296" y="163"/>
                  </a:cubicBezTo>
                  <a:cubicBezTo>
                    <a:pt x="296" y="131"/>
                    <a:pt x="296" y="131"/>
                    <a:pt x="296" y="131"/>
                  </a:cubicBezTo>
                  <a:cubicBezTo>
                    <a:pt x="294" y="127"/>
                    <a:pt x="294" y="127"/>
                    <a:pt x="294" y="127"/>
                  </a:cubicBezTo>
                  <a:cubicBezTo>
                    <a:pt x="296" y="126"/>
                    <a:pt x="296" y="126"/>
                    <a:pt x="296" y="126"/>
                  </a:cubicBezTo>
                  <a:cubicBezTo>
                    <a:pt x="296" y="105"/>
                    <a:pt x="296" y="105"/>
                    <a:pt x="296" y="105"/>
                  </a:cubicBezTo>
                  <a:cubicBezTo>
                    <a:pt x="285" y="112"/>
                    <a:pt x="285" y="112"/>
                    <a:pt x="285" y="112"/>
                  </a:cubicBezTo>
                  <a:cubicBezTo>
                    <a:pt x="282" y="108"/>
                    <a:pt x="280" y="104"/>
                    <a:pt x="277" y="99"/>
                  </a:cubicBezTo>
                  <a:cubicBezTo>
                    <a:pt x="296" y="88"/>
                    <a:pt x="296" y="88"/>
                    <a:pt x="296" y="88"/>
                  </a:cubicBezTo>
                  <a:cubicBezTo>
                    <a:pt x="296" y="68"/>
                    <a:pt x="296" y="68"/>
                    <a:pt x="296" y="68"/>
                  </a:cubicBezTo>
                  <a:cubicBezTo>
                    <a:pt x="268" y="85"/>
                    <a:pt x="268" y="85"/>
                    <a:pt x="268" y="85"/>
                  </a:cubicBezTo>
                  <a:cubicBezTo>
                    <a:pt x="263" y="76"/>
                    <a:pt x="263" y="76"/>
                    <a:pt x="263" y="76"/>
                  </a:cubicBezTo>
                  <a:cubicBezTo>
                    <a:pt x="263" y="108"/>
                    <a:pt x="263" y="108"/>
                    <a:pt x="263" y="108"/>
                  </a:cubicBezTo>
                  <a:cubicBezTo>
                    <a:pt x="264" y="107"/>
                    <a:pt x="264" y="107"/>
                    <a:pt x="264" y="107"/>
                  </a:cubicBezTo>
                  <a:cubicBezTo>
                    <a:pt x="267" y="111"/>
                    <a:pt x="269" y="115"/>
                    <a:pt x="272" y="120"/>
                  </a:cubicBezTo>
                  <a:cubicBezTo>
                    <a:pt x="263" y="125"/>
                    <a:pt x="263" y="125"/>
                    <a:pt x="263" y="125"/>
                  </a:cubicBezTo>
                  <a:cubicBezTo>
                    <a:pt x="263" y="223"/>
                    <a:pt x="263" y="223"/>
                    <a:pt x="263" y="223"/>
                  </a:cubicBezTo>
                  <a:lnTo>
                    <a:pt x="296" y="203"/>
                  </a:lnTo>
                  <a:close/>
                  <a:moveTo>
                    <a:pt x="263" y="223"/>
                  </a:moveTo>
                  <a:cubicBezTo>
                    <a:pt x="237" y="239"/>
                    <a:pt x="237" y="239"/>
                    <a:pt x="237" y="239"/>
                  </a:cubicBezTo>
                  <a:cubicBezTo>
                    <a:pt x="237" y="215"/>
                    <a:pt x="237" y="215"/>
                    <a:pt x="237" y="215"/>
                  </a:cubicBezTo>
                  <a:cubicBezTo>
                    <a:pt x="262" y="200"/>
                    <a:pt x="262" y="200"/>
                    <a:pt x="262" y="200"/>
                  </a:cubicBezTo>
                  <a:cubicBezTo>
                    <a:pt x="259" y="196"/>
                    <a:pt x="257" y="192"/>
                    <a:pt x="254" y="188"/>
                  </a:cubicBezTo>
                  <a:cubicBezTo>
                    <a:pt x="237" y="198"/>
                    <a:pt x="237" y="198"/>
                    <a:pt x="237" y="198"/>
                  </a:cubicBezTo>
                  <a:cubicBezTo>
                    <a:pt x="237" y="178"/>
                    <a:pt x="237" y="178"/>
                    <a:pt x="237" y="178"/>
                  </a:cubicBezTo>
                  <a:cubicBezTo>
                    <a:pt x="245" y="173"/>
                    <a:pt x="245" y="173"/>
                    <a:pt x="245" y="173"/>
                  </a:cubicBezTo>
                  <a:cubicBezTo>
                    <a:pt x="243" y="169"/>
                    <a:pt x="240" y="165"/>
                    <a:pt x="238" y="161"/>
                  </a:cubicBezTo>
                  <a:cubicBezTo>
                    <a:pt x="237" y="161"/>
                    <a:pt x="237" y="161"/>
                    <a:pt x="237" y="161"/>
                  </a:cubicBezTo>
                  <a:cubicBezTo>
                    <a:pt x="237" y="129"/>
                    <a:pt x="237" y="129"/>
                    <a:pt x="237" y="129"/>
                  </a:cubicBezTo>
                  <a:cubicBezTo>
                    <a:pt x="242" y="138"/>
                    <a:pt x="242" y="138"/>
                    <a:pt x="242" y="138"/>
                  </a:cubicBezTo>
                  <a:cubicBezTo>
                    <a:pt x="263" y="125"/>
                    <a:pt x="263" y="125"/>
                    <a:pt x="263" y="125"/>
                  </a:cubicBezTo>
                  <a:cubicBezTo>
                    <a:pt x="263" y="223"/>
                    <a:pt x="263" y="223"/>
                    <a:pt x="263" y="223"/>
                  </a:cubicBezTo>
                  <a:close/>
                  <a:moveTo>
                    <a:pt x="237" y="27"/>
                  </a:moveTo>
                  <a:cubicBezTo>
                    <a:pt x="263" y="11"/>
                    <a:pt x="263" y="11"/>
                    <a:pt x="263" y="11"/>
                  </a:cubicBezTo>
                  <a:cubicBezTo>
                    <a:pt x="263" y="34"/>
                    <a:pt x="263" y="34"/>
                    <a:pt x="263" y="34"/>
                  </a:cubicBezTo>
                  <a:cubicBezTo>
                    <a:pt x="244" y="45"/>
                    <a:pt x="244" y="45"/>
                    <a:pt x="244" y="45"/>
                  </a:cubicBezTo>
                  <a:cubicBezTo>
                    <a:pt x="247" y="49"/>
                    <a:pt x="249" y="53"/>
                    <a:pt x="252" y="57"/>
                  </a:cubicBezTo>
                  <a:cubicBezTo>
                    <a:pt x="263" y="50"/>
                    <a:pt x="263" y="50"/>
                    <a:pt x="263" y="50"/>
                  </a:cubicBezTo>
                  <a:cubicBezTo>
                    <a:pt x="263" y="71"/>
                    <a:pt x="263" y="71"/>
                    <a:pt x="263" y="71"/>
                  </a:cubicBezTo>
                  <a:cubicBezTo>
                    <a:pt x="261" y="72"/>
                    <a:pt x="261" y="72"/>
                    <a:pt x="261" y="72"/>
                  </a:cubicBezTo>
                  <a:cubicBezTo>
                    <a:pt x="263" y="76"/>
                    <a:pt x="263" y="76"/>
                    <a:pt x="263" y="76"/>
                  </a:cubicBezTo>
                  <a:cubicBezTo>
                    <a:pt x="263" y="108"/>
                    <a:pt x="263" y="108"/>
                    <a:pt x="263" y="108"/>
                  </a:cubicBezTo>
                  <a:cubicBezTo>
                    <a:pt x="237" y="124"/>
                    <a:pt x="237" y="124"/>
                    <a:pt x="237" y="124"/>
                  </a:cubicBezTo>
                  <a:cubicBezTo>
                    <a:pt x="237" y="104"/>
                    <a:pt x="237" y="104"/>
                    <a:pt x="237" y="104"/>
                  </a:cubicBezTo>
                  <a:cubicBezTo>
                    <a:pt x="255" y="93"/>
                    <a:pt x="255" y="93"/>
                    <a:pt x="255" y="93"/>
                  </a:cubicBezTo>
                  <a:cubicBezTo>
                    <a:pt x="253" y="88"/>
                    <a:pt x="250" y="84"/>
                    <a:pt x="248" y="80"/>
                  </a:cubicBezTo>
                  <a:cubicBezTo>
                    <a:pt x="237" y="87"/>
                    <a:pt x="237" y="87"/>
                    <a:pt x="237" y="87"/>
                  </a:cubicBezTo>
                  <a:lnTo>
                    <a:pt x="237" y="27"/>
                  </a:lnTo>
                  <a:close/>
                  <a:moveTo>
                    <a:pt x="237" y="239"/>
                  </a:moveTo>
                  <a:cubicBezTo>
                    <a:pt x="234" y="240"/>
                    <a:pt x="234" y="240"/>
                    <a:pt x="234" y="240"/>
                  </a:cubicBezTo>
                  <a:cubicBezTo>
                    <a:pt x="210" y="255"/>
                    <a:pt x="210" y="255"/>
                    <a:pt x="210" y="255"/>
                  </a:cubicBezTo>
                  <a:cubicBezTo>
                    <a:pt x="210" y="231"/>
                    <a:pt x="210" y="231"/>
                    <a:pt x="210" y="231"/>
                  </a:cubicBezTo>
                  <a:cubicBezTo>
                    <a:pt x="218" y="226"/>
                    <a:pt x="218" y="226"/>
                    <a:pt x="218" y="226"/>
                  </a:cubicBezTo>
                  <a:cubicBezTo>
                    <a:pt x="216" y="222"/>
                    <a:pt x="213" y="218"/>
                    <a:pt x="211" y="214"/>
                  </a:cubicBezTo>
                  <a:cubicBezTo>
                    <a:pt x="210" y="215"/>
                    <a:pt x="210" y="215"/>
                    <a:pt x="210" y="215"/>
                  </a:cubicBezTo>
                  <a:cubicBezTo>
                    <a:pt x="210" y="183"/>
                    <a:pt x="210" y="183"/>
                    <a:pt x="210" y="183"/>
                  </a:cubicBezTo>
                  <a:cubicBezTo>
                    <a:pt x="215" y="191"/>
                    <a:pt x="215" y="191"/>
                    <a:pt x="215" y="191"/>
                  </a:cubicBezTo>
                  <a:cubicBezTo>
                    <a:pt x="237" y="178"/>
                    <a:pt x="237" y="178"/>
                    <a:pt x="237" y="178"/>
                  </a:cubicBezTo>
                  <a:cubicBezTo>
                    <a:pt x="237" y="198"/>
                    <a:pt x="237" y="198"/>
                    <a:pt x="237" y="198"/>
                  </a:cubicBezTo>
                  <a:cubicBezTo>
                    <a:pt x="224" y="206"/>
                    <a:pt x="224" y="206"/>
                    <a:pt x="224" y="206"/>
                  </a:cubicBezTo>
                  <a:cubicBezTo>
                    <a:pt x="226" y="210"/>
                    <a:pt x="229" y="214"/>
                    <a:pt x="232" y="218"/>
                  </a:cubicBezTo>
                  <a:cubicBezTo>
                    <a:pt x="237" y="215"/>
                    <a:pt x="237" y="215"/>
                    <a:pt x="237" y="215"/>
                  </a:cubicBezTo>
                  <a:cubicBezTo>
                    <a:pt x="237" y="239"/>
                    <a:pt x="237" y="239"/>
                    <a:pt x="237" y="239"/>
                  </a:cubicBezTo>
                  <a:close/>
                  <a:moveTo>
                    <a:pt x="210" y="43"/>
                  </a:moveTo>
                  <a:cubicBezTo>
                    <a:pt x="237" y="27"/>
                    <a:pt x="237" y="27"/>
                    <a:pt x="237" y="27"/>
                  </a:cubicBezTo>
                  <a:cubicBezTo>
                    <a:pt x="237" y="87"/>
                    <a:pt x="237" y="87"/>
                    <a:pt x="237" y="87"/>
                  </a:cubicBezTo>
                  <a:cubicBezTo>
                    <a:pt x="218" y="98"/>
                    <a:pt x="218" y="98"/>
                    <a:pt x="218" y="98"/>
                  </a:cubicBezTo>
                  <a:cubicBezTo>
                    <a:pt x="220" y="102"/>
                    <a:pt x="223" y="106"/>
                    <a:pt x="225" y="111"/>
                  </a:cubicBezTo>
                  <a:cubicBezTo>
                    <a:pt x="237" y="104"/>
                    <a:pt x="237" y="104"/>
                    <a:pt x="237" y="104"/>
                  </a:cubicBezTo>
                  <a:cubicBezTo>
                    <a:pt x="237" y="124"/>
                    <a:pt x="237" y="124"/>
                    <a:pt x="237" y="124"/>
                  </a:cubicBezTo>
                  <a:cubicBezTo>
                    <a:pt x="234" y="125"/>
                    <a:pt x="234" y="125"/>
                    <a:pt x="234" y="125"/>
                  </a:cubicBezTo>
                  <a:cubicBezTo>
                    <a:pt x="237" y="129"/>
                    <a:pt x="237" y="129"/>
                    <a:pt x="237" y="129"/>
                  </a:cubicBezTo>
                  <a:cubicBezTo>
                    <a:pt x="237" y="161"/>
                    <a:pt x="237" y="161"/>
                    <a:pt x="237" y="161"/>
                  </a:cubicBezTo>
                  <a:cubicBezTo>
                    <a:pt x="210" y="178"/>
                    <a:pt x="210" y="178"/>
                    <a:pt x="210" y="178"/>
                  </a:cubicBezTo>
                  <a:cubicBezTo>
                    <a:pt x="210" y="157"/>
                    <a:pt x="210" y="157"/>
                    <a:pt x="210" y="157"/>
                  </a:cubicBezTo>
                  <a:cubicBezTo>
                    <a:pt x="229" y="146"/>
                    <a:pt x="229" y="146"/>
                    <a:pt x="229" y="146"/>
                  </a:cubicBezTo>
                  <a:cubicBezTo>
                    <a:pt x="226" y="141"/>
                    <a:pt x="224" y="137"/>
                    <a:pt x="221" y="133"/>
                  </a:cubicBezTo>
                  <a:cubicBezTo>
                    <a:pt x="210" y="140"/>
                    <a:pt x="210" y="140"/>
                    <a:pt x="210" y="140"/>
                  </a:cubicBezTo>
                  <a:cubicBezTo>
                    <a:pt x="210" y="120"/>
                    <a:pt x="210" y="120"/>
                    <a:pt x="210" y="120"/>
                  </a:cubicBezTo>
                  <a:cubicBezTo>
                    <a:pt x="212" y="119"/>
                    <a:pt x="212" y="119"/>
                    <a:pt x="212" y="119"/>
                  </a:cubicBezTo>
                  <a:cubicBezTo>
                    <a:pt x="210" y="115"/>
                    <a:pt x="210" y="115"/>
                    <a:pt x="210" y="115"/>
                  </a:cubicBezTo>
                  <a:lnTo>
                    <a:pt x="210" y="43"/>
                  </a:lnTo>
                  <a:close/>
                  <a:moveTo>
                    <a:pt x="210" y="255"/>
                  </a:moveTo>
                  <a:cubicBezTo>
                    <a:pt x="192" y="266"/>
                    <a:pt x="192" y="266"/>
                    <a:pt x="192" y="266"/>
                  </a:cubicBezTo>
                  <a:cubicBezTo>
                    <a:pt x="192" y="242"/>
                    <a:pt x="192" y="242"/>
                    <a:pt x="192" y="242"/>
                  </a:cubicBezTo>
                  <a:cubicBezTo>
                    <a:pt x="210" y="231"/>
                    <a:pt x="210" y="231"/>
                    <a:pt x="210" y="231"/>
                  </a:cubicBezTo>
                  <a:cubicBezTo>
                    <a:pt x="210" y="255"/>
                    <a:pt x="210" y="255"/>
                    <a:pt x="210" y="255"/>
                  </a:cubicBezTo>
                  <a:close/>
                  <a:moveTo>
                    <a:pt x="192" y="54"/>
                  </a:moveTo>
                  <a:cubicBezTo>
                    <a:pt x="210" y="43"/>
                    <a:pt x="210" y="43"/>
                    <a:pt x="210" y="43"/>
                  </a:cubicBezTo>
                  <a:cubicBezTo>
                    <a:pt x="210" y="115"/>
                    <a:pt x="210" y="115"/>
                    <a:pt x="210" y="115"/>
                  </a:cubicBezTo>
                  <a:cubicBezTo>
                    <a:pt x="205" y="106"/>
                    <a:pt x="205" y="106"/>
                    <a:pt x="205" y="106"/>
                  </a:cubicBezTo>
                  <a:cubicBezTo>
                    <a:pt x="192" y="114"/>
                    <a:pt x="192" y="114"/>
                    <a:pt x="192" y="114"/>
                  </a:cubicBezTo>
                  <a:cubicBezTo>
                    <a:pt x="192" y="94"/>
                    <a:pt x="192" y="94"/>
                    <a:pt x="192" y="94"/>
                  </a:cubicBezTo>
                  <a:cubicBezTo>
                    <a:pt x="196" y="91"/>
                    <a:pt x="196" y="91"/>
                    <a:pt x="196" y="91"/>
                  </a:cubicBezTo>
                  <a:cubicBezTo>
                    <a:pt x="192" y="84"/>
                    <a:pt x="192" y="84"/>
                    <a:pt x="192" y="84"/>
                  </a:cubicBezTo>
                  <a:cubicBezTo>
                    <a:pt x="192" y="54"/>
                    <a:pt x="192" y="54"/>
                    <a:pt x="192" y="54"/>
                  </a:cubicBezTo>
                  <a:close/>
                  <a:moveTo>
                    <a:pt x="210" y="120"/>
                  </a:moveTo>
                  <a:cubicBezTo>
                    <a:pt x="210" y="140"/>
                    <a:pt x="210" y="140"/>
                    <a:pt x="210" y="140"/>
                  </a:cubicBezTo>
                  <a:cubicBezTo>
                    <a:pt x="192" y="151"/>
                    <a:pt x="192" y="151"/>
                    <a:pt x="192" y="151"/>
                  </a:cubicBezTo>
                  <a:cubicBezTo>
                    <a:pt x="192" y="131"/>
                    <a:pt x="192" y="131"/>
                    <a:pt x="192" y="131"/>
                  </a:cubicBezTo>
                  <a:cubicBezTo>
                    <a:pt x="210" y="120"/>
                    <a:pt x="210" y="120"/>
                    <a:pt x="210" y="120"/>
                  </a:cubicBezTo>
                  <a:close/>
                  <a:moveTo>
                    <a:pt x="210" y="157"/>
                  </a:moveTo>
                  <a:cubicBezTo>
                    <a:pt x="210" y="178"/>
                    <a:pt x="210" y="178"/>
                    <a:pt x="210" y="178"/>
                  </a:cubicBezTo>
                  <a:cubicBezTo>
                    <a:pt x="208" y="179"/>
                    <a:pt x="208" y="179"/>
                    <a:pt x="208" y="179"/>
                  </a:cubicBezTo>
                  <a:cubicBezTo>
                    <a:pt x="210" y="183"/>
                    <a:pt x="210" y="183"/>
                    <a:pt x="210" y="183"/>
                  </a:cubicBezTo>
                  <a:cubicBezTo>
                    <a:pt x="210" y="215"/>
                    <a:pt x="210" y="215"/>
                    <a:pt x="210" y="215"/>
                  </a:cubicBezTo>
                  <a:cubicBezTo>
                    <a:pt x="192" y="226"/>
                    <a:pt x="192" y="226"/>
                    <a:pt x="192" y="226"/>
                  </a:cubicBezTo>
                  <a:cubicBezTo>
                    <a:pt x="192" y="205"/>
                    <a:pt x="192" y="205"/>
                    <a:pt x="192" y="205"/>
                  </a:cubicBezTo>
                  <a:cubicBezTo>
                    <a:pt x="202" y="199"/>
                    <a:pt x="202" y="199"/>
                    <a:pt x="202" y="199"/>
                  </a:cubicBezTo>
                  <a:cubicBezTo>
                    <a:pt x="199" y="195"/>
                    <a:pt x="197" y="191"/>
                    <a:pt x="195" y="187"/>
                  </a:cubicBezTo>
                  <a:cubicBezTo>
                    <a:pt x="192" y="189"/>
                    <a:pt x="192" y="189"/>
                    <a:pt x="192" y="189"/>
                  </a:cubicBezTo>
                  <a:cubicBezTo>
                    <a:pt x="192" y="152"/>
                    <a:pt x="192" y="152"/>
                    <a:pt x="192" y="152"/>
                  </a:cubicBezTo>
                  <a:cubicBezTo>
                    <a:pt x="199" y="164"/>
                    <a:pt x="199" y="164"/>
                    <a:pt x="199" y="164"/>
                  </a:cubicBezTo>
                  <a:lnTo>
                    <a:pt x="210" y="157"/>
                  </a:lnTo>
                  <a:close/>
                  <a:moveTo>
                    <a:pt x="192" y="266"/>
                  </a:moveTo>
                  <a:cubicBezTo>
                    <a:pt x="177" y="275"/>
                    <a:pt x="177" y="275"/>
                    <a:pt x="177" y="275"/>
                  </a:cubicBezTo>
                  <a:cubicBezTo>
                    <a:pt x="177" y="214"/>
                    <a:pt x="177" y="214"/>
                    <a:pt x="177" y="214"/>
                  </a:cubicBezTo>
                  <a:cubicBezTo>
                    <a:pt x="192" y="205"/>
                    <a:pt x="192" y="205"/>
                    <a:pt x="192" y="205"/>
                  </a:cubicBezTo>
                  <a:cubicBezTo>
                    <a:pt x="192" y="226"/>
                    <a:pt x="192" y="226"/>
                    <a:pt x="192" y="226"/>
                  </a:cubicBezTo>
                  <a:cubicBezTo>
                    <a:pt x="181" y="232"/>
                    <a:pt x="181" y="232"/>
                    <a:pt x="181" y="232"/>
                  </a:cubicBezTo>
                  <a:cubicBezTo>
                    <a:pt x="183" y="236"/>
                    <a:pt x="186" y="240"/>
                    <a:pt x="188" y="244"/>
                  </a:cubicBezTo>
                  <a:cubicBezTo>
                    <a:pt x="192" y="242"/>
                    <a:pt x="192" y="242"/>
                    <a:pt x="192" y="242"/>
                  </a:cubicBezTo>
                  <a:cubicBezTo>
                    <a:pt x="192" y="266"/>
                    <a:pt x="192" y="266"/>
                    <a:pt x="192" y="266"/>
                  </a:cubicBezTo>
                  <a:close/>
                  <a:moveTo>
                    <a:pt x="177" y="63"/>
                  </a:moveTo>
                  <a:cubicBezTo>
                    <a:pt x="192" y="54"/>
                    <a:pt x="192" y="54"/>
                    <a:pt x="192" y="54"/>
                  </a:cubicBezTo>
                  <a:cubicBezTo>
                    <a:pt x="192" y="84"/>
                    <a:pt x="192" y="84"/>
                    <a:pt x="192" y="84"/>
                  </a:cubicBezTo>
                  <a:cubicBezTo>
                    <a:pt x="188" y="79"/>
                    <a:pt x="188" y="79"/>
                    <a:pt x="188" y="79"/>
                  </a:cubicBezTo>
                  <a:cubicBezTo>
                    <a:pt x="177" y="86"/>
                    <a:pt x="177" y="86"/>
                    <a:pt x="177" y="86"/>
                  </a:cubicBezTo>
                  <a:cubicBezTo>
                    <a:pt x="177" y="63"/>
                    <a:pt x="177" y="63"/>
                    <a:pt x="177" y="63"/>
                  </a:cubicBezTo>
                  <a:close/>
                  <a:moveTo>
                    <a:pt x="192" y="94"/>
                  </a:moveTo>
                  <a:cubicBezTo>
                    <a:pt x="192" y="114"/>
                    <a:pt x="192" y="114"/>
                    <a:pt x="192" y="114"/>
                  </a:cubicBezTo>
                  <a:cubicBezTo>
                    <a:pt x="177" y="123"/>
                    <a:pt x="177" y="123"/>
                    <a:pt x="177" y="123"/>
                  </a:cubicBezTo>
                  <a:cubicBezTo>
                    <a:pt x="177" y="103"/>
                    <a:pt x="177" y="103"/>
                    <a:pt x="177" y="103"/>
                  </a:cubicBezTo>
                  <a:cubicBezTo>
                    <a:pt x="192" y="94"/>
                    <a:pt x="192" y="94"/>
                    <a:pt x="192" y="94"/>
                  </a:cubicBezTo>
                  <a:close/>
                  <a:moveTo>
                    <a:pt x="192" y="131"/>
                  </a:moveTo>
                  <a:cubicBezTo>
                    <a:pt x="192" y="151"/>
                    <a:pt x="192" y="151"/>
                    <a:pt x="192" y="151"/>
                  </a:cubicBezTo>
                  <a:cubicBezTo>
                    <a:pt x="191" y="152"/>
                    <a:pt x="191" y="152"/>
                    <a:pt x="191" y="152"/>
                  </a:cubicBezTo>
                  <a:cubicBezTo>
                    <a:pt x="192" y="152"/>
                    <a:pt x="192" y="152"/>
                    <a:pt x="192" y="152"/>
                  </a:cubicBezTo>
                  <a:cubicBezTo>
                    <a:pt x="192" y="189"/>
                    <a:pt x="192" y="189"/>
                    <a:pt x="192" y="189"/>
                  </a:cubicBezTo>
                  <a:cubicBezTo>
                    <a:pt x="177" y="197"/>
                    <a:pt x="177" y="197"/>
                    <a:pt x="177" y="197"/>
                  </a:cubicBezTo>
                  <a:cubicBezTo>
                    <a:pt x="177" y="177"/>
                    <a:pt x="177" y="177"/>
                    <a:pt x="177" y="177"/>
                  </a:cubicBezTo>
                  <a:cubicBezTo>
                    <a:pt x="186" y="172"/>
                    <a:pt x="186" y="172"/>
                    <a:pt x="186" y="172"/>
                  </a:cubicBezTo>
                  <a:cubicBezTo>
                    <a:pt x="183" y="167"/>
                    <a:pt x="181" y="163"/>
                    <a:pt x="178" y="159"/>
                  </a:cubicBezTo>
                  <a:cubicBezTo>
                    <a:pt x="177" y="160"/>
                    <a:pt x="177" y="160"/>
                    <a:pt x="177" y="160"/>
                  </a:cubicBezTo>
                  <a:cubicBezTo>
                    <a:pt x="177" y="128"/>
                    <a:pt x="177" y="128"/>
                    <a:pt x="177" y="128"/>
                  </a:cubicBezTo>
                  <a:cubicBezTo>
                    <a:pt x="182" y="137"/>
                    <a:pt x="182" y="137"/>
                    <a:pt x="182" y="137"/>
                  </a:cubicBezTo>
                  <a:lnTo>
                    <a:pt x="192" y="131"/>
                  </a:lnTo>
                  <a:close/>
                  <a:moveTo>
                    <a:pt x="177" y="275"/>
                  </a:moveTo>
                  <a:cubicBezTo>
                    <a:pt x="124" y="307"/>
                    <a:pt x="124" y="307"/>
                    <a:pt x="124" y="307"/>
                  </a:cubicBezTo>
                  <a:cubicBezTo>
                    <a:pt x="124" y="283"/>
                    <a:pt x="124" y="283"/>
                    <a:pt x="124" y="283"/>
                  </a:cubicBezTo>
                  <a:cubicBezTo>
                    <a:pt x="132" y="278"/>
                    <a:pt x="132" y="278"/>
                    <a:pt x="132" y="278"/>
                  </a:cubicBezTo>
                  <a:cubicBezTo>
                    <a:pt x="130" y="274"/>
                    <a:pt x="127" y="270"/>
                    <a:pt x="125" y="266"/>
                  </a:cubicBezTo>
                  <a:cubicBezTo>
                    <a:pt x="124" y="267"/>
                    <a:pt x="124" y="267"/>
                    <a:pt x="124" y="267"/>
                  </a:cubicBezTo>
                  <a:cubicBezTo>
                    <a:pt x="124" y="235"/>
                    <a:pt x="124" y="235"/>
                    <a:pt x="124" y="235"/>
                  </a:cubicBezTo>
                  <a:cubicBezTo>
                    <a:pt x="129" y="243"/>
                    <a:pt x="129" y="243"/>
                    <a:pt x="129" y="243"/>
                  </a:cubicBezTo>
                  <a:cubicBezTo>
                    <a:pt x="139" y="237"/>
                    <a:pt x="149" y="231"/>
                    <a:pt x="159" y="225"/>
                  </a:cubicBezTo>
                  <a:cubicBezTo>
                    <a:pt x="156" y="221"/>
                    <a:pt x="154" y="217"/>
                    <a:pt x="152" y="213"/>
                  </a:cubicBezTo>
                  <a:cubicBezTo>
                    <a:pt x="124" y="230"/>
                    <a:pt x="124" y="230"/>
                    <a:pt x="124" y="230"/>
                  </a:cubicBezTo>
                  <a:cubicBezTo>
                    <a:pt x="124" y="209"/>
                    <a:pt x="124" y="209"/>
                    <a:pt x="124" y="209"/>
                  </a:cubicBezTo>
                  <a:cubicBezTo>
                    <a:pt x="142" y="198"/>
                    <a:pt x="142" y="198"/>
                    <a:pt x="142" y="198"/>
                  </a:cubicBezTo>
                  <a:cubicBezTo>
                    <a:pt x="140" y="193"/>
                    <a:pt x="137" y="189"/>
                    <a:pt x="135" y="185"/>
                  </a:cubicBezTo>
                  <a:cubicBezTo>
                    <a:pt x="124" y="192"/>
                    <a:pt x="124" y="192"/>
                    <a:pt x="124" y="192"/>
                  </a:cubicBezTo>
                  <a:cubicBezTo>
                    <a:pt x="124" y="95"/>
                    <a:pt x="124" y="95"/>
                    <a:pt x="124" y="95"/>
                  </a:cubicBezTo>
                  <a:cubicBezTo>
                    <a:pt x="140" y="85"/>
                    <a:pt x="140" y="85"/>
                    <a:pt x="140" y="85"/>
                  </a:cubicBezTo>
                  <a:cubicBezTo>
                    <a:pt x="177" y="63"/>
                    <a:pt x="177" y="63"/>
                    <a:pt x="177" y="63"/>
                  </a:cubicBezTo>
                  <a:cubicBezTo>
                    <a:pt x="177" y="86"/>
                    <a:pt x="177" y="86"/>
                    <a:pt x="177" y="86"/>
                  </a:cubicBezTo>
                  <a:cubicBezTo>
                    <a:pt x="158" y="97"/>
                    <a:pt x="158" y="97"/>
                    <a:pt x="158" y="97"/>
                  </a:cubicBezTo>
                  <a:cubicBezTo>
                    <a:pt x="161" y="101"/>
                    <a:pt x="163" y="105"/>
                    <a:pt x="166" y="109"/>
                  </a:cubicBezTo>
                  <a:cubicBezTo>
                    <a:pt x="177" y="103"/>
                    <a:pt x="177" y="103"/>
                    <a:pt x="177" y="103"/>
                  </a:cubicBezTo>
                  <a:cubicBezTo>
                    <a:pt x="177" y="123"/>
                    <a:pt x="177" y="123"/>
                    <a:pt x="177" y="123"/>
                  </a:cubicBezTo>
                  <a:cubicBezTo>
                    <a:pt x="175" y="124"/>
                    <a:pt x="175" y="124"/>
                    <a:pt x="175" y="124"/>
                  </a:cubicBezTo>
                  <a:cubicBezTo>
                    <a:pt x="177" y="128"/>
                    <a:pt x="177" y="128"/>
                    <a:pt x="177" y="128"/>
                  </a:cubicBezTo>
                  <a:cubicBezTo>
                    <a:pt x="177" y="160"/>
                    <a:pt x="177" y="160"/>
                    <a:pt x="177" y="160"/>
                  </a:cubicBezTo>
                  <a:cubicBezTo>
                    <a:pt x="148" y="178"/>
                    <a:pt x="148" y="178"/>
                    <a:pt x="148" y="178"/>
                  </a:cubicBezTo>
                  <a:cubicBezTo>
                    <a:pt x="151" y="182"/>
                    <a:pt x="153" y="186"/>
                    <a:pt x="156" y="190"/>
                  </a:cubicBezTo>
                  <a:cubicBezTo>
                    <a:pt x="177" y="177"/>
                    <a:pt x="177" y="177"/>
                    <a:pt x="177" y="177"/>
                  </a:cubicBezTo>
                  <a:cubicBezTo>
                    <a:pt x="177" y="197"/>
                    <a:pt x="177" y="197"/>
                    <a:pt x="177" y="197"/>
                  </a:cubicBezTo>
                  <a:cubicBezTo>
                    <a:pt x="165" y="205"/>
                    <a:pt x="165" y="205"/>
                    <a:pt x="165" y="205"/>
                  </a:cubicBezTo>
                  <a:cubicBezTo>
                    <a:pt x="167" y="209"/>
                    <a:pt x="169" y="213"/>
                    <a:pt x="172" y="217"/>
                  </a:cubicBezTo>
                  <a:cubicBezTo>
                    <a:pt x="177" y="214"/>
                    <a:pt x="177" y="214"/>
                    <a:pt x="177" y="214"/>
                  </a:cubicBezTo>
                  <a:lnTo>
                    <a:pt x="177" y="275"/>
                  </a:lnTo>
                  <a:close/>
                  <a:moveTo>
                    <a:pt x="124" y="307"/>
                  </a:moveTo>
                  <a:cubicBezTo>
                    <a:pt x="105" y="318"/>
                    <a:pt x="105" y="318"/>
                    <a:pt x="105" y="318"/>
                  </a:cubicBezTo>
                  <a:cubicBezTo>
                    <a:pt x="105" y="294"/>
                    <a:pt x="105" y="294"/>
                    <a:pt x="105" y="294"/>
                  </a:cubicBezTo>
                  <a:cubicBezTo>
                    <a:pt x="124" y="283"/>
                    <a:pt x="124" y="283"/>
                    <a:pt x="124" y="283"/>
                  </a:cubicBezTo>
                  <a:cubicBezTo>
                    <a:pt x="124" y="307"/>
                    <a:pt x="124" y="307"/>
                    <a:pt x="124" y="307"/>
                  </a:cubicBezTo>
                  <a:close/>
                  <a:moveTo>
                    <a:pt x="105" y="106"/>
                  </a:moveTo>
                  <a:cubicBezTo>
                    <a:pt x="124" y="95"/>
                    <a:pt x="124" y="95"/>
                    <a:pt x="124" y="95"/>
                  </a:cubicBezTo>
                  <a:cubicBezTo>
                    <a:pt x="124" y="192"/>
                    <a:pt x="124" y="192"/>
                    <a:pt x="124" y="192"/>
                  </a:cubicBezTo>
                  <a:cubicBezTo>
                    <a:pt x="105" y="203"/>
                    <a:pt x="105" y="203"/>
                    <a:pt x="105" y="203"/>
                  </a:cubicBezTo>
                  <a:cubicBezTo>
                    <a:pt x="105" y="146"/>
                    <a:pt x="105" y="146"/>
                    <a:pt x="105" y="146"/>
                  </a:cubicBezTo>
                  <a:cubicBezTo>
                    <a:pt x="110" y="143"/>
                    <a:pt x="110" y="143"/>
                    <a:pt x="110" y="143"/>
                  </a:cubicBezTo>
                  <a:cubicBezTo>
                    <a:pt x="105" y="136"/>
                    <a:pt x="105" y="136"/>
                    <a:pt x="105" y="136"/>
                  </a:cubicBezTo>
                  <a:cubicBezTo>
                    <a:pt x="105" y="106"/>
                    <a:pt x="105" y="106"/>
                    <a:pt x="105" y="106"/>
                  </a:cubicBezTo>
                  <a:close/>
                  <a:moveTo>
                    <a:pt x="124" y="209"/>
                  </a:moveTo>
                  <a:cubicBezTo>
                    <a:pt x="124" y="230"/>
                    <a:pt x="124" y="230"/>
                    <a:pt x="124" y="230"/>
                  </a:cubicBezTo>
                  <a:cubicBezTo>
                    <a:pt x="122" y="231"/>
                    <a:pt x="122" y="231"/>
                    <a:pt x="122" y="231"/>
                  </a:cubicBezTo>
                  <a:cubicBezTo>
                    <a:pt x="124" y="235"/>
                    <a:pt x="124" y="235"/>
                    <a:pt x="124" y="235"/>
                  </a:cubicBezTo>
                  <a:cubicBezTo>
                    <a:pt x="124" y="267"/>
                    <a:pt x="124" y="267"/>
                    <a:pt x="124" y="267"/>
                  </a:cubicBezTo>
                  <a:cubicBezTo>
                    <a:pt x="105" y="278"/>
                    <a:pt x="105" y="278"/>
                    <a:pt x="105" y="278"/>
                  </a:cubicBezTo>
                  <a:cubicBezTo>
                    <a:pt x="105" y="257"/>
                    <a:pt x="105" y="257"/>
                    <a:pt x="105" y="257"/>
                  </a:cubicBezTo>
                  <a:cubicBezTo>
                    <a:pt x="116" y="251"/>
                    <a:pt x="116" y="251"/>
                    <a:pt x="116" y="251"/>
                  </a:cubicBezTo>
                  <a:cubicBezTo>
                    <a:pt x="113" y="247"/>
                    <a:pt x="111" y="243"/>
                    <a:pt x="108" y="239"/>
                  </a:cubicBezTo>
                  <a:cubicBezTo>
                    <a:pt x="105" y="241"/>
                    <a:pt x="105" y="241"/>
                    <a:pt x="105" y="241"/>
                  </a:cubicBezTo>
                  <a:cubicBezTo>
                    <a:pt x="105" y="204"/>
                    <a:pt x="105" y="204"/>
                    <a:pt x="105" y="204"/>
                  </a:cubicBezTo>
                  <a:cubicBezTo>
                    <a:pt x="112" y="216"/>
                    <a:pt x="112" y="216"/>
                    <a:pt x="112" y="216"/>
                  </a:cubicBezTo>
                  <a:lnTo>
                    <a:pt x="124" y="209"/>
                  </a:lnTo>
                  <a:close/>
                  <a:moveTo>
                    <a:pt x="105" y="318"/>
                  </a:moveTo>
                  <a:cubicBezTo>
                    <a:pt x="94" y="325"/>
                    <a:pt x="94" y="325"/>
                    <a:pt x="94" y="325"/>
                  </a:cubicBezTo>
                  <a:cubicBezTo>
                    <a:pt x="91" y="320"/>
                    <a:pt x="91" y="320"/>
                    <a:pt x="91" y="320"/>
                  </a:cubicBezTo>
                  <a:cubicBezTo>
                    <a:pt x="91" y="266"/>
                    <a:pt x="91" y="266"/>
                    <a:pt x="91" y="266"/>
                  </a:cubicBezTo>
                  <a:cubicBezTo>
                    <a:pt x="105" y="257"/>
                    <a:pt x="105" y="257"/>
                    <a:pt x="105" y="257"/>
                  </a:cubicBezTo>
                  <a:cubicBezTo>
                    <a:pt x="105" y="278"/>
                    <a:pt x="105" y="278"/>
                    <a:pt x="105" y="278"/>
                  </a:cubicBezTo>
                  <a:cubicBezTo>
                    <a:pt x="95" y="284"/>
                    <a:pt x="95" y="284"/>
                    <a:pt x="95" y="284"/>
                  </a:cubicBezTo>
                  <a:cubicBezTo>
                    <a:pt x="97" y="288"/>
                    <a:pt x="100" y="292"/>
                    <a:pt x="102" y="296"/>
                  </a:cubicBezTo>
                  <a:cubicBezTo>
                    <a:pt x="105" y="294"/>
                    <a:pt x="105" y="294"/>
                    <a:pt x="105" y="294"/>
                  </a:cubicBezTo>
                  <a:cubicBezTo>
                    <a:pt x="105" y="318"/>
                    <a:pt x="105" y="318"/>
                    <a:pt x="105" y="318"/>
                  </a:cubicBezTo>
                  <a:close/>
                  <a:moveTo>
                    <a:pt x="91" y="115"/>
                  </a:moveTo>
                  <a:cubicBezTo>
                    <a:pt x="105" y="106"/>
                    <a:pt x="105" y="106"/>
                    <a:pt x="105" y="106"/>
                  </a:cubicBezTo>
                  <a:cubicBezTo>
                    <a:pt x="105" y="136"/>
                    <a:pt x="105" y="136"/>
                    <a:pt x="105" y="136"/>
                  </a:cubicBezTo>
                  <a:cubicBezTo>
                    <a:pt x="102" y="131"/>
                    <a:pt x="102" y="131"/>
                    <a:pt x="102" y="131"/>
                  </a:cubicBezTo>
                  <a:cubicBezTo>
                    <a:pt x="91" y="138"/>
                    <a:pt x="91" y="138"/>
                    <a:pt x="91" y="138"/>
                  </a:cubicBezTo>
                  <a:cubicBezTo>
                    <a:pt x="91" y="115"/>
                    <a:pt x="91" y="115"/>
                    <a:pt x="91" y="115"/>
                  </a:cubicBezTo>
                  <a:close/>
                  <a:moveTo>
                    <a:pt x="105" y="146"/>
                  </a:moveTo>
                  <a:cubicBezTo>
                    <a:pt x="105" y="203"/>
                    <a:pt x="105" y="203"/>
                    <a:pt x="105" y="203"/>
                  </a:cubicBezTo>
                  <a:cubicBezTo>
                    <a:pt x="105" y="204"/>
                    <a:pt x="105" y="204"/>
                    <a:pt x="105" y="204"/>
                  </a:cubicBezTo>
                  <a:cubicBezTo>
                    <a:pt x="105" y="204"/>
                    <a:pt x="105" y="204"/>
                    <a:pt x="105" y="204"/>
                  </a:cubicBezTo>
                  <a:cubicBezTo>
                    <a:pt x="105" y="241"/>
                    <a:pt x="105" y="241"/>
                    <a:pt x="105" y="241"/>
                  </a:cubicBezTo>
                  <a:cubicBezTo>
                    <a:pt x="91" y="249"/>
                    <a:pt x="91" y="249"/>
                    <a:pt x="91" y="249"/>
                  </a:cubicBezTo>
                  <a:cubicBezTo>
                    <a:pt x="91" y="229"/>
                    <a:pt x="91" y="229"/>
                    <a:pt x="91" y="229"/>
                  </a:cubicBezTo>
                  <a:cubicBezTo>
                    <a:pt x="99" y="224"/>
                    <a:pt x="99" y="224"/>
                    <a:pt x="99" y="224"/>
                  </a:cubicBezTo>
                  <a:cubicBezTo>
                    <a:pt x="97" y="220"/>
                    <a:pt x="94" y="215"/>
                    <a:pt x="92" y="211"/>
                  </a:cubicBezTo>
                  <a:cubicBezTo>
                    <a:pt x="91" y="212"/>
                    <a:pt x="91" y="212"/>
                    <a:pt x="91" y="212"/>
                  </a:cubicBezTo>
                  <a:cubicBezTo>
                    <a:pt x="91" y="155"/>
                    <a:pt x="91" y="155"/>
                    <a:pt x="91" y="155"/>
                  </a:cubicBezTo>
                  <a:lnTo>
                    <a:pt x="105" y="146"/>
                  </a:lnTo>
                  <a:close/>
                  <a:moveTo>
                    <a:pt x="91" y="320"/>
                  </a:moveTo>
                  <a:cubicBezTo>
                    <a:pt x="48" y="249"/>
                    <a:pt x="48" y="249"/>
                    <a:pt x="48" y="249"/>
                  </a:cubicBezTo>
                  <a:cubicBezTo>
                    <a:pt x="48" y="181"/>
                    <a:pt x="48" y="181"/>
                    <a:pt x="48" y="181"/>
                  </a:cubicBezTo>
                  <a:cubicBezTo>
                    <a:pt x="66" y="169"/>
                    <a:pt x="66" y="169"/>
                    <a:pt x="66" y="169"/>
                  </a:cubicBezTo>
                  <a:cubicBezTo>
                    <a:pt x="64" y="165"/>
                    <a:pt x="61" y="161"/>
                    <a:pt x="59" y="157"/>
                  </a:cubicBezTo>
                  <a:cubicBezTo>
                    <a:pt x="48" y="164"/>
                    <a:pt x="48" y="164"/>
                    <a:pt x="48" y="164"/>
                  </a:cubicBezTo>
                  <a:cubicBezTo>
                    <a:pt x="48" y="141"/>
                    <a:pt x="48" y="141"/>
                    <a:pt x="48" y="141"/>
                  </a:cubicBezTo>
                  <a:cubicBezTo>
                    <a:pt x="91" y="115"/>
                    <a:pt x="91" y="115"/>
                    <a:pt x="91" y="115"/>
                  </a:cubicBezTo>
                  <a:cubicBezTo>
                    <a:pt x="91" y="138"/>
                    <a:pt x="91" y="138"/>
                    <a:pt x="91" y="138"/>
                  </a:cubicBezTo>
                  <a:cubicBezTo>
                    <a:pt x="72" y="149"/>
                    <a:pt x="72" y="149"/>
                    <a:pt x="72" y="149"/>
                  </a:cubicBezTo>
                  <a:cubicBezTo>
                    <a:pt x="75" y="153"/>
                    <a:pt x="77" y="157"/>
                    <a:pt x="80" y="161"/>
                  </a:cubicBezTo>
                  <a:cubicBezTo>
                    <a:pt x="91" y="155"/>
                    <a:pt x="91" y="155"/>
                    <a:pt x="91" y="155"/>
                  </a:cubicBezTo>
                  <a:cubicBezTo>
                    <a:pt x="91" y="212"/>
                    <a:pt x="91" y="212"/>
                    <a:pt x="91" y="212"/>
                  </a:cubicBezTo>
                  <a:cubicBezTo>
                    <a:pt x="62" y="230"/>
                    <a:pt x="62" y="230"/>
                    <a:pt x="62" y="230"/>
                  </a:cubicBezTo>
                  <a:cubicBezTo>
                    <a:pt x="64" y="234"/>
                    <a:pt x="67" y="238"/>
                    <a:pt x="69" y="242"/>
                  </a:cubicBezTo>
                  <a:cubicBezTo>
                    <a:pt x="91" y="229"/>
                    <a:pt x="91" y="229"/>
                    <a:pt x="91" y="229"/>
                  </a:cubicBezTo>
                  <a:cubicBezTo>
                    <a:pt x="91" y="249"/>
                    <a:pt x="91" y="249"/>
                    <a:pt x="91" y="249"/>
                  </a:cubicBezTo>
                  <a:cubicBezTo>
                    <a:pt x="78" y="257"/>
                    <a:pt x="78" y="257"/>
                    <a:pt x="78" y="257"/>
                  </a:cubicBezTo>
                  <a:cubicBezTo>
                    <a:pt x="81" y="261"/>
                    <a:pt x="83" y="265"/>
                    <a:pt x="86" y="269"/>
                  </a:cubicBezTo>
                  <a:cubicBezTo>
                    <a:pt x="91" y="266"/>
                    <a:pt x="91" y="266"/>
                    <a:pt x="91" y="266"/>
                  </a:cubicBezTo>
                  <a:lnTo>
                    <a:pt x="91" y="320"/>
                  </a:lnTo>
                  <a:close/>
                  <a:moveTo>
                    <a:pt x="48" y="249"/>
                  </a:moveTo>
                  <a:cubicBezTo>
                    <a:pt x="0" y="169"/>
                    <a:pt x="0" y="169"/>
                    <a:pt x="0" y="169"/>
                  </a:cubicBezTo>
                  <a:cubicBezTo>
                    <a:pt x="48" y="141"/>
                    <a:pt x="48" y="141"/>
                    <a:pt x="48" y="141"/>
                  </a:cubicBezTo>
                  <a:cubicBezTo>
                    <a:pt x="48" y="164"/>
                    <a:pt x="48" y="164"/>
                    <a:pt x="48" y="164"/>
                  </a:cubicBezTo>
                  <a:cubicBezTo>
                    <a:pt x="29" y="175"/>
                    <a:pt x="29" y="175"/>
                    <a:pt x="29" y="175"/>
                  </a:cubicBezTo>
                  <a:cubicBezTo>
                    <a:pt x="31" y="179"/>
                    <a:pt x="34" y="183"/>
                    <a:pt x="36" y="187"/>
                  </a:cubicBezTo>
                  <a:cubicBezTo>
                    <a:pt x="48" y="181"/>
                    <a:pt x="48" y="181"/>
                    <a:pt x="48" y="181"/>
                  </a:cubicBezTo>
                  <a:lnTo>
                    <a:pt x="48" y="249"/>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6" name="i$1îḍê">
              <a:extLst>
                <a:ext uri="{FF2B5EF4-FFF2-40B4-BE49-F238E27FC236}">
                  <a16:creationId xmlns:a16="http://schemas.microsoft.com/office/drawing/2014/main" id="{F952D3B4-C35F-40E5-97CF-9B6D09E072E5}"/>
                </a:ext>
              </a:extLst>
            </p:cNvPr>
            <p:cNvSpPr/>
            <p:nvPr/>
          </p:nvSpPr>
          <p:spPr bwMode="auto">
            <a:xfrm flipH="1">
              <a:off x="4153465" y="2419713"/>
              <a:ext cx="508755" cy="530990"/>
            </a:xfrm>
            <a:custGeom>
              <a:avLst/>
              <a:gdLst>
                <a:gd name="T0" fmla="*/ 263 w 304"/>
                <a:gd name="T1" fmla="*/ 163 h 325"/>
                <a:gd name="T2" fmla="*/ 250 w 304"/>
                <a:gd name="T3" fmla="*/ 236 h 325"/>
                <a:gd name="T4" fmla="*/ 239 w 304"/>
                <a:gd name="T5" fmla="*/ 129 h 325"/>
                <a:gd name="T6" fmla="*/ 250 w 304"/>
                <a:gd name="T7" fmla="*/ 204 h 325"/>
                <a:gd name="T8" fmla="*/ 237 w 304"/>
                <a:gd name="T9" fmla="*/ 160 h 325"/>
                <a:gd name="T10" fmla="*/ 239 w 304"/>
                <a:gd name="T11" fmla="*/ 266 h 325"/>
                <a:gd name="T12" fmla="*/ 224 w 304"/>
                <a:gd name="T13" fmla="*/ 142 h 325"/>
                <a:gd name="T14" fmla="*/ 223 w 304"/>
                <a:gd name="T15" fmla="*/ 220 h 325"/>
                <a:gd name="T16" fmla="*/ 213 w 304"/>
                <a:gd name="T17" fmla="*/ 126 h 325"/>
                <a:gd name="T18" fmla="*/ 215 w 304"/>
                <a:gd name="T19" fmla="*/ 261 h 325"/>
                <a:gd name="T20" fmla="*/ 215 w 304"/>
                <a:gd name="T21" fmla="*/ 154 h 325"/>
                <a:gd name="T22" fmla="*/ 198 w 304"/>
                <a:gd name="T23" fmla="*/ 270 h 325"/>
                <a:gd name="T24" fmla="*/ 198 w 304"/>
                <a:gd name="T25" fmla="*/ 121 h 325"/>
                <a:gd name="T26" fmla="*/ 191 w 304"/>
                <a:gd name="T27" fmla="*/ 61 h 325"/>
                <a:gd name="T28" fmla="*/ 198 w 304"/>
                <a:gd name="T29" fmla="*/ 121 h 325"/>
                <a:gd name="T30" fmla="*/ 192 w 304"/>
                <a:gd name="T31" fmla="*/ 176 h 325"/>
                <a:gd name="T32" fmla="*/ 178 w 304"/>
                <a:gd name="T33" fmla="*/ 42 h 325"/>
                <a:gd name="T34" fmla="*/ 178 w 304"/>
                <a:gd name="T35" fmla="*/ 309 h 325"/>
                <a:gd name="T36" fmla="*/ 180 w 304"/>
                <a:gd name="T37" fmla="*/ 134 h 325"/>
                <a:gd name="T38" fmla="*/ 191 w 304"/>
                <a:gd name="T39" fmla="*/ 227 h 325"/>
                <a:gd name="T40" fmla="*/ 176 w 304"/>
                <a:gd name="T41" fmla="*/ 73 h 325"/>
                <a:gd name="T42" fmla="*/ 178 w 304"/>
                <a:gd name="T43" fmla="*/ 102 h 325"/>
                <a:gd name="T44" fmla="*/ 178 w 304"/>
                <a:gd name="T45" fmla="*/ 157 h 325"/>
                <a:gd name="T46" fmla="*/ 176 w 304"/>
                <a:gd name="T47" fmla="*/ 253 h 325"/>
                <a:gd name="T48" fmla="*/ 167 w 304"/>
                <a:gd name="T49" fmla="*/ 193 h 325"/>
                <a:gd name="T50" fmla="*/ 176 w 304"/>
                <a:gd name="T51" fmla="*/ 129 h 325"/>
                <a:gd name="T52" fmla="*/ 167 w 304"/>
                <a:gd name="T53" fmla="*/ 172 h 325"/>
                <a:gd name="T54" fmla="*/ 158 w 304"/>
                <a:gd name="T55" fmla="*/ 47 h 325"/>
                <a:gd name="T56" fmla="*/ 167 w 304"/>
                <a:gd name="T57" fmla="*/ 86 h 325"/>
                <a:gd name="T58" fmla="*/ 154 w 304"/>
                <a:gd name="T59" fmla="*/ 68 h 325"/>
                <a:gd name="T60" fmla="*/ 151 w 304"/>
                <a:gd name="T61" fmla="*/ 204 h 325"/>
                <a:gd name="T62" fmla="*/ 150 w 304"/>
                <a:gd name="T63" fmla="*/ 92 h 325"/>
                <a:gd name="T64" fmla="*/ 154 w 304"/>
                <a:gd name="T65" fmla="*/ 100 h 325"/>
                <a:gd name="T66" fmla="*/ 149 w 304"/>
                <a:gd name="T67" fmla="*/ 257 h 325"/>
                <a:gd name="T68" fmla="*/ 150 w 304"/>
                <a:gd name="T69" fmla="*/ 53 h 325"/>
                <a:gd name="T70" fmla="*/ 150 w 304"/>
                <a:gd name="T71" fmla="*/ 172 h 325"/>
                <a:gd name="T72" fmla="*/ 144 w 304"/>
                <a:gd name="T73" fmla="*/ 52 h 325"/>
                <a:gd name="T74" fmla="*/ 144 w 304"/>
                <a:gd name="T75" fmla="*/ 308 h 325"/>
                <a:gd name="T76" fmla="*/ 144 w 304"/>
                <a:gd name="T77" fmla="*/ 159 h 325"/>
                <a:gd name="T78" fmla="*/ 128 w 304"/>
                <a:gd name="T79" fmla="*/ 236 h 325"/>
                <a:gd name="T80" fmla="*/ 124 w 304"/>
                <a:gd name="T81" fmla="*/ 110 h 325"/>
                <a:gd name="T82" fmla="*/ 128 w 304"/>
                <a:gd name="T83" fmla="*/ 141 h 325"/>
                <a:gd name="T84" fmla="*/ 124 w 304"/>
                <a:gd name="T85" fmla="*/ 221 h 325"/>
                <a:gd name="T86" fmla="*/ 115 w 304"/>
                <a:gd name="T87" fmla="*/ 229 h 325"/>
                <a:gd name="T88" fmla="*/ 124 w 304"/>
                <a:gd name="T89" fmla="*/ 221 h 325"/>
                <a:gd name="T90" fmla="*/ 102 w 304"/>
                <a:gd name="T91" fmla="*/ 86 h 325"/>
                <a:gd name="T92" fmla="*/ 115 w 304"/>
                <a:gd name="T93" fmla="*/ 123 h 325"/>
                <a:gd name="T94" fmla="*/ 102 w 304"/>
                <a:gd name="T95" fmla="*/ 32 h 325"/>
                <a:gd name="T96" fmla="*/ 92 w 304"/>
                <a:gd name="T97" fmla="*/ 144 h 325"/>
                <a:gd name="T98" fmla="*/ 102 w 304"/>
                <a:gd name="T99" fmla="*/ 134 h 325"/>
                <a:gd name="T100" fmla="*/ 78 w 304"/>
                <a:gd name="T101" fmla="*/ 49 h 325"/>
                <a:gd name="T102" fmla="*/ 78 w 304"/>
                <a:gd name="T103" fmla="*/ 118 h 325"/>
                <a:gd name="T104" fmla="*/ 78 w 304"/>
                <a:gd name="T105" fmla="*/ 126 h 325"/>
                <a:gd name="T106" fmla="*/ 78 w 304"/>
                <a:gd name="T107" fmla="*/ 215 h 325"/>
                <a:gd name="T108" fmla="*/ 73 w 304"/>
                <a:gd name="T109" fmla="*/ 173 h 325"/>
                <a:gd name="T110" fmla="*/ 52 w 304"/>
                <a:gd name="T111" fmla="*/ 178 h 325"/>
                <a:gd name="T112" fmla="*/ 51 w 304"/>
                <a:gd name="T113" fmla="*/ 87 h 325"/>
                <a:gd name="T114" fmla="*/ 52 w 304"/>
                <a:gd name="T115" fmla="*/ 17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25">
                  <a:moveTo>
                    <a:pt x="263" y="163"/>
                  </a:moveTo>
                  <a:cubicBezTo>
                    <a:pt x="304" y="221"/>
                    <a:pt x="304" y="221"/>
                    <a:pt x="304" y="221"/>
                  </a:cubicBezTo>
                  <a:cubicBezTo>
                    <a:pt x="263" y="250"/>
                    <a:pt x="263" y="250"/>
                    <a:pt x="263" y="250"/>
                  </a:cubicBezTo>
                  <a:cubicBezTo>
                    <a:pt x="263" y="222"/>
                    <a:pt x="263" y="222"/>
                    <a:pt x="263" y="222"/>
                  </a:cubicBezTo>
                  <a:cubicBezTo>
                    <a:pt x="265" y="226"/>
                    <a:pt x="265" y="226"/>
                    <a:pt x="265" y="226"/>
                  </a:cubicBezTo>
                  <a:cubicBezTo>
                    <a:pt x="269" y="223"/>
                    <a:pt x="273" y="220"/>
                    <a:pt x="277" y="217"/>
                  </a:cubicBezTo>
                  <a:cubicBezTo>
                    <a:pt x="263" y="197"/>
                    <a:pt x="263" y="197"/>
                    <a:pt x="263" y="197"/>
                  </a:cubicBezTo>
                  <a:lnTo>
                    <a:pt x="263" y="163"/>
                  </a:lnTo>
                  <a:close/>
                  <a:moveTo>
                    <a:pt x="250" y="144"/>
                  </a:moveTo>
                  <a:cubicBezTo>
                    <a:pt x="263" y="163"/>
                    <a:pt x="263" y="163"/>
                    <a:pt x="263" y="163"/>
                  </a:cubicBezTo>
                  <a:cubicBezTo>
                    <a:pt x="263" y="197"/>
                    <a:pt x="263" y="197"/>
                    <a:pt x="263" y="197"/>
                  </a:cubicBezTo>
                  <a:cubicBezTo>
                    <a:pt x="261" y="194"/>
                    <a:pt x="261" y="194"/>
                    <a:pt x="261" y="194"/>
                  </a:cubicBezTo>
                  <a:cubicBezTo>
                    <a:pt x="250" y="201"/>
                    <a:pt x="250" y="201"/>
                    <a:pt x="250" y="201"/>
                  </a:cubicBezTo>
                  <a:cubicBezTo>
                    <a:pt x="250" y="186"/>
                    <a:pt x="250" y="186"/>
                    <a:pt x="250" y="186"/>
                  </a:cubicBezTo>
                  <a:cubicBezTo>
                    <a:pt x="253" y="183"/>
                    <a:pt x="253" y="183"/>
                    <a:pt x="253" y="183"/>
                  </a:cubicBezTo>
                  <a:cubicBezTo>
                    <a:pt x="250" y="179"/>
                    <a:pt x="250" y="179"/>
                    <a:pt x="250" y="179"/>
                  </a:cubicBezTo>
                  <a:cubicBezTo>
                    <a:pt x="250" y="144"/>
                    <a:pt x="250" y="144"/>
                    <a:pt x="250" y="144"/>
                  </a:cubicBezTo>
                  <a:close/>
                  <a:moveTo>
                    <a:pt x="263" y="250"/>
                  </a:moveTo>
                  <a:cubicBezTo>
                    <a:pt x="250" y="259"/>
                    <a:pt x="250" y="259"/>
                    <a:pt x="250" y="259"/>
                  </a:cubicBezTo>
                  <a:cubicBezTo>
                    <a:pt x="250" y="236"/>
                    <a:pt x="250" y="236"/>
                    <a:pt x="250" y="236"/>
                  </a:cubicBezTo>
                  <a:cubicBezTo>
                    <a:pt x="251" y="236"/>
                    <a:pt x="251" y="236"/>
                    <a:pt x="251" y="236"/>
                  </a:cubicBezTo>
                  <a:cubicBezTo>
                    <a:pt x="250" y="234"/>
                    <a:pt x="250" y="234"/>
                    <a:pt x="250" y="234"/>
                  </a:cubicBezTo>
                  <a:cubicBezTo>
                    <a:pt x="250" y="204"/>
                    <a:pt x="250" y="204"/>
                    <a:pt x="250" y="204"/>
                  </a:cubicBezTo>
                  <a:cubicBezTo>
                    <a:pt x="263" y="222"/>
                    <a:pt x="263" y="222"/>
                    <a:pt x="263" y="222"/>
                  </a:cubicBezTo>
                  <a:lnTo>
                    <a:pt x="263" y="250"/>
                  </a:lnTo>
                  <a:close/>
                  <a:moveTo>
                    <a:pt x="239" y="129"/>
                  </a:moveTo>
                  <a:cubicBezTo>
                    <a:pt x="250" y="144"/>
                    <a:pt x="250" y="144"/>
                    <a:pt x="250" y="144"/>
                  </a:cubicBezTo>
                  <a:cubicBezTo>
                    <a:pt x="250" y="179"/>
                    <a:pt x="250" y="179"/>
                    <a:pt x="250" y="179"/>
                  </a:cubicBezTo>
                  <a:cubicBezTo>
                    <a:pt x="239" y="163"/>
                    <a:pt x="239" y="163"/>
                    <a:pt x="239" y="163"/>
                  </a:cubicBezTo>
                  <a:cubicBezTo>
                    <a:pt x="239" y="129"/>
                    <a:pt x="239" y="129"/>
                    <a:pt x="239" y="129"/>
                  </a:cubicBezTo>
                  <a:close/>
                  <a:moveTo>
                    <a:pt x="250" y="259"/>
                  </a:moveTo>
                  <a:cubicBezTo>
                    <a:pt x="239" y="266"/>
                    <a:pt x="239" y="266"/>
                    <a:pt x="239" y="266"/>
                  </a:cubicBezTo>
                  <a:cubicBezTo>
                    <a:pt x="239" y="243"/>
                    <a:pt x="239" y="243"/>
                    <a:pt x="239" y="243"/>
                  </a:cubicBezTo>
                  <a:cubicBezTo>
                    <a:pt x="240" y="244"/>
                    <a:pt x="240" y="244"/>
                    <a:pt x="240" y="244"/>
                  </a:cubicBezTo>
                  <a:cubicBezTo>
                    <a:pt x="250" y="236"/>
                    <a:pt x="250" y="236"/>
                    <a:pt x="250" y="236"/>
                  </a:cubicBezTo>
                  <a:cubicBezTo>
                    <a:pt x="250" y="259"/>
                    <a:pt x="250" y="259"/>
                    <a:pt x="250" y="259"/>
                  </a:cubicBezTo>
                  <a:close/>
                  <a:moveTo>
                    <a:pt x="250" y="186"/>
                  </a:moveTo>
                  <a:cubicBezTo>
                    <a:pt x="250" y="201"/>
                    <a:pt x="250" y="201"/>
                    <a:pt x="250" y="201"/>
                  </a:cubicBezTo>
                  <a:cubicBezTo>
                    <a:pt x="249" y="202"/>
                    <a:pt x="249" y="202"/>
                    <a:pt x="249" y="202"/>
                  </a:cubicBezTo>
                  <a:cubicBezTo>
                    <a:pt x="250" y="204"/>
                    <a:pt x="250" y="204"/>
                    <a:pt x="250" y="204"/>
                  </a:cubicBezTo>
                  <a:cubicBezTo>
                    <a:pt x="250" y="234"/>
                    <a:pt x="250" y="234"/>
                    <a:pt x="250" y="234"/>
                  </a:cubicBezTo>
                  <a:cubicBezTo>
                    <a:pt x="239" y="218"/>
                    <a:pt x="239" y="218"/>
                    <a:pt x="239" y="218"/>
                  </a:cubicBezTo>
                  <a:cubicBezTo>
                    <a:pt x="239" y="188"/>
                    <a:pt x="239" y="188"/>
                    <a:pt x="239" y="188"/>
                  </a:cubicBezTo>
                  <a:cubicBezTo>
                    <a:pt x="242" y="192"/>
                    <a:pt x="242" y="192"/>
                    <a:pt x="242" y="192"/>
                  </a:cubicBezTo>
                  <a:lnTo>
                    <a:pt x="250" y="186"/>
                  </a:lnTo>
                  <a:close/>
                  <a:moveTo>
                    <a:pt x="224" y="107"/>
                  </a:moveTo>
                  <a:cubicBezTo>
                    <a:pt x="226" y="110"/>
                    <a:pt x="226" y="110"/>
                    <a:pt x="226" y="110"/>
                  </a:cubicBezTo>
                  <a:cubicBezTo>
                    <a:pt x="239" y="129"/>
                    <a:pt x="239" y="129"/>
                    <a:pt x="239" y="129"/>
                  </a:cubicBezTo>
                  <a:cubicBezTo>
                    <a:pt x="239" y="163"/>
                    <a:pt x="239" y="163"/>
                    <a:pt x="239" y="163"/>
                  </a:cubicBezTo>
                  <a:cubicBezTo>
                    <a:pt x="237" y="160"/>
                    <a:pt x="237" y="160"/>
                    <a:pt x="237" y="160"/>
                  </a:cubicBezTo>
                  <a:cubicBezTo>
                    <a:pt x="233" y="162"/>
                    <a:pt x="229" y="165"/>
                    <a:pt x="225" y="168"/>
                  </a:cubicBezTo>
                  <a:cubicBezTo>
                    <a:pt x="239" y="188"/>
                    <a:pt x="239" y="188"/>
                    <a:pt x="239" y="188"/>
                  </a:cubicBezTo>
                  <a:cubicBezTo>
                    <a:pt x="239" y="218"/>
                    <a:pt x="239" y="218"/>
                    <a:pt x="239" y="218"/>
                  </a:cubicBezTo>
                  <a:cubicBezTo>
                    <a:pt x="235" y="212"/>
                    <a:pt x="235" y="212"/>
                    <a:pt x="235" y="212"/>
                  </a:cubicBezTo>
                  <a:cubicBezTo>
                    <a:pt x="224" y="219"/>
                    <a:pt x="224" y="219"/>
                    <a:pt x="224" y="219"/>
                  </a:cubicBezTo>
                  <a:cubicBezTo>
                    <a:pt x="224" y="153"/>
                    <a:pt x="224" y="153"/>
                    <a:pt x="224" y="153"/>
                  </a:cubicBezTo>
                  <a:cubicBezTo>
                    <a:pt x="229" y="149"/>
                    <a:pt x="229" y="149"/>
                    <a:pt x="229" y="149"/>
                  </a:cubicBezTo>
                  <a:cubicBezTo>
                    <a:pt x="224" y="142"/>
                    <a:pt x="224" y="142"/>
                    <a:pt x="224" y="142"/>
                  </a:cubicBezTo>
                  <a:cubicBezTo>
                    <a:pt x="224" y="107"/>
                    <a:pt x="224" y="107"/>
                    <a:pt x="224" y="107"/>
                  </a:cubicBezTo>
                  <a:close/>
                  <a:moveTo>
                    <a:pt x="239" y="266"/>
                  </a:moveTo>
                  <a:cubicBezTo>
                    <a:pt x="224" y="277"/>
                    <a:pt x="224" y="277"/>
                    <a:pt x="224" y="277"/>
                  </a:cubicBezTo>
                  <a:cubicBezTo>
                    <a:pt x="224" y="255"/>
                    <a:pt x="224" y="255"/>
                    <a:pt x="224" y="255"/>
                  </a:cubicBezTo>
                  <a:cubicBezTo>
                    <a:pt x="225" y="254"/>
                    <a:pt x="225" y="254"/>
                    <a:pt x="225" y="254"/>
                  </a:cubicBezTo>
                  <a:cubicBezTo>
                    <a:pt x="224" y="252"/>
                    <a:pt x="224" y="252"/>
                    <a:pt x="224" y="252"/>
                  </a:cubicBezTo>
                  <a:cubicBezTo>
                    <a:pt x="224" y="222"/>
                    <a:pt x="224" y="222"/>
                    <a:pt x="224" y="222"/>
                  </a:cubicBezTo>
                  <a:cubicBezTo>
                    <a:pt x="239" y="243"/>
                    <a:pt x="239" y="243"/>
                    <a:pt x="239" y="243"/>
                  </a:cubicBezTo>
                  <a:lnTo>
                    <a:pt x="239" y="266"/>
                  </a:lnTo>
                  <a:close/>
                  <a:moveTo>
                    <a:pt x="215" y="95"/>
                  </a:moveTo>
                  <a:cubicBezTo>
                    <a:pt x="224" y="107"/>
                    <a:pt x="224" y="107"/>
                    <a:pt x="224" y="107"/>
                  </a:cubicBezTo>
                  <a:cubicBezTo>
                    <a:pt x="224" y="142"/>
                    <a:pt x="224" y="142"/>
                    <a:pt x="224" y="142"/>
                  </a:cubicBezTo>
                  <a:cubicBezTo>
                    <a:pt x="215" y="129"/>
                    <a:pt x="215" y="129"/>
                    <a:pt x="215" y="129"/>
                  </a:cubicBezTo>
                  <a:cubicBezTo>
                    <a:pt x="215" y="95"/>
                    <a:pt x="215" y="95"/>
                    <a:pt x="215" y="95"/>
                  </a:cubicBezTo>
                  <a:close/>
                  <a:moveTo>
                    <a:pt x="224" y="277"/>
                  </a:moveTo>
                  <a:cubicBezTo>
                    <a:pt x="215" y="283"/>
                    <a:pt x="215" y="283"/>
                    <a:pt x="215" y="283"/>
                  </a:cubicBezTo>
                  <a:cubicBezTo>
                    <a:pt x="215" y="261"/>
                    <a:pt x="215" y="261"/>
                    <a:pt x="215" y="261"/>
                  </a:cubicBezTo>
                  <a:cubicBezTo>
                    <a:pt x="224" y="255"/>
                    <a:pt x="224" y="255"/>
                    <a:pt x="224" y="255"/>
                  </a:cubicBezTo>
                  <a:cubicBezTo>
                    <a:pt x="224" y="277"/>
                    <a:pt x="224" y="277"/>
                    <a:pt x="224" y="277"/>
                  </a:cubicBezTo>
                  <a:close/>
                  <a:moveTo>
                    <a:pt x="224" y="153"/>
                  </a:moveTo>
                  <a:cubicBezTo>
                    <a:pt x="224" y="219"/>
                    <a:pt x="224" y="219"/>
                    <a:pt x="224" y="219"/>
                  </a:cubicBezTo>
                  <a:cubicBezTo>
                    <a:pt x="223" y="220"/>
                    <a:pt x="223" y="220"/>
                    <a:pt x="223" y="220"/>
                  </a:cubicBezTo>
                  <a:cubicBezTo>
                    <a:pt x="224" y="222"/>
                    <a:pt x="224" y="222"/>
                    <a:pt x="224" y="222"/>
                  </a:cubicBezTo>
                  <a:cubicBezTo>
                    <a:pt x="224" y="252"/>
                    <a:pt x="224" y="252"/>
                    <a:pt x="224" y="252"/>
                  </a:cubicBezTo>
                  <a:cubicBezTo>
                    <a:pt x="215" y="240"/>
                    <a:pt x="215" y="240"/>
                    <a:pt x="215" y="240"/>
                  </a:cubicBezTo>
                  <a:cubicBezTo>
                    <a:pt x="215" y="154"/>
                    <a:pt x="215" y="154"/>
                    <a:pt x="215" y="154"/>
                  </a:cubicBezTo>
                  <a:cubicBezTo>
                    <a:pt x="218" y="158"/>
                    <a:pt x="218" y="158"/>
                    <a:pt x="218" y="158"/>
                  </a:cubicBezTo>
                  <a:lnTo>
                    <a:pt x="224" y="153"/>
                  </a:lnTo>
                  <a:close/>
                  <a:moveTo>
                    <a:pt x="202" y="76"/>
                  </a:moveTo>
                  <a:cubicBezTo>
                    <a:pt x="215" y="95"/>
                    <a:pt x="215" y="95"/>
                    <a:pt x="215" y="95"/>
                  </a:cubicBezTo>
                  <a:cubicBezTo>
                    <a:pt x="215" y="129"/>
                    <a:pt x="215" y="129"/>
                    <a:pt x="215" y="129"/>
                  </a:cubicBezTo>
                  <a:cubicBezTo>
                    <a:pt x="213" y="126"/>
                    <a:pt x="213" y="126"/>
                    <a:pt x="213" y="126"/>
                  </a:cubicBezTo>
                  <a:cubicBezTo>
                    <a:pt x="202" y="133"/>
                    <a:pt x="202" y="133"/>
                    <a:pt x="202" y="133"/>
                  </a:cubicBezTo>
                  <a:cubicBezTo>
                    <a:pt x="202" y="118"/>
                    <a:pt x="202" y="118"/>
                    <a:pt x="202" y="118"/>
                  </a:cubicBezTo>
                  <a:cubicBezTo>
                    <a:pt x="206" y="115"/>
                    <a:pt x="206" y="115"/>
                    <a:pt x="206" y="115"/>
                  </a:cubicBezTo>
                  <a:cubicBezTo>
                    <a:pt x="202" y="111"/>
                    <a:pt x="202" y="111"/>
                    <a:pt x="202" y="111"/>
                  </a:cubicBezTo>
                  <a:cubicBezTo>
                    <a:pt x="202" y="76"/>
                    <a:pt x="202" y="76"/>
                    <a:pt x="202" y="76"/>
                  </a:cubicBezTo>
                  <a:close/>
                  <a:moveTo>
                    <a:pt x="215" y="283"/>
                  </a:moveTo>
                  <a:cubicBezTo>
                    <a:pt x="202" y="292"/>
                    <a:pt x="202" y="292"/>
                    <a:pt x="202" y="292"/>
                  </a:cubicBezTo>
                  <a:cubicBezTo>
                    <a:pt x="202" y="246"/>
                    <a:pt x="202" y="246"/>
                    <a:pt x="202" y="246"/>
                  </a:cubicBezTo>
                  <a:cubicBezTo>
                    <a:pt x="213" y="262"/>
                    <a:pt x="213" y="262"/>
                    <a:pt x="213" y="262"/>
                  </a:cubicBezTo>
                  <a:cubicBezTo>
                    <a:pt x="215" y="261"/>
                    <a:pt x="215" y="261"/>
                    <a:pt x="215" y="261"/>
                  </a:cubicBezTo>
                  <a:cubicBezTo>
                    <a:pt x="215" y="283"/>
                    <a:pt x="215" y="283"/>
                    <a:pt x="215" y="283"/>
                  </a:cubicBezTo>
                  <a:close/>
                  <a:moveTo>
                    <a:pt x="215" y="154"/>
                  </a:moveTo>
                  <a:cubicBezTo>
                    <a:pt x="215" y="240"/>
                    <a:pt x="215" y="240"/>
                    <a:pt x="215" y="240"/>
                  </a:cubicBezTo>
                  <a:cubicBezTo>
                    <a:pt x="209" y="230"/>
                    <a:pt x="209" y="230"/>
                    <a:pt x="209" y="230"/>
                  </a:cubicBezTo>
                  <a:cubicBezTo>
                    <a:pt x="202" y="235"/>
                    <a:pt x="202" y="235"/>
                    <a:pt x="202" y="235"/>
                  </a:cubicBezTo>
                  <a:cubicBezTo>
                    <a:pt x="202" y="168"/>
                    <a:pt x="202" y="168"/>
                    <a:pt x="202" y="168"/>
                  </a:cubicBezTo>
                  <a:cubicBezTo>
                    <a:pt x="203" y="168"/>
                    <a:pt x="203" y="168"/>
                    <a:pt x="203" y="168"/>
                  </a:cubicBezTo>
                  <a:cubicBezTo>
                    <a:pt x="202" y="166"/>
                    <a:pt x="202" y="166"/>
                    <a:pt x="202" y="166"/>
                  </a:cubicBezTo>
                  <a:cubicBezTo>
                    <a:pt x="202" y="136"/>
                    <a:pt x="202" y="136"/>
                    <a:pt x="202" y="136"/>
                  </a:cubicBezTo>
                  <a:lnTo>
                    <a:pt x="215" y="154"/>
                  </a:lnTo>
                  <a:close/>
                  <a:moveTo>
                    <a:pt x="198" y="70"/>
                  </a:moveTo>
                  <a:cubicBezTo>
                    <a:pt x="202" y="76"/>
                    <a:pt x="202" y="76"/>
                    <a:pt x="202" y="76"/>
                  </a:cubicBezTo>
                  <a:cubicBezTo>
                    <a:pt x="202" y="111"/>
                    <a:pt x="202" y="111"/>
                    <a:pt x="202" y="111"/>
                  </a:cubicBezTo>
                  <a:cubicBezTo>
                    <a:pt x="198" y="104"/>
                    <a:pt x="198" y="104"/>
                    <a:pt x="198" y="104"/>
                  </a:cubicBezTo>
                  <a:cubicBezTo>
                    <a:pt x="198" y="70"/>
                    <a:pt x="198" y="70"/>
                    <a:pt x="198" y="70"/>
                  </a:cubicBezTo>
                  <a:close/>
                  <a:moveTo>
                    <a:pt x="202" y="292"/>
                  </a:moveTo>
                  <a:cubicBezTo>
                    <a:pt x="198" y="295"/>
                    <a:pt x="198" y="295"/>
                    <a:pt x="198" y="295"/>
                  </a:cubicBezTo>
                  <a:cubicBezTo>
                    <a:pt x="198" y="273"/>
                    <a:pt x="198" y="273"/>
                    <a:pt x="198" y="273"/>
                  </a:cubicBezTo>
                  <a:cubicBezTo>
                    <a:pt x="199" y="272"/>
                    <a:pt x="199" y="272"/>
                    <a:pt x="199" y="272"/>
                  </a:cubicBezTo>
                  <a:cubicBezTo>
                    <a:pt x="198" y="270"/>
                    <a:pt x="198" y="270"/>
                    <a:pt x="198" y="270"/>
                  </a:cubicBezTo>
                  <a:cubicBezTo>
                    <a:pt x="198" y="240"/>
                    <a:pt x="198" y="240"/>
                    <a:pt x="198" y="240"/>
                  </a:cubicBezTo>
                  <a:cubicBezTo>
                    <a:pt x="202" y="246"/>
                    <a:pt x="202" y="246"/>
                    <a:pt x="202" y="246"/>
                  </a:cubicBezTo>
                  <a:cubicBezTo>
                    <a:pt x="202" y="292"/>
                    <a:pt x="202" y="292"/>
                    <a:pt x="202" y="292"/>
                  </a:cubicBezTo>
                  <a:close/>
                  <a:moveTo>
                    <a:pt x="202" y="118"/>
                  </a:moveTo>
                  <a:cubicBezTo>
                    <a:pt x="202" y="133"/>
                    <a:pt x="202" y="133"/>
                    <a:pt x="202" y="133"/>
                  </a:cubicBezTo>
                  <a:cubicBezTo>
                    <a:pt x="201" y="134"/>
                    <a:pt x="201" y="134"/>
                    <a:pt x="201" y="134"/>
                  </a:cubicBezTo>
                  <a:cubicBezTo>
                    <a:pt x="202" y="136"/>
                    <a:pt x="202" y="136"/>
                    <a:pt x="202" y="136"/>
                  </a:cubicBezTo>
                  <a:cubicBezTo>
                    <a:pt x="202" y="166"/>
                    <a:pt x="202" y="166"/>
                    <a:pt x="202" y="166"/>
                  </a:cubicBezTo>
                  <a:cubicBezTo>
                    <a:pt x="198" y="160"/>
                    <a:pt x="198" y="160"/>
                    <a:pt x="198" y="160"/>
                  </a:cubicBezTo>
                  <a:cubicBezTo>
                    <a:pt x="198" y="121"/>
                    <a:pt x="198" y="121"/>
                    <a:pt x="198" y="121"/>
                  </a:cubicBezTo>
                  <a:cubicBezTo>
                    <a:pt x="202" y="118"/>
                    <a:pt x="202" y="118"/>
                    <a:pt x="202" y="118"/>
                  </a:cubicBezTo>
                  <a:close/>
                  <a:moveTo>
                    <a:pt x="202" y="168"/>
                  </a:moveTo>
                  <a:cubicBezTo>
                    <a:pt x="202" y="235"/>
                    <a:pt x="202" y="235"/>
                    <a:pt x="202" y="235"/>
                  </a:cubicBezTo>
                  <a:cubicBezTo>
                    <a:pt x="198" y="238"/>
                    <a:pt x="198" y="238"/>
                    <a:pt x="198" y="238"/>
                  </a:cubicBezTo>
                  <a:cubicBezTo>
                    <a:pt x="198" y="222"/>
                    <a:pt x="198" y="222"/>
                    <a:pt x="198" y="222"/>
                  </a:cubicBezTo>
                  <a:cubicBezTo>
                    <a:pt x="201" y="220"/>
                    <a:pt x="201" y="220"/>
                    <a:pt x="201" y="220"/>
                  </a:cubicBezTo>
                  <a:cubicBezTo>
                    <a:pt x="198" y="215"/>
                    <a:pt x="198" y="215"/>
                    <a:pt x="198" y="215"/>
                  </a:cubicBezTo>
                  <a:cubicBezTo>
                    <a:pt x="198" y="171"/>
                    <a:pt x="198" y="171"/>
                    <a:pt x="198" y="171"/>
                  </a:cubicBezTo>
                  <a:lnTo>
                    <a:pt x="202" y="168"/>
                  </a:lnTo>
                  <a:close/>
                  <a:moveTo>
                    <a:pt x="191" y="61"/>
                  </a:moveTo>
                  <a:cubicBezTo>
                    <a:pt x="198" y="70"/>
                    <a:pt x="198" y="70"/>
                    <a:pt x="198" y="70"/>
                  </a:cubicBezTo>
                  <a:cubicBezTo>
                    <a:pt x="198" y="104"/>
                    <a:pt x="198" y="104"/>
                    <a:pt x="198" y="104"/>
                  </a:cubicBezTo>
                  <a:cubicBezTo>
                    <a:pt x="191" y="95"/>
                    <a:pt x="191" y="95"/>
                    <a:pt x="191" y="95"/>
                  </a:cubicBezTo>
                  <a:cubicBezTo>
                    <a:pt x="191" y="61"/>
                    <a:pt x="191" y="61"/>
                    <a:pt x="191" y="61"/>
                  </a:cubicBezTo>
                  <a:close/>
                  <a:moveTo>
                    <a:pt x="198" y="295"/>
                  </a:moveTo>
                  <a:cubicBezTo>
                    <a:pt x="191" y="300"/>
                    <a:pt x="191" y="300"/>
                    <a:pt x="191" y="300"/>
                  </a:cubicBezTo>
                  <a:cubicBezTo>
                    <a:pt x="191" y="278"/>
                    <a:pt x="191" y="278"/>
                    <a:pt x="191" y="278"/>
                  </a:cubicBezTo>
                  <a:cubicBezTo>
                    <a:pt x="198" y="273"/>
                    <a:pt x="198" y="273"/>
                    <a:pt x="198" y="273"/>
                  </a:cubicBezTo>
                  <a:cubicBezTo>
                    <a:pt x="198" y="295"/>
                    <a:pt x="198" y="295"/>
                    <a:pt x="198" y="295"/>
                  </a:cubicBezTo>
                  <a:close/>
                  <a:moveTo>
                    <a:pt x="198" y="121"/>
                  </a:moveTo>
                  <a:cubicBezTo>
                    <a:pt x="198" y="160"/>
                    <a:pt x="198" y="160"/>
                    <a:pt x="198" y="160"/>
                  </a:cubicBezTo>
                  <a:cubicBezTo>
                    <a:pt x="191" y="150"/>
                    <a:pt x="191" y="150"/>
                    <a:pt x="191" y="150"/>
                  </a:cubicBezTo>
                  <a:cubicBezTo>
                    <a:pt x="191" y="120"/>
                    <a:pt x="191" y="120"/>
                    <a:pt x="191" y="120"/>
                  </a:cubicBezTo>
                  <a:cubicBezTo>
                    <a:pt x="194" y="124"/>
                    <a:pt x="194" y="124"/>
                    <a:pt x="194" y="124"/>
                  </a:cubicBezTo>
                  <a:cubicBezTo>
                    <a:pt x="198" y="121"/>
                    <a:pt x="198" y="121"/>
                    <a:pt x="198" y="121"/>
                  </a:cubicBezTo>
                  <a:close/>
                  <a:moveTo>
                    <a:pt x="198" y="171"/>
                  </a:moveTo>
                  <a:cubicBezTo>
                    <a:pt x="198" y="215"/>
                    <a:pt x="198" y="215"/>
                    <a:pt x="198" y="215"/>
                  </a:cubicBezTo>
                  <a:cubicBezTo>
                    <a:pt x="191" y="206"/>
                    <a:pt x="191" y="206"/>
                    <a:pt x="191" y="206"/>
                  </a:cubicBezTo>
                  <a:cubicBezTo>
                    <a:pt x="191" y="175"/>
                    <a:pt x="191" y="175"/>
                    <a:pt x="191" y="175"/>
                  </a:cubicBezTo>
                  <a:cubicBezTo>
                    <a:pt x="192" y="176"/>
                    <a:pt x="192" y="176"/>
                    <a:pt x="192" y="176"/>
                  </a:cubicBezTo>
                  <a:cubicBezTo>
                    <a:pt x="198" y="171"/>
                    <a:pt x="198" y="171"/>
                    <a:pt x="198" y="171"/>
                  </a:cubicBezTo>
                  <a:close/>
                  <a:moveTo>
                    <a:pt x="198" y="222"/>
                  </a:moveTo>
                  <a:cubicBezTo>
                    <a:pt x="198" y="238"/>
                    <a:pt x="198" y="238"/>
                    <a:pt x="198" y="238"/>
                  </a:cubicBezTo>
                  <a:cubicBezTo>
                    <a:pt x="197" y="239"/>
                    <a:pt x="197" y="239"/>
                    <a:pt x="197" y="239"/>
                  </a:cubicBezTo>
                  <a:cubicBezTo>
                    <a:pt x="198" y="240"/>
                    <a:pt x="198" y="240"/>
                    <a:pt x="198" y="240"/>
                  </a:cubicBezTo>
                  <a:cubicBezTo>
                    <a:pt x="198" y="270"/>
                    <a:pt x="198" y="270"/>
                    <a:pt x="198" y="270"/>
                  </a:cubicBezTo>
                  <a:cubicBezTo>
                    <a:pt x="191" y="261"/>
                    <a:pt x="191" y="261"/>
                    <a:pt x="191" y="261"/>
                  </a:cubicBezTo>
                  <a:cubicBezTo>
                    <a:pt x="191" y="227"/>
                    <a:pt x="191" y="227"/>
                    <a:pt x="191" y="227"/>
                  </a:cubicBezTo>
                  <a:lnTo>
                    <a:pt x="198" y="222"/>
                  </a:lnTo>
                  <a:close/>
                  <a:moveTo>
                    <a:pt x="178" y="42"/>
                  </a:moveTo>
                  <a:cubicBezTo>
                    <a:pt x="191" y="61"/>
                    <a:pt x="191" y="61"/>
                    <a:pt x="191" y="61"/>
                  </a:cubicBezTo>
                  <a:cubicBezTo>
                    <a:pt x="191" y="95"/>
                    <a:pt x="191" y="95"/>
                    <a:pt x="191" y="95"/>
                  </a:cubicBezTo>
                  <a:cubicBezTo>
                    <a:pt x="189" y="92"/>
                    <a:pt x="189" y="92"/>
                    <a:pt x="189" y="92"/>
                  </a:cubicBezTo>
                  <a:cubicBezTo>
                    <a:pt x="178" y="99"/>
                    <a:pt x="178" y="99"/>
                    <a:pt x="178" y="99"/>
                  </a:cubicBezTo>
                  <a:cubicBezTo>
                    <a:pt x="178" y="84"/>
                    <a:pt x="178" y="84"/>
                    <a:pt x="178" y="84"/>
                  </a:cubicBezTo>
                  <a:cubicBezTo>
                    <a:pt x="182" y="81"/>
                    <a:pt x="182" y="81"/>
                    <a:pt x="182" y="81"/>
                  </a:cubicBezTo>
                  <a:cubicBezTo>
                    <a:pt x="178" y="77"/>
                    <a:pt x="178" y="77"/>
                    <a:pt x="178" y="77"/>
                  </a:cubicBezTo>
                  <a:cubicBezTo>
                    <a:pt x="178" y="42"/>
                    <a:pt x="178" y="42"/>
                    <a:pt x="178" y="42"/>
                  </a:cubicBezTo>
                  <a:close/>
                  <a:moveTo>
                    <a:pt x="191" y="300"/>
                  </a:moveTo>
                  <a:cubicBezTo>
                    <a:pt x="178" y="309"/>
                    <a:pt x="178" y="309"/>
                    <a:pt x="178" y="309"/>
                  </a:cubicBezTo>
                  <a:cubicBezTo>
                    <a:pt x="178" y="268"/>
                    <a:pt x="178" y="268"/>
                    <a:pt x="178" y="268"/>
                  </a:cubicBezTo>
                  <a:cubicBezTo>
                    <a:pt x="187" y="281"/>
                    <a:pt x="187" y="281"/>
                    <a:pt x="187" y="281"/>
                  </a:cubicBezTo>
                  <a:cubicBezTo>
                    <a:pt x="191" y="278"/>
                    <a:pt x="191" y="278"/>
                    <a:pt x="191" y="278"/>
                  </a:cubicBezTo>
                  <a:cubicBezTo>
                    <a:pt x="191" y="300"/>
                    <a:pt x="191" y="300"/>
                    <a:pt x="191" y="300"/>
                  </a:cubicBezTo>
                  <a:close/>
                  <a:moveTo>
                    <a:pt x="191" y="120"/>
                  </a:moveTo>
                  <a:cubicBezTo>
                    <a:pt x="191" y="150"/>
                    <a:pt x="191" y="150"/>
                    <a:pt x="191" y="150"/>
                  </a:cubicBezTo>
                  <a:cubicBezTo>
                    <a:pt x="187" y="144"/>
                    <a:pt x="187" y="144"/>
                    <a:pt x="187" y="144"/>
                  </a:cubicBezTo>
                  <a:cubicBezTo>
                    <a:pt x="178" y="150"/>
                    <a:pt x="178" y="150"/>
                    <a:pt x="178" y="150"/>
                  </a:cubicBezTo>
                  <a:cubicBezTo>
                    <a:pt x="178" y="134"/>
                    <a:pt x="178" y="134"/>
                    <a:pt x="178" y="134"/>
                  </a:cubicBezTo>
                  <a:cubicBezTo>
                    <a:pt x="180" y="134"/>
                    <a:pt x="180" y="134"/>
                    <a:pt x="180" y="134"/>
                  </a:cubicBezTo>
                  <a:cubicBezTo>
                    <a:pt x="178" y="132"/>
                    <a:pt x="178" y="132"/>
                    <a:pt x="178" y="132"/>
                  </a:cubicBezTo>
                  <a:cubicBezTo>
                    <a:pt x="178" y="102"/>
                    <a:pt x="178" y="102"/>
                    <a:pt x="178" y="102"/>
                  </a:cubicBezTo>
                  <a:cubicBezTo>
                    <a:pt x="191" y="120"/>
                    <a:pt x="191" y="120"/>
                    <a:pt x="191" y="120"/>
                  </a:cubicBezTo>
                  <a:close/>
                  <a:moveTo>
                    <a:pt x="191" y="175"/>
                  </a:moveTo>
                  <a:cubicBezTo>
                    <a:pt x="191" y="206"/>
                    <a:pt x="191" y="206"/>
                    <a:pt x="191" y="206"/>
                  </a:cubicBezTo>
                  <a:cubicBezTo>
                    <a:pt x="185" y="196"/>
                    <a:pt x="185" y="196"/>
                    <a:pt x="185" y="196"/>
                  </a:cubicBezTo>
                  <a:cubicBezTo>
                    <a:pt x="178" y="201"/>
                    <a:pt x="178" y="201"/>
                    <a:pt x="178" y="201"/>
                  </a:cubicBezTo>
                  <a:cubicBezTo>
                    <a:pt x="178" y="157"/>
                    <a:pt x="178" y="157"/>
                    <a:pt x="178" y="157"/>
                  </a:cubicBezTo>
                  <a:cubicBezTo>
                    <a:pt x="191" y="175"/>
                    <a:pt x="191" y="175"/>
                    <a:pt x="191" y="175"/>
                  </a:cubicBezTo>
                  <a:close/>
                  <a:moveTo>
                    <a:pt x="191" y="227"/>
                  </a:moveTo>
                  <a:cubicBezTo>
                    <a:pt x="191" y="261"/>
                    <a:pt x="191" y="261"/>
                    <a:pt x="191" y="261"/>
                  </a:cubicBezTo>
                  <a:cubicBezTo>
                    <a:pt x="183" y="249"/>
                    <a:pt x="183" y="249"/>
                    <a:pt x="183" y="249"/>
                  </a:cubicBezTo>
                  <a:cubicBezTo>
                    <a:pt x="178" y="251"/>
                    <a:pt x="178" y="251"/>
                    <a:pt x="178" y="251"/>
                  </a:cubicBezTo>
                  <a:cubicBezTo>
                    <a:pt x="178" y="212"/>
                    <a:pt x="178" y="212"/>
                    <a:pt x="178" y="212"/>
                  </a:cubicBezTo>
                  <a:cubicBezTo>
                    <a:pt x="189" y="228"/>
                    <a:pt x="189" y="228"/>
                    <a:pt x="189" y="228"/>
                  </a:cubicBezTo>
                  <a:lnTo>
                    <a:pt x="191" y="227"/>
                  </a:lnTo>
                  <a:close/>
                  <a:moveTo>
                    <a:pt x="176" y="39"/>
                  </a:moveTo>
                  <a:cubicBezTo>
                    <a:pt x="178" y="42"/>
                    <a:pt x="178" y="42"/>
                    <a:pt x="178" y="42"/>
                  </a:cubicBezTo>
                  <a:cubicBezTo>
                    <a:pt x="178" y="77"/>
                    <a:pt x="178" y="77"/>
                    <a:pt x="178" y="77"/>
                  </a:cubicBezTo>
                  <a:cubicBezTo>
                    <a:pt x="176" y="73"/>
                    <a:pt x="176" y="73"/>
                    <a:pt x="176" y="73"/>
                  </a:cubicBezTo>
                  <a:cubicBezTo>
                    <a:pt x="176" y="39"/>
                    <a:pt x="176" y="39"/>
                    <a:pt x="176" y="39"/>
                  </a:cubicBezTo>
                  <a:close/>
                  <a:moveTo>
                    <a:pt x="178" y="309"/>
                  </a:moveTo>
                  <a:cubicBezTo>
                    <a:pt x="176" y="311"/>
                    <a:pt x="176" y="311"/>
                    <a:pt x="176" y="311"/>
                  </a:cubicBezTo>
                  <a:cubicBezTo>
                    <a:pt x="176" y="265"/>
                    <a:pt x="176" y="265"/>
                    <a:pt x="176" y="265"/>
                  </a:cubicBezTo>
                  <a:cubicBezTo>
                    <a:pt x="178" y="268"/>
                    <a:pt x="178" y="268"/>
                    <a:pt x="178" y="268"/>
                  </a:cubicBezTo>
                  <a:cubicBezTo>
                    <a:pt x="178" y="309"/>
                    <a:pt x="178" y="309"/>
                    <a:pt x="178" y="309"/>
                  </a:cubicBezTo>
                  <a:close/>
                  <a:moveTo>
                    <a:pt x="178" y="84"/>
                  </a:moveTo>
                  <a:cubicBezTo>
                    <a:pt x="178" y="99"/>
                    <a:pt x="178" y="99"/>
                    <a:pt x="178" y="99"/>
                  </a:cubicBezTo>
                  <a:cubicBezTo>
                    <a:pt x="177" y="100"/>
                    <a:pt x="177" y="100"/>
                    <a:pt x="177" y="100"/>
                  </a:cubicBezTo>
                  <a:cubicBezTo>
                    <a:pt x="178" y="102"/>
                    <a:pt x="178" y="102"/>
                    <a:pt x="178" y="102"/>
                  </a:cubicBezTo>
                  <a:cubicBezTo>
                    <a:pt x="178" y="132"/>
                    <a:pt x="178" y="132"/>
                    <a:pt x="178" y="132"/>
                  </a:cubicBezTo>
                  <a:cubicBezTo>
                    <a:pt x="176" y="129"/>
                    <a:pt x="176" y="129"/>
                    <a:pt x="176" y="129"/>
                  </a:cubicBezTo>
                  <a:cubicBezTo>
                    <a:pt x="176" y="85"/>
                    <a:pt x="176" y="85"/>
                    <a:pt x="176" y="85"/>
                  </a:cubicBezTo>
                  <a:cubicBezTo>
                    <a:pt x="178" y="84"/>
                    <a:pt x="178" y="84"/>
                    <a:pt x="178" y="84"/>
                  </a:cubicBezTo>
                  <a:close/>
                  <a:moveTo>
                    <a:pt x="178" y="134"/>
                  </a:moveTo>
                  <a:cubicBezTo>
                    <a:pt x="178" y="150"/>
                    <a:pt x="178" y="150"/>
                    <a:pt x="178" y="150"/>
                  </a:cubicBezTo>
                  <a:cubicBezTo>
                    <a:pt x="176" y="151"/>
                    <a:pt x="176" y="151"/>
                    <a:pt x="176" y="151"/>
                  </a:cubicBezTo>
                  <a:cubicBezTo>
                    <a:pt x="176" y="136"/>
                    <a:pt x="176" y="136"/>
                    <a:pt x="176" y="136"/>
                  </a:cubicBezTo>
                  <a:cubicBezTo>
                    <a:pt x="178" y="134"/>
                    <a:pt x="178" y="134"/>
                    <a:pt x="178" y="134"/>
                  </a:cubicBezTo>
                  <a:close/>
                  <a:moveTo>
                    <a:pt x="178" y="157"/>
                  </a:moveTo>
                  <a:cubicBezTo>
                    <a:pt x="178" y="201"/>
                    <a:pt x="178" y="201"/>
                    <a:pt x="178" y="201"/>
                  </a:cubicBezTo>
                  <a:cubicBezTo>
                    <a:pt x="176" y="202"/>
                    <a:pt x="176" y="202"/>
                    <a:pt x="176" y="202"/>
                  </a:cubicBezTo>
                  <a:cubicBezTo>
                    <a:pt x="176" y="187"/>
                    <a:pt x="176" y="187"/>
                    <a:pt x="176" y="187"/>
                  </a:cubicBezTo>
                  <a:cubicBezTo>
                    <a:pt x="177" y="186"/>
                    <a:pt x="177" y="186"/>
                    <a:pt x="177" y="186"/>
                  </a:cubicBezTo>
                  <a:cubicBezTo>
                    <a:pt x="176" y="184"/>
                    <a:pt x="176" y="184"/>
                    <a:pt x="176" y="184"/>
                  </a:cubicBezTo>
                  <a:cubicBezTo>
                    <a:pt x="176" y="154"/>
                    <a:pt x="176" y="154"/>
                    <a:pt x="176" y="154"/>
                  </a:cubicBezTo>
                  <a:cubicBezTo>
                    <a:pt x="178" y="157"/>
                    <a:pt x="178" y="157"/>
                    <a:pt x="178" y="157"/>
                  </a:cubicBezTo>
                  <a:close/>
                  <a:moveTo>
                    <a:pt x="178" y="212"/>
                  </a:moveTo>
                  <a:cubicBezTo>
                    <a:pt x="178" y="251"/>
                    <a:pt x="178" y="251"/>
                    <a:pt x="178" y="251"/>
                  </a:cubicBezTo>
                  <a:cubicBezTo>
                    <a:pt x="176" y="253"/>
                    <a:pt x="176" y="253"/>
                    <a:pt x="176" y="253"/>
                  </a:cubicBezTo>
                  <a:cubicBezTo>
                    <a:pt x="176" y="209"/>
                    <a:pt x="176" y="209"/>
                    <a:pt x="176" y="209"/>
                  </a:cubicBezTo>
                  <a:lnTo>
                    <a:pt x="178" y="212"/>
                  </a:lnTo>
                  <a:close/>
                  <a:moveTo>
                    <a:pt x="167" y="27"/>
                  </a:moveTo>
                  <a:cubicBezTo>
                    <a:pt x="176" y="39"/>
                    <a:pt x="176" y="39"/>
                    <a:pt x="176" y="39"/>
                  </a:cubicBezTo>
                  <a:cubicBezTo>
                    <a:pt x="176" y="73"/>
                    <a:pt x="176" y="73"/>
                    <a:pt x="176" y="73"/>
                  </a:cubicBezTo>
                  <a:cubicBezTo>
                    <a:pt x="167" y="61"/>
                    <a:pt x="167" y="61"/>
                    <a:pt x="167" y="61"/>
                  </a:cubicBezTo>
                  <a:cubicBezTo>
                    <a:pt x="167" y="27"/>
                    <a:pt x="167" y="27"/>
                    <a:pt x="167" y="27"/>
                  </a:cubicBezTo>
                  <a:close/>
                  <a:moveTo>
                    <a:pt x="176" y="311"/>
                  </a:moveTo>
                  <a:cubicBezTo>
                    <a:pt x="167" y="317"/>
                    <a:pt x="167" y="317"/>
                    <a:pt x="167" y="317"/>
                  </a:cubicBezTo>
                  <a:cubicBezTo>
                    <a:pt x="167" y="193"/>
                    <a:pt x="167" y="193"/>
                    <a:pt x="167" y="193"/>
                  </a:cubicBezTo>
                  <a:cubicBezTo>
                    <a:pt x="176" y="187"/>
                    <a:pt x="176" y="187"/>
                    <a:pt x="176" y="187"/>
                  </a:cubicBezTo>
                  <a:cubicBezTo>
                    <a:pt x="176" y="202"/>
                    <a:pt x="176" y="202"/>
                    <a:pt x="176" y="202"/>
                  </a:cubicBezTo>
                  <a:cubicBezTo>
                    <a:pt x="173" y="204"/>
                    <a:pt x="173" y="204"/>
                    <a:pt x="173" y="204"/>
                  </a:cubicBezTo>
                  <a:cubicBezTo>
                    <a:pt x="176" y="209"/>
                    <a:pt x="176" y="209"/>
                    <a:pt x="176" y="209"/>
                  </a:cubicBezTo>
                  <a:cubicBezTo>
                    <a:pt x="176" y="253"/>
                    <a:pt x="176" y="253"/>
                    <a:pt x="176" y="253"/>
                  </a:cubicBezTo>
                  <a:cubicBezTo>
                    <a:pt x="171" y="257"/>
                    <a:pt x="171" y="257"/>
                    <a:pt x="171" y="257"/>
                  </a:cubicBezTo>
                  <a:cubicBezTo>
                    <a:pt x="176" y="265"/>
                    <a:pt x="176" y="265"/>
                    <a:pt x="176" y="265"/>
                  </a:cubicBezTo>
                  <a:cubicBezTo>
                    <a:pt x="176" y="311"/>
                    <a:pt x="176" y="311"/>
                    <a:pt x="176" y="311"/>
                  </a:cubicBezTo>
                  <a:close/>
                  <a:moveTo>
                    <a:pt x="176" y="85"/>
                  </a:moveTo>
                  <a:cubicBezTo>
                    <a:pt x="176" y="129"/>
                    <a:pt x="176" y="129"/>
                    <a:pt x="176" y="129"/>
                  </a:cubicBezTo>
                  <a:cubicBezTo>
                    <a:pt x="167" y="116"/>
                    <a:pt x="167" y="116"/>
                    <a:pt x="167" y="116"/>
                  </a:cubicBezTo>
                  <a:cubicBezTo>
                    <a:pt x="167" y="86"/>
                    <a:pt x="167" y="86"/>
                    <a:pt x="167" y="86"/>
                  </a:cubicBezTo>
                  <a:cubicBezTo>
                    <a:pt x="170" y="90"/>
                    <a:pt x="170" y="90"/>
                    <a:pt x="170" y="90"/>
                  </a:cubicBezTo>
                  <a:cubicBezTo>
                    <a:pt x="176" y="85"/>
                    <a:pt x="176" y="85"/>
                    <a:pt x="176" y="85"/>
                  </a:cubicBezTo>
                  <a:close/>
                  <a:moveTo>
                    <a:pt x="176" y="136"/>
                  </a:moveTo>
                  <a:cubicBezTo>
                    <a:pt x="176" y="151"/>
                    <a:pt x="176" y="151"/>
                    <a:pt x="176" y="151"/>
                  </a:cubicBezTo>
                  <a:cubicBezTo>
                    <a:pt x="175" y="152"/>
                    <a:pt x="175" y="152"/>
                    <a:pt x="175" y="152"/>
                  </a:cubicBezTo>
                  <a:cubicBezTo>
                    <a:pt x="176" y="154"/>
                    <a:pt x="176" y="154"/>
                    <a:pt x="176" y="154"/>
                  </a:cubicBezTo>
                  <a:cubicBezTo>
                    <a:pt x="176" y="184"/>
                    <a:pt x="176" y="184"/>
                    <a:pt x="176" y="184"/>
                  </a:cubicBezTo>
                  <a:cubicBezTo>
                    <a:pt x="167" y="172"/>
                    <a:pt x="167" y="172"/>
                    <a:pt x="167" y="172"/>
                  </a:cubicBezTo>
                  <a:cubicBezTo>
                    <a:pt x="167" y="141"/>
                    <a:pt x="167" y="141"/>
                    <a:pt x="167" y="141"/>
                  </a:cubicBezTo>
                  <a:cubicBezTo>
                    <a:pt x="168" y="141"/>
                    <a:pt x="168" y="142"/>
                    <a:pt x="168" y="142"/>
                  </a:cubicBezTo>
                  <a:lnTo>
                    <a:pt x="176" y="136"/>
                  </a:lnTo>
                  <a:close/>
                  <a:moveTo>
                    <a:pt x="154" y="8"/>
                  </a:moveTo>
                  <a:cubicBezTo>
                    <a:pt x="167" y="27"/>
                    <a:pt x="167" y="27"/>
                    <a:pt x="167" y="27"/>
                  </a:cubicBezTo>
                  <a:cubicBezTo>
                    <a:pt x="167" y="61"/>
                    <a:pt x="167" y="61"/>
                    <a:pt x="167" y="61"/>
                  </a:cubicBezTo>
                  <a:cubicBezTo>
                    <a:pt x="165" y="58"/>
                    <a:pt x="165" y="58"/>
                    <a:pt x="165" y="58"/>
                  </a:cubicBezTo>
                  <a:cubicBezTo>
                    <a:pt x="154" y="65"/>
                    <a:pt x="154" y="65"/>
                    <a:pt x="154" y="65"/>
                  </a:cubicBezTo>
                  <a:cubicBezTo>
                    <a:pt x="154" y="50"/>
                    <a:pt x="154" y="50"/>
                    <a:pt x="154" y="50"/>
                  </a:cubicBezTo>
                  <a:cubicBezTo>
                    <a:pt x="158" y="47"/>
                    <a:pt x="158" y="47"/>
                    <a:pt x="158" y="47"/>
                  </a:cubicBezTo>
                  <a:cubicBezTo>
                    <a:pt x="154" y="43"/>
                    <a:pt x="154" y="43"/>
                    <a:pt x="154" y="43"/>
                  </a:cubicBezTo>
                  <a:cubicBezTo>
                    <a:pt x="154" y="8"/>
                    <a:pt x="154" y="8"/>
                    <a:pt x="154" y="8"/>
                  </a:cubicBezTo>
                  <a:close/>
                  <a:moveTo>
                    <a:pt x="167" y="317"/>
                  </a:moveTo>
                  <a:cubicBezTo>
                    <a:pt x="156" y="325"/>
                    <a:pt x="156" y="325"/>
                    <a:pt x="156" y="325"/>
                  </a:cubicBezTo>
                  <a:cubicBezTo>
                    <a:pt x="154" y="324"/>
                    <a:pt x="154" y="324"/>
                    <a:pt x="154" y="324"/>
                  </a:cubicBezTo>
                  <a:cubicBezTo>
                    <a:pt x="154" y="178"/>
                    <a:pt x="154" y="178"/>
                    <a:pt x="154" y="178"/>
                  </a:cubicBezTo>
                  <a:cubicBezTo>
                    <a:pt x="166" y="194"/>
                    <a:pt x="166" y="194"/>
                    <a:pt x="166" y="194"/>
                  </a:cubicBezTo>
                  <a:cubicBezTo>
                    <a:pt x="167" y="193"/>
                    <a:pt x="167" y="193"/>
                    <a:pt x="167" y="193"/>
                  </a:cubicBezTo>
                  <a:cubicBezTo>
                    <a:pt x="167" y="317"/>
                    <a:pt x="167" y="317"/>
                    <a:pt x="167" y="317"/>
                  </a:cubicBezTo>
                  <a:close/>
                  <a:moveTo>
                    <a:pt x="167" y="86"/>
                  </a:moveTo>
                  <a:cubicBezTo>
                    <a:pt x="167" y="116"/>
                    <a:pt x="167" y="116"/>
                    <a:pt x="167" y="116"/>
                  </a:cubicBezTo>
                  <a:cubicBezTo>
                    <a:pt x="163" y="110"/>
                    <a:pt x="163" y="110"/>
                    <a:pt x="163" y="110"/>
                  </a:cubicBezTo>
                  <a:cubicBezTo>
                    <a:pt x="159" y="113"/>
                    <a:pt x="162" y="133"/>
                    <a:pt x="167" y="141"/>
                  </a:cubicBezTo>
                  <a:cubicBezTo>
                    <a:pt x="167" y="172"/>
                    <a:pt x="167" y="172"/>
                    <a:pt x="167" y="172"/>
                  </a:cubicBezTo>
                  <a:cubicBezTo>
                    <a:pt x="161" y="162"/>
                    <a:pt x="161" y="162"/>
                    <a:pt x="161" y="162"/>
                  </a:cubicBezTo>
                  <a:cubicBezTo>
                    <a:pt x="154" y="167"/>
                    <a:pt x="154" y="167"/>
                    <a:pt x="154" y="167"/>
                  </a:cubicBezTo>
                  <a:cubicBezTo>
                    <a:pt x="154" y="100"/>
                    <a:pt x="154" y="100"/>
                    <a:pt x="154" y="100"/>
                  </a:cubicBezTo>
                  <a:cubicBezTo>
                    <a:pt x="156" y="99"/>
                    <a:pt x="156" y="99"/>
                    <a:pt x="156" y="99"/>
                  </a:cubicBezTo>
                  <a:cubicBezTo>
                    <a:pt x="154" y="98"/>
                    <a:pt x="154" y="98"/>
                    <a:pt x="154" y="98"/>
                  </a:cubicBezTo>
                  <a:cubicBezTo>
                    <a:pt x="154" y="68"/>
                    <a:pt x="154" y="68"/>
                    <a:pt x="154" y="68"/>
                  </a:cubicBezTo>
                  <a:lnTo>
                    <a:pt x="167" y="86"/>
                  </a:lnTo>
                  <a:close/>
                  <a:moveTo>
                    <a:pt x="150" y="2"/>
                  </a:moveTo>
                  <a:cubicBezTo>
                    <a:pt x="154" y="8"/>
                    <a:pt x="154" y="8"/>
                    <a:pt x="154" y="8"/>
                  </a:cubicBezTo>
                  <a:cubicBezTo>
                    <a:pt x="154" y="43"/>
                    <a:pt x="154" y="43"/>
                    <a:pt x="154" y="43"/>
                  </a:cubicBezTo>
                  <a:cubicBezTo>
                    <a:pt x="150" y="36"/>
                    <a:pt x="150" y="36"/>
                    <a:pt x="150" y="36"/>
                  </a:cubicBezTo>
                  <a:cubicBezTo>
                    <a:pt x="150" y="2"/>
                    <a:pt x="150" y="2"/>
                    <a:pt x="150" y="2"/>
                  </a:cubicBezTo>
                  <a:close/>
                  <a:moveTo>
                    <a:pt x="154" y="324"/>
                  </a:moveTo>
                  <a:cubicBezTo>
                    <a:pt x="150" y="317"/>
                    <a:pt x="150" y="317"/>
                    <a:pt x="150" y="317"/>
                  </a:cubicBezTo>
                  <a:cubicBezTo>
                    <a:pt x="150" y="205"/>
                    <a:pt x="150" y="205"/>
                    <a:pt x="150" y="205"/>
                  </a:cubicBezTo>
                  <a:cubicBezTo>
                    <a:pt x="151" y="204"/>
                    <a:pt x="151" y="204"/>
                    <a:pt x="151" y="204"/>
                  </a:cubicBezTo>
                  <a:cubicBezTo>
                    <a:pt x="150" y="202"/>
                    <a:pt x="150" y="202"/>
                    <a:pt x="150" y="202"/>
                  </a:cubicBezTo>
                  <a:cubicBezTo>
                    <a:pt x="150" y="172"/>
                    <a:pt x="150" y="172"/>
                    <a:pt x="150" y="172"/>
                  </a:cubicBezTo>
                  <a:cubicBezTo>
                    <a:pt x="154" y="178"/>
                    <a:pt x="154" y="178"/>
                    <a:pt x="154" y="178"/>
                  </a:cubicBezTo>
                  <a:cubicBezTo>
                    <a:pt x="154" y="324"/>
                    <a:pt x="154" y="324"/>
                    <a:pt x="154" y="324"/>
                  </a:cubicBezTo>
                  <a:close/>
                  <a:moveTo>
                    <a:pt x="154" y="50"/>
                  </a:moveTo>
                  <a:cubicBezTo>
                    <a:pt x="154" y="65"/>
                    <a:pt x="154" y="65"/>
                    <a:pt x="154" y="65"/>
                  </a:cubicBezTo>
                  <a:cubicBezTo>
                    <a:pt x="153" y="66"/>
                    <a:pt x="153" y="66"/>
                    <a:pt x="153" y="66"/>
                  </a:cubicBezTo>
                  <a:cubicBezTo>
                    <a:pt x="154" y="68"/>
                    <a:pt x="154" y="68"/>
                    <a:pt x="154" y="68"/>
                  </a:cubicBezTo>
                  <a:cubicBezTo>
                    <a:pt x="154" y="98"/>
                    <a:pt x="154" y="98"/>
                    <a:pt x="154" y="98"/>
                  </a:cubicBezTo>
                  <a:cubicBezTo>
                    <a:pt x="150" y="92"/>
                    <a:pt x="150" y="92"/>
                    <a:pt x="150" y="92"/>
                  </a:cubicBezTo>
                  <a:cubicBezTo>
                    <a:pt x="150" y="53"/>
                    <a:pt x="150" y="53"/>
                    <a:pt x="150" y="53"/>
                  </a:cubicBezTo>
                  <a:cubicBezTo>
                    <a:pt x="154" y="50"/>
                    <a:pt x="154" y="50"/>
                    <a:pt x="154" y="50"/>
                  </a:cubicBezTo>
                  <a:close/>
                  <a:moveTo>
                    <a:pt x="154" y="100"/>
                  </a:moveTo>
                  <a:cubicBezTo>
                    <a:pt x="154" y="167"/>
                    <a:pt x="154" y="167"/>
                    <a:pt x="154" y="167"/>
                  </a:cubicBezTo>
                  <a:cubicBezTo>
                    <a:pt x="150" y="170"/>
                    <a:pt x="150" y="170"/>
                    <a:pt x="150" y="170"/>
                  </a:cubicBezTo>
                  <a:cubicBezTo>
                    <a:pt x="150" y="154"/>
                    <a:pt x="150" y="154"/>
                    <a:pt x="150" y="154"/>
                  </a:cubicBezTo>
                  <a:cubicBezTo>
                    <a:pt x="153" y="152"/>
                    <a:pt x="153" y="152"/>
                    <a:pt x="153" y="152"/>
                  </a:cubicBezTo>
                  <a:cubicBezTo>
                    <a:pt x="150" y="147"/>
                    <a:pt x="150" y="147"/>
                    <a:pt x="150" y="147"/>
                  </a:cubicBezTo>
                  <a:cubicBezTo>
                    <a:pt x="150" y="103"/>
                    <a:pt x="150" y="103"/>
                    <a:pt x="150" y="103"/>
                  </a:cubicBezTo>
                  <a:lnTo>
                    <a:pt x="154" y="100"/>
                  </a:lnTo>
                  <a:close/>
                  <a:moveTo>
                    <a:pt x="144" y="3"/>
                  </a:moveTo>
                  <a:cubicBezTo>
                    <a:pt x="149" y="0"/>
                    <a:pt x="149" y="0"/>
                    <a:pt x="149" y="0"/>
                  </a:cubicBezTo>
                  <a:cubicBezTo>
                    <a:pt x="150" y="2"/>
                    <a:pt x="150" y="2"/>
                    <a:pt x="150" y="2"/>
                  </a:cubicBezTo>
                  <a:cubicBezTo>
                    <a:pt x="150" y="36"/>
                    <a:pt x="150" y="36"/>
                    <a:pt x="150" y="36"/>
                  </a:cubicBezTo>
                  <a:cubicBezTo>
                    <a:pt x="144" y="27"/>
                    <a:pt x="144" y="27"/>
                    <a:pt x="144" y="27"/>
                  </a:cubicBezTo>
                  <a:cubicBezTo>
                    <a:pt x="144" y="3"/>
                    <a:pt x="144" y="3"/>
                    <a:pt x="144" y="3"/>
                  </a:cubicBezTo>
                  <a:close/>
                  <a:moveTo>
                    <a:pt x="150" y="317"/>
                  </a:moveTo>
                  <a:cubicBezTo>
                    <a:pt x="144" y="308"/>
                    <a:pt x="144" y="308"/>
                    <a:pt x="144" y="308"/>
                  </a:cubicBezTo>
                  <a:cubicBezTo>
                    <a:pt x="144" y="260"/>
                    <a:pt x="144" y="260"/>
                    <a:pt x="144" y="260"/>
                  </a:cubicBezTo>
                  <a:cubicBezTo>
                    <a:pt x="149" y="257"/>
                    <a:pt x="149" y="257"/>
                    <a:pt x="149" y="257"/>
                  </a:cubicBezTo>
                  <a:cubicBezTo>
                    <a:pt x="144" y="249"/>
                    <a:pt x="144" y="249"/>
                    <a:pt x="144" y="249"/>
                  </a:cubicBezTo>
                  <a:cubicBezTo>
                    <a:pt x="144" y="210"/>
                    <a:pt x="144" y="210"/>
                    <a:pt x="144" y="210"/>
                  </a:cubicBezTo>
                  <a:cubicBezTo>
                    <a:pt x="150" y="205"/>
                    <a:pt x="150" y="205"/>
                    <a:pt x="150" y="205"/>
                  </a:cubicBezTo>
                  <a:cubicBezTo>
                    <a:pt x="150" y="317"/>
                    <a:pt x="150" y="317"/>
                    <a:pt x="150" y="317"/>
                  </a:cubicBezTo>
                  <a:close/>
                  <a:moveTo>
                    <a:pt x="150" y="53"/>
                  </a:moveTo>
                  <a:cubicBezTo>
                    <a:pt x="150" y="92"/>
                    <a:pt x="150" y="92"/>
                    <a:pt x="150" y="92"/>
                  </a:cubicBezTo>
                  <a:cubicBezTo>
                    <a:pt x="144" y="82"/>
                    <a:pt x="144" y="82"/>
                    <a:pt x="144" y="82"/>
                  </a:cubicBezTo>
                  <a:cubicBezTo>
                    <a:pt x="144" y="52"/>
                    <a:pt x="144" y="52"/>
                    <a:pt x="144" y="52"/>
                  </a:cubicBezTo>
                  <a:cubicBezTo>
                    <a:pt x="146" y="56"/>
                    <a:pt x="146" y="56"/>
                    <a:pt x="146" y="56"/>
                  </a:cubicBezTo>
                  <a:cubicBezTo>
                    <a:pt x="150" y="53"/>
                    <a:pt x="150" y="53"/>
                    <a:pt x="150" y="53"/>
                  </a:cubicBezTo>
                  <a:close/>
                  <a:moveTo>
                    <a:pt x="150" y="103"/>
                  </a:moveTo>
                  <a:cubicBezTo>
                    <a:pt x="150" y="147"/>
                    <a:pt x="150" y="147"/>
                    <a:pt x="150" y="147"/>
                  </a:cubicBezTo>
                  <a:cubicBezTo>
                    <a:pt x="144" y="138"/>
                    <a:pt x="144" y="138"/>
                    <a:pt x="144" y="138"/>
                  </a:cubicBezTo>
                  <a:cubicBezTo>
                    <a:pt x="144" y="107"/>
                    <a:pt x="144" y="107"/>
                    <a:pt x="144" y="107"/>
                  </a:cubicBezTo>
                  <a:cubicBezTo>
                    <a:pt x="144" y="108"/>
                    <a:pt x="144" y="108"/>
                    <a:pt x="144" y="108"/>
                  </a:cubicBezTo>
                  <a:cubicBezTo>
                    <a:pt x="150" y="103"/>
                    <a:pt x="150" y="103"/>
                    <a:pt x="150" y="103"/>
                  </a:cubicBezTo>
                  <a:close/>
                  <a:moveTo>
                    <a:pt x="150" y="154"/>
                  </a:moveTo>
                  <a:cubicBezTo>
                    <a:pt x="150" y="170"/>
                    <a:pt x="150" y="170"/>
                    <a:pt x="150" y="170"/>
                  </a:cubicBezTo>
                  <a:cubicBezTo>
                    <a:pt x="149" y="170"/>
                    <a:pt x="149" y="170"/>
                    <a:pt x="149" y="170"/>
                  </a:cubicBezTo>
                  <a:cubicBezTo>
                    <a:pt x="150" y="172"/>
                    <a:pt x="150" y="172"/>
                    <a:pt x="150" y="172"/>
                  </a:cubicBezTo>
                  <a:cubicBezTo>
                    <a:pt x="150" y="202"/>
                    <a:pt x="150" y="202"/>
                    <a:pt x="150" y="202"/>
                  </a:cubicBezTo>
                  <a:cubicBezTo>
                    <a:pt x="144" y="193"/>
                    <a:pt x="144" y="193"/>
                    <a:pt x="144" y="193"/>
                  </a:cubicBezTo>
                  <a:cubicBezTo>
                    <a:pt x="144" y="159"/>
                    <a:pt x="144" y="159"/>
                    <a:pt x="144" y="159"/>
                  </a:cubicBezTo>
                  <a:lnTo>
                    <a:pt x="150" y="154"/>
                  </a:lnTo>
                  <a:close/>
                  <a:moveTo>
                    <a:pt x="128" y="14"/>
                  </a:moveTo>
                  <a:cubicBezTo>
                    <a:pt x="144" y="3"/>
                    <a:pt x="144" y="3"/>
                    <a:pt x="144" y="3"/>
                  </a:cubicBezTo>
                  <a:cubicBezTo>
                    <a:pt x="144" y="27"/>
                    <a:pt x="144" y="27"/>
                    <a:pt x="144" y="27"/>
                  </a:cubicBezTo>
                  <a:cubicBezTo>
                    <a:pt x="141" y="24"/>
                    <a:pt x="141" y="24"/>
                    <a:pt x="141" y="24"/>
                  </a:cubicBezTo>
                  <a:cubicBezTo>
                    <a:pt x="137" y="26"/>
                    <a:pt x="133" y="29"/>
                    <a:pt x="129" y="32"/>
                  </a:cubicBezTo>
                  <a:cubicBezTo>
                    <a:pt x="144" y="52"/>
                    <a:pt x="144" y="52"/>
                    <a:pt x="144" y="52"/>
                  </a:cubicBezTo>
                  <a:cubicBezTo>
                    <a:pt x="144" y="82"/>
                    <a:pt x="144" y="82"/>
                    <a:pt x="144" y="82"/>
                  </a:cubicBezTo>
                  <a:cubicBezTo>
                    <a:pt x="139" y="76"/>
                    <a:pt x="139" y="76"/>
                    <a:pt x="139" y="76"/>
                  </a:cubicBezTo>
                  <a:cubicBezTo>
                    <a:pt x="128" y="83"/>
                    <a:pt x="128" y="83"/>
                    <a:pt x="128" y="83"/>
                  </a:cubicBezTo>
                  <a:cubicBezTo>
                    <a:pt x="128" y="14"/>
                    <a:pt x="128" y="14"/>
                    <a:pt x="128" y="14"/>
                  </a:cubicBezTo>
                  <a:close/>
                  <a:moveTo>
                    <a:pt x="144" y="308"/>
                  </a:moveTo>
                  <a:cubicBezTo>
                    <a:pt x="128" y="287"/>
                    <a:pt x="128" y="287"/>
                    <a:pt x="128" y="287"/>
                  </a:cubicBezTo>
                  <a:cubicBezTo>
                    <a:pt x="128" y="252"/>
                    <a:pt x="128" y="252"/>
                    <a:pt x="128" y="252"/>
                  </a:cubicBezTo>
                  <a:cubicBezTo>
                    <a:pt x="137" y="265"/>
                    <a:pt x="137" y="265"/>
                    <a:pt x="137" y="265"/>
                  </a:cubicBezTo>
                  <a:cubicBezTo>
                    <a:pt x="144" y="260"/>
                    <a:pt x="144" y="260"/>
                    <a:pt x="144" y="260"/>
                  </a:cubicBezTo>
                  <a:cubicBezTo>
                    <a:pt x="144" y="308"/>
                    <a:pt x="144" y="308"/>
                    <a:pt x="144" y="308"/>
                  </a:cubicBezTo>
                  <a:close/>
                  <a:moveTo>
                    <a:pt x="144" y="107"/>
                  </a:moveTo>
                  <a:cubicBezTo>
                    <a:pt x="144" y="138"/>
                    <a:pt x="144" y="138"/>
                    <a:pt x="144" y="138"/>
                  </a:cubicBezTo>
                  <a:cubicBezTo>
                    <a:pt x="137" y="128"/>
                    <a:pt x="137" y="128"/>
                    <a:pt x="137" y="128"/>
                  </a:cubicBezTo>
                  <a:cubicBezTo>
                    <a:pt x="128" y="134"/>
                    <a:pt x="128" y="134"/>
                    <a:pt x="128" y="134"/>
                  </a:cubicBezTo>
                  <a:cubicBezTo>
                    <a:pt x="128" y="119"/>
                    <a:pt x="128" y="119"/>
                    <a:pt x="128" y="119"/>
                  </a:cubicBezTo>
                  <a:cubicBezTo>
                    <a:pt x="130" y="118"/>
                    <a:pt x="130" y="118"/>
                    <a:pt x="130" y="118"/>
                  </a:cubicBezTo>
                  <a:cubicBezTo>
                    <a:pt x="128" y="116"/>
                    <a:pt x="128" y="116"/>
                    <a:pt x="128" y="116"/>
                  </a:cubicBezTo>
                  <a:cubicBezTo>
                    <a:pt x="128" y="86"/>
                    <a:pt x="128" y="86"/>
                    <a:pt x="128" y="86"/>
                  </a:cubicBezTo>
                  <a:cubicBezTo>
                    <a:pt x="144" y="107"/>
                    <a:pt x="144" y="107"/>
                    <a:pt x="144" y="107"/>
                  </a:cubicBezTo>
                  <a:close/>
                  <a:moveTo>
                    <a:pt x="144" y="159"/>
                  </a:moveTo>
                  <a:cubicBezTo>
                    <a:pt x="144" y="193"/>
                    <a:pt x="144" y="193"/>
                    <a:pt x="144" y="193"/>
                  </a:cubicBezTo>
                  <a:cubicBezTo>
                    <a:pt x="135" y="180"/>
                    <a:pt x="135" y="180"/>
                    <a:pt x="135" y="180"/>
                  </a:cubicBezTo>
                  <a:cubicBezTo>
                    <a:pt x="128" y="185"/>
                    <a:pt x="128" y="185"/>
                    <a:pt x="128" y="185"/>
                  </a:cubicBezTo>
                  <a:cubicBezTo>
                    <a:pt x="128" y="141"/>
                    <a:pt x="128" y="141"/>
                    <a:pt x="128" y="141"/>
                  </a:cubicBezTo>
                  <a:cubicBezTo>
                    <a:pt x="142" y="160"/>
                    <a:pt x="142" y="160"/>
                    <a:pt x="142" y="160"/>
                  </a:cubicBezTo>
                  <a:cubicBezTo>
                    <a:pt x="144" y="159"/>
                    <a:pt x="144" y="159"/>
                    <a:pt x="144" y="159"/>
                  </a:cubicBezTo>
                  <a:close/>
                  <a:moveTo>
                    <a:pt x="144" y="210"/>
                  </a:moveTo>
                  <a:cubicBezTo>
                    <a:pt x="144" y="249"/>
                    <a:pt x="144" y="249"/>
                    <a:pt x="144" y="249"/>
                  </a:cubicBezTo>
                  <a:cubicBezTo>
                    <a:pt x="132" y="233"/>
                    <a:pt x="132" y="233"/>
                    <a:pt x="132" y="233"/>
                  </a:cubicBezTo>
                  <a:cubicBezTo>
                    <a:pt x="128" y="236"/>
                    <a:pt x="128" y="236"/>
                    <a:pt x="128" y="236"/>
                  </a:cubicBezTo>
                  <a:cubicBezTo>
                    <a:pt x="128" y="197"/>
                    <a:pt x="128" y="197"/>
                    <a:pt x="128" y="197"/>
                  </a:cubicBezTo>
                  <a:cubicBezTo>
                    <a:pt x="139" y="213"/>
                    <a:pt x="139" y="213"/>
                    <a:pt x="139" y="213"/>
                  </a:cubicBezTo>
                  <a:lnTo>
                    <a:pt x="144" y="210"/>
                  </a:lnTo>
                  <a:close/>
                  <a:moveTo>
                    <a:pt x="124" y="17"/>
                  </a:moveTo>
                  <a:cubicBezTo>
                    <a:pt x="128" y="14"/>
                    <a:pt x="128" y="14"/>
                    <a:pt x="128" y="14"/>
                  </a:cubicBezTo>
                  <a:cubicBezTo>
                    <a:pt x="128" y="83"/>
                    <a:pt x="128" y="83"/>
                    <a:pt x="128" y="83"/>
                  </a:cubicBezTo>
                  <a:cubicBezTo>
                    <a:pt x="127" y="84"/>
                    <a:pt x="127" y="84"/>
                    <a:pt x="127" y="84"/>
                  </a:cubicBezTo>
                  <a:cubicBezTo>
                    <a:pt x="128" y="86"/>
                    <a:pt x="128" y="86"/>
                    <a:pt x="128" y="86"/>
                  </a:cubicBezTo>
                  <a:cubicBezTo>
                    <a:pt x="128" y="116"/>
                    <a:pt x="128" y="116"/>
                    <a:pt x="128" y="116"/>
                  </a:cubicBezTo>
                  <a:cubicBezTo>
                    <a:pt x="124" y="110"/>
                    <a:pt x="124" y="110"/>
                    <a:pt x="124" y="110"/>
                  </a:cubicBezTo>
                  <a:cubicBezTo>
                    <a:pt x="124" y="17"/>
                    <a:pt x="124" y="17"/>
                    <a:pt x="124" y="17"/>
                  </a:cubicBezTo>
                  <a:close/>
                  <a:moveTo>
                    <a:pt x="128" y="287"/>
                  </a:moveTo>
                  <a:cubicBezTo>
                    <a:pt x="124" y="280"/>
                    <a:pt x="124" y="280"/>
                    <a:pt x="124" y="280"/>
                  </a:cubicBezTo>
                  <a:cubicBezTo>
                    <a:pt x="124" y="246"/>
                    <a:pt x="124" y="246"/>
                    <a:pt x="124" y="246"/>
                  </a:cubicBezTo>
                  <a:cubicBezTo>
                    <a:pt x="128" y="252"/>
                    <a:pt x="128" y="252"/>
                    <a:pt x="128" y="252"/>
                  </a:cubicBezTo>
                  <a:cubicBezTo>
                    <a:pt x="128" y="287"/>
                    <a:pt x="128" y="287"/>
                    <a:pt x="128" y="287"/>
                  </a:cubicBezTo>
                  <a:close/>
                  <a:moveTo>
                    <a:pt x="128" y="119"/>
                  </a:moveTo>
                  <a:cubicBezTo>
                    <a:pt x="128" y="134"/>
                    <a:pt x="128" y="134"/>
                    <a:pt x="128" y="134"/>
                  </a:cubicBezTo>
                  <a:cubicBezTo>
                    <a:pt x="125" y="136"/>
                    <a:pt x="125" y="136"/>
                    <a:pt x="125" y="136"/>
                  </a:cubicBezTo>
                  <a:cubicBezTo>
                    <a:pt x="128" y="141"/>
                    <a:pt x="128" y="141"/>
                    <a:pt x="128" y="141"/>
                  </a:cubicBezTo>
                  <a:cubicBezTo>
                    <a:pt x="128" y="185"/>
                    <a:pt x="128" y="185"/>
                    <a:pt x="128" y="185"/>
                  </a:cubicBezTo>
                  <a:cubicBezTo>
                    <a:pt x="124" y="188"/>
                    <a:pt x="124" y="188"/>
                    <a:pt x="124" y="188"/>
                  </a:cubicBezTo>
                  <a:cubicBezTo>
                    <a:pt x="124" y="122"/>
                    <a:pt x="124" y="122"/>
                    <a:pt x="124" y="122"/>
                  </a:cubicBezTo>
                  <a:cubicBezTo>
                    <a:pt x="128" y="119"/>
                    <a:pt x="128" y="119"/>
                    <a:pt x="128" y="119"/>
                  </a:cubicBezTo>
                  <a:close/>
                  <a:moveTo>
                    <a:pt x="128" y="197"/>
                  </a:moveTo>
                  <a:cubicBezTo>
                    <a:pt x="128" y="236"/>
                    <a:pt x="128" y="236"/>
                    <a:pt x="128" y="236"/>
                  </a:cubicBezTo>
                  <a:cubicBezTo>
                    <a:pt x="124" y="239"/>
                    <a:pt x="124" y="239"/>
                    <a:pt x="124" y="239"/>
                  </a:cubicBezTo>
                  <a:cubicBezTo>
                    <a:pt x="124" y="223"/>
                    <a:pt x="124" y="223"/>
                    <a:pt x="124" y="223"/>
                  </a:cubicBezTo>
                  <a:cubicBezTo>
                    <a:pt x="125" y="222"/>
                    <a:pt x="125" y="222"/>
                    <a:pt x="125" y="222"/>
                  </a:cubicBezTo>
                  <a:cubicBezTo>
                    <a:pt x="124" y="221"/>
                    <a:pt x="124" y="221"/>
                    <a:pt x="124" y="221"/>
                  </a:cubicBezTo>
                  <a:cubicBezTo>
                    <a:pt x="124" y="191"/>
                    <a:pt x="124" y="191"/>
                    <a:pt x="124" y="191"/>
                  </a:cubicBezTo>
                  <a:lnTo>
                    <a:pt x="128" y="197"/>
                  </a:lnTo>
                  <a:close/>
                  <a:moveTo>
                    <a:pt x="115" y="23"/>
                  </a:moveTo>
                  <a:cubicBezTo>
                    <a:pt x="124" y="17"/>
                    <a:pt x="124" y="17"/>
                    <a:pt x="124" y="17"/>
                  </a:cubicBezTo>
                  <a:cubicBezTo>
                    <a:pt x="124" y="110"/>
                    <a:pt x="124" y="110"/>
                    <a:pt x="124" y="110"/>
                  </a:cubicBezTo>
                  <a:cubicBezTo>
                    <a:pt x="115" y="98"/>
                    <a:pt x="115" y="98"/>
                    <a:pt x="115" y="98"/>
                  </a:cubicBezTo>
                  <a:cubicBezTo>
                    <a:pt x="115" y="23"/>
                    <a:pt x="115" y="23"/>
                    <a:pt x="115" y="23"/>
                  </a:cubicBezTo>
                  <a:close/>
                  <a:moveTo>
                    <a:pt x="124" y="280"/>
                  </a:moveTo>
                  <a:cubicBezTo>
                    <a:pt x="115" y="268"/>
                    <a:pt x="115" y="268"/>
                    <a:pt x="115" y="268"/>
                  </a:cubicBezTo>
                  <a:cubicBezTo>
                    <a:pt x="115" y="229"/>
                    <a:pt x="115" y="229"/>
                    <a:pt x="115" y="229"/>
                  </a:cubicBezTo>
                  <a:cubicBezTo>
                    <a:pt x="124" y="223"/>
                    <a:pt x="124" y="223"/>
                    <a:pt x="124" y="223"/>
                  </a:cubicBezTo>
                  <a:cubicBezTo>
                    <a:pt x="124" y="239"/>
                    <a:pt x="124" y="239"/>
                    <a:pt x="124" y="239"/>
                  </a:cubicBezTo>
                  <a:cubicBezTo>
                    <a:pt x="121" y="241"/>
                    <a:pt x="121" y="241"/>
                    <a:pt x="121" y="241"/>
                  </a:cubicBezTo>
                  <a:cubicBezTo>
                    <a:pt x="124" y="246"/>
                    <a:pt x="124" y="246"/>
                    <a:pt x="124" y="246"/>
                  </a:cubicBezTo>
                  <a:cubicBezTo>
                    <a:pt x="124" y="280"/>
                    <a:pt x="124" y="280"/>
                    <a:pt x="124" y="280"/>
                  </a:cubicBezTo>
                  <a:close/>
                  <a:moveTo>
                    <a:pt x="124" y="122"/>
                  </a:moveTo>
                  <a:cubicBezTo>
                    <a:pt x="124" y="188"/>
                    <a:pt x="124" y="188"/>
                    <a:pt x="124" y="188"/>
                  </a:cubicBezTo>
                  <a:cubicBezTo>
                    <a:pt x="123" y="189"/>
                    <a:pt x="123" y="189"/>
                    <a:pt x="123" y="189"/>
                  </a:cubicBezTo>
                  <a:cubicBezTo>
                    <a:pt x="124" y="191"/>
                    <a:pt x="124" y="191"/>
                    <a:pt x="124" y="191"/>
                  </a:cubicBezTo>
                  <a:cubicBezTo>
                    <a:pt x="124" y="221"/>
                    <a:pt x="124" y="221"/>
                    <a:pt x="124" y="221"/>
                  </a:cubicBezTo>
                  <a:cubicBezTo>
                    <a:pt x="115" y="208"/>
                    <a:pt x="115" y="208"/>
                    <a:pt x="115" y="208"/>
                  </a:cubicBezTo>
                  <a:cubicBezTo>
                    <a:pt x="115" y="123"/>
                    <a:pt x="115" y="123"/>
                    <a:pt x="115" y="123"/>
                  </a:cubicBezTo>
                  <a:cubicBezTo>
                    <a:pt x="118" y="126"/>
                    <a:pt x="118" y="126"/>
                    <a:pt x="118" y="126"/>
                  </a:cubicBezTo>
                  <a:lnTo>
                    <a:pt x="124" y="122"/>
                  </a:lnTo>
                  <a:close/>
                  <a:moveTo>
                    <a:pt x="102" y="32"/>
                  </a:moveTo>
                  <a:cubicBezTo>
                    <a:pt x="115" y="23"/>
                    <a:pt x="115" y="23"/>
                    <a:pt x="115" y="23"/>
                  </a:cubicBezTo>
                  <a:cubicBezTo>
                    <a:pt x="115" y="98"/>
                    <a:pt x="115" y="98"/>
                    <a:pt x="115" y="98"/>
                  </a:cubicBezTo>
                  <a:cubicBezTo>
                    <a:pt x="113" y="94"/>
                    <a:pt x="113" y="94"/>
                    <a:pt x="113" y="94"/>
                  </a:cubicBezTo>
                  <a:cubicBezTo>
                    <a:pt x="102" y="102"/>
                    <a:pt x="102" y="102"/>
                    <a:pt x="102" y="102"/>
                  </a:cubicBezTo>
                  <a:cubicBezTo>
                    <a:pt x="102" y="86"/>
                    <a:pt x="102" y="86"/>
                    <a:pt x="102" y="86"/>
                  </a:cubicBezTo>
                  <a:cubicBezTo>
                    <a:pt x="106" y="84"/>
                    <a:pt x="106" y="84"/>
                    <a:pt x="106" y="84"/>
                  </a:cubicBezTo>
                  <a:cubicBezTo>
                    <a:pt x="102" y="79"/>
                    <a:pt x="102" y="79"/>
                    <a:pt x="102" y="79"/>
                  </a:cubicBezTo>
                  <a:cubicBezTo>
                    <a:pt x="102" y="32"/>
                    <a:pt x="102" y="32"/>
                    <a:pt x="102" y="32"/>
                  </a:cubicBezTo>
                  <a:close/>
                  <a:moveTo>
                    <a:pt x="115" y="268"/>
                  </a:moveTo>
                  <a:cubicBezTo>
                    <a:pt x="102" y="249"/>
                    <a:pt x="102" y="249"/>
                    <a:pt x="102" y="249"/>
                  </a:cubicBezTo>
                  <a:cubicBezTo>
                    <a:pt x="102" y="215"/>
                    <a:pt x="102" y="215"/>
                    <a:pt x="102" y="215"/>
                  </a:cubicBezTo>
                  <a:cubicBezTo>
                    <a:pt x="113" y="231"/>
                    <a:pt x="113" y="231"/>
                    <a:pt x="113" y="231"/>
                  </a:cubicBezTo>
                  <a:cubicBezTo>
                    <a:pt x="115" y="229"/>
                    <a:pt x="115" y="229"/>
                    <a:pt x="115" y="229"/>
                  </a:cubicBezTo>
                  <a:cubicBezTo>
                    <a:pt x="115" y="268"/>
                    <a:pt x="115" y="268"/>
                    <a:pt x="115" y="268"/>
                  </a:cubicBezTo>
                  <a:close/>
                  <a:moveTo>
                    <a:pt x="115" y="123"/>
                  </a:moveTo>
                  <a:cubicBezTo>
                    <a:pt x="115" y="208"/>
                    <a:pt x="115" y="208"/>
                    <a:pt x="115" y="208"/>
                  </a:cubicBezTo>
                  <a:cubicBezTo>
                    <a:pt x="109" y="199"/>
                    <a:pt x="109" y="199"/>
                    <a:pt x="109" y="199"/>
                  </a:cubicBezTo>
                  <a:cubicBezTo>
                    <a:pt x="102" y="203"/>
                    <a:pt x="102" y="203"/>
                    <a:pt x="102" y="203"/>
                  </a:cubicBezTo>
                  <a:cubicBezTo>
                    <a:pt x="102" y="137"/>
                    <a:pt x="102" y="137"/>
                    <a:pt x="102" y="137"/>
                  </a:cubicBezTo>
                  <a:cubicBezTo>
                    <a:pt x="104" y="136"/>
                    <a:pt x="104" y="136"/>
                    <a:pt x="104" y="136"/>
                  </a:cubicBezTo>
                  <a:cubicBezTo>
                    <a:pt x="102" y="134"/>
                    <a:pt x="102" y="134"/>
                    <a:pt x="102" y="134"/>
                  </a:cubicBezTo>
                  <a:cubicBezTo>
                    <a:pt x="102" y="104"/>
                    <a:pt x="102" y="104"/>
                    <a:pt x="102" y="104"/>
                  </a:cubicBezTo>
                  <a:lnTo>
                    <a:pt x="115" y="123"/>
                  </a:lnTo>
                  <a:close/>
                  <a:moveTo>
                    <a:pt x="91" y="40"/>
                  </a:moveTo>
                  <a:cubicBezTo>
                    <a:pt x="102" y="32"/>
                    <a:pt x="102" y="32"/>
                    <a:pt x="102" y="32"/>
                  </a:cubicBezTo>
                  <a:cubicBezTo>
                    <a:pt x="102" y="79"/>
                    <a:pt x="102" y="79"/>
                    <a:pt x="102" y="79"/>
                  </a:cubicBezTo>
                  <a:cubicBezTo>
                    <a:pt x="91" y="64"/>
                    <a:pt x="91" y="64"/>
                    <a:pt x="91" y="64"/>
                  </a:cubicBezTo>
                  <a:cubicBezTo>
                    <a:pt x="91" y="40"/>
                    <a:pt x="91" y="40"/>
                    <a:pt x="91" y="40"/>
                  </a:cubicBezTo>
                  <a:close/>
                  <a:moveTo>
                    <a:pt x="102" y="249"/>
                  </a:moveTo>
                  <a:cubicBezTo>
                    <a:pt x="91" y="234"/>
                    <a:pt x="91" y="234"/>
                    <a:pt x="91" y="234"/>
                  </a:cubicBezTo>
                  <a:cubicBezTo>
                    <a:pt x="91" y="195"/>
                    <a:pt x="91" y="195"/>
                    <a:pt x="91" y="195"/>
                  </a:cubicBezTo>
                  <a:cubicBezTo>
                    <a:pt x="101" y="188"/>
                    <a:pt x="101" y="188"/>
                    <a:pt x="101" y="188"/>
                  </a:cubicBezTo>
                  <a:cubicBezTo>
                    <a:pt x="91" y="174"/>
                    <a:pt x="91" y="174"/>
                    <a:pt x="91" y="174"/>
                  </a:cubicBezTo>
                  <a:cubicBezTo>
                    <a:pt x="91" y="144"/>
                    <a:pt x="91" y="144"/>
                    <a:pt x="91" y="144"/>
                  </a:cubicBezTo>
                  <a:cubicBezTo>
                    <a:pt x="92" y="144"/>
                    <a:pt x="92" y="144"/>
                    <a:pt x="92" y="144"/>
                  </a:cubicBezTo>
                  <a:cubicBezTo>
                    <a:pt x="102" y="137"/>
                    <a:pt x="102" y="137"/>
                    <a:pt x="102" y="137"/>
                  </a:cubicBezTo>
                  <a:cubicBezTo>
                    <a:pt x="102" y="203"/>
                    <a:pt x="102" y="203"/>
                    <a:pt x="102" y="203"/>
                  </a:cubicBezTo>
                  <a:cubicBezTo>
                    <a:pt x="97" y="207"/>
                    <a:pt x="97" y="207"/>
                    <a:pt x="97" y="207"/>
                  </a:cubicBezTo>
                  <a:cubicBezTo>
                    <a:pt x="102" y="215"/>
                    <a:pt x="102" y="215"/>
                    <a:pt x="102" y="215"/>
                  </a:cubicBezTo>
                  <a:cubicBezTo>
                    <a:pt x="102" y="249"/>
                    <a:pt x="102" y="249"/>
                    <a:pt x="102" y="249"/>
                  </a:cubicBezTo>
                  <a:close/>
                  <a:moveTo>
                    <a:pt x="102" y="86"/>
                  </a:moveTo>
                  <a:cubicBezTo>
                    <a:pt x="102" y="102"/>
                    <a:pt x="102" y="102"/>
                    <a:pt x="102" y="102"/>
                  </a:cubicBezTo>
                  <a:cubicBezTo>
                    <a:pt x="101" y="102"/>
                    <a:pt x="101" y="102"/>
                    <a:pt x="101" y="102"/>
                  </a:cubicBezTo>
                  <a:cubicBezTo>
                    <a:pt x="102" y="104"/>
                    <a:pt x="102" y="104"/>
                    <a:pt x="102" y="104"/>
                  </a:cubicBezTo>
                  <a:cubicBezTo>
                    <a:pt x="102" y="134"/>
                    <a:pt x="102" y="134"/>
                    <a:pt x="102" y="134"/>
                  </a:cubicBezTo>
                  <a:cubicBezTo>
                    <a:pt x="91" y="119"/>
                    <a:pt x="91" y="119"/>
                    <a:pt x="91" y="119"/>
                  </a:cubicBezTo>
                  <a:cubicBezTo>
                    <a:pt x="91" y="89"/>
                    <a:pt x="91" y="89"/>
                    <a:pt x="91" y="89"/>
                  </a:cubicBezTo>
                  <a:cubicBezTo>
                    <a:pt x="94" y="92"/>
                    <a:pt x="94" y="92"/>
                    <a:pt x="94" y="92"/>
                  </a:cubicBezTo>
                  <a:lnTo>
                    <a:pt x="102" y="86"/>
                  </a:lnTo>
                  <a:close/>
                  <a:moveTo>
                    <a:pt x="78" y="49"/>
                  </a:moveTo>
                  <a:cubicBezTo>
                    <a:pt x="91" y="40"/>
                    <a:pt x="91" y="40"/>
                    <a:pt x="91" y="40"/>
                  </a:cubicBezTo>
                  <a:cubicBezTo>
                    <a:pt x="91" y="64"/>
                    <a:pt x="91" y="64"/>
                    <a:pt x="91" y="64"/>
                  </a:cubicBezTo>
                  <a:cubicBezTo>
                    <a:pt x="89" y="60"/>
                    <a:pt x="89" y="60"/>
                    <a:pt x="89" y="60"/>
                  </a:cubicBezTo>
                  <a:cubicBezTo>
                    <a:pt x="78" y="68"/>
                    <a:pt x="78" y="68"/>
                    <a:pt x="78" y="68"/>
                  </a:cubicBezTo>
                  <a:cubicBezTo>
                    <a:pt x="78" y="49"/>
                    <a:pt x="78" y="49"/>
                    <a:pt x="78" y="49"/>
                  </a:cubicBezTo>
                  <a:close/>
                  <a:moveTo>
                    <a:pt x="91" y="234"/>
                  </a:moveTo>
                  <a:cubicBezTo>
                    <a:pt x="78" y="215"/>
                    <a:pt x="78" y="215"/>
                    <a:pt x="78" y="215"/>
                  </a:cubicBezTo>
                  <a:cubicBezTo>
                    <a:pt x="78" y="181"/>
                    <a:pt x="78" y="181"/>
                    <a:pt x="78" y="181"/>
                  </a:cubicBezTo>
                  <a:cubicBezTo>
                    <a:pt x="90" y="197"/>
                    <a:pt x="90" y="197"/>
                    <a:pt x="90" y="197"/>
                  </a:cubicBezTo>
                  <a:cubicBezTo>
                    <a:pt x="91" y="195"/>
                    <a:pt x="91" y="195"/>
                    <a:pt x="91" y="195"/>
                  </a:cubicBezTo>
                  <a:cubicBezTo>
                    <a:pt x="91" y="234"/>
                    <a:pt x="91" y="234"/>
                    <a:pt x="91" y="234"/>
                  </a:cubicBezTo>
                  <a:close/>
                  <a:moveTo>
                    <a:pt x="91" y="89"/>
                  </a:moveTo>
                  <a:cubicBezTo>
                    <a:pt x="91" y="119"/>
                    <a:pt x="91" y="119"/>
                    <a:pt x="91" y="119"/>
                  </a:cubicBezTo>
                  <a:cubicBezTo>
                    <a:pt x="87" y="112"/>
                    <a:pt x="87" y="112"/>
                    <a:pt x="87" y="112"/>
                  </a:cubicBezTo>
                  <a:cubicBezTo>
                    <a:pt x="78" y="118"/>
                    <a:pt x="78" y="118"/>
                    <a:pt x="78" y="118"/>
                  </a:cubicBezTo>
                  <a:cubicBezTo>
                    <a:pt x="78" y="103"/>
                    <a:pt x="78" y="103"/>
                    <a:pt x="78" y="103"/>
                  </a:cubicBezTo>
                  <a:cubicBezTo>
                    <a:pt x="80" y="102"/>
                    <a:pt x="80" y="102"/>
                    <a:pt x="80" y="102"/>
                  </a:cubicBezTo>
                  <a:cubicBezTo>
                    <a:pt x="78" y="100"/>
                    <a:pt x="78" y="100"/>
                    <a:pt x="78" y="100"/>
                  </a:cubicBezTo>
                  <a:cubicBezTo>
                    <a:pt x="78" y="70"/>
                    <a:pt x="78" y="70"/>
                    <a:pt x="78" y="70"/>
                  </a:cubicBezTo>
                  <a:cubicBezTo>
                    <a:pt x="91" y="89"/>
                    <a:pt x="91" y="89"/>
                    <a:pt x="91" y="89"/>
                  </a:cubicBezTo>
                  <a:close/>
                  <a:moveTo>
                    <a:pt x="91" y="144"/>
                  </a:moveTo>
                  <a:cubicBezTo>
                    <a:pt x="91" y="174"/>
                    <a:pt x="91" y="174"/>
                    <a:pt x="91" y="174"/>
                  </a:cubicBezTo>
                  <a:cubicBezTo>
                    <a:pt x="85" y="165"/>
                    <a:pt x="85" y="165"/>
                    <a:pt x="85" y="165"/>
                  </a:cubicBezTo>
                  <a:cubicBezTo>
                    <a:pt x="78" y="169"/>
                    <a:pt x="78" y="169"/>
                    <a:pt x="78" y="169"/>
                  </a:cubicBezTo>
                  <a:cubicBezTo>
                    <a:pt x="78" y="126"/>
                    <a:pt x="78" y="126"/>
                    <a:pt x="78" y="126"/>
                  </a:cubicBezTo>
                  <a:lnTo>
                    <a:pt x="91" y="144"/>
                  </a:lnTo>
                  <a:close/>
                  <a:moveTo>
                    <a:pt x="65" y="58"/>
                  </a:moveTo>
                  <a:cubicBezTo>
                    <a:pt x="78" y="49"/>
                    <a:pt x="78" y="49"/>
                    <a:pt x="78" y="49"/>
                  </a:cubicBezTo>
                  <a:cubicBezTo>
                    <a:pt x="78" y="68"/>
                    <a:pt x="78" y="68"/>
                    <a:pt x="78" y="68"/>
                  </a:cubicBezTo>
                  <a:cubicBezTo>
                    <a:pt x="77" y="68"/>
                    <a:pt x="77" y="68"/>
                    <a:pt x="77" y="68"/>
                  </a:cubicBezTo>
                  <a:cubicBezTo>
                    <a:pt x="78" y="70"/>
                    <a:pt x="78" y="70"/>
                    <a:pt x="78" y="70"/>
                  </a:cubicBezTo>
                  <a:cubicBezTo>
                    <a:pt x="78" y="100"/>
                    <a:pt x="78" y="100"/>
                    <a:pt x="78" y="100"/>
                  </a:cubicBezTo>
                  <a:cubicBezTo>
                    <a:pt x="65" y="82"/>
                    <a:pt x="65" y="82"/>
                    <a:pt x="65" y="82"/>
                  </a:cubicBezTo>
                  <a:cubicBezTo>
                    <a:pt x="65" y="58"/>
                    <a:pt x="65" y="58"/>
                    <a:pt x="65" y="58"/>
                  </a:cubicBezTo>
                  <a:close/>
                  <a:moveTo>
                    <a:pt x="78" y="215"/>
                  </a:moveTo>
                  <a:cubicBezTo>
                    <a:pt x="78" y="215"/>
                    <a:pt x="78" y="215"/>
                    <a:pt x="78" y="215"/>
                  </a:cubicBezTo>
                  <a:cubicBezTo>
                    <a:pt x="65" y="197"/>
                    <a:pt x="65" y="197"/>
                    <a:pt x="65" y="197"/>
                  </a:cubicBezTo>
                  <a:cubicBezTo>
                    <a:pt x="65" y="107"/>
                    <a:pt x="65" y="107"/>
                    <a:pt x="65" y="107"/>
                  </a:cubicBezTo>
                  <a:cubicBezTo>
                    <a:pt x="68" y="110"/>
                    <a:pt x="68" y="110"/>
                    <a:pt x="68" y="110"/>
                  </a:cubicBezTo>
                  <a:cubicBezTo>
                    <a:pt x="78" y="103"/>
                    <a:pt x="78" y="103"/>
                    <a:pt x="78" y="103"/>
                  </a:cubicBezTo>
                  <a:cubicBezTo>
                    <a:pt x="78" y="118"/>
                    <a:pt x="78" y="118"/>
                    <a:pt x="78" y="118"/>
                  </a:cubicBezTo>
                  <a:cubicBezTo>
                    <a:pt x="75" y="121"/>
                    <a:pt x="75" y="121"/>
                    <a:pt x="75" y="121"/>
                  </a:cubicBezTo>
                  <a:cubicBezTo>
                    <a:pt x="78" y="126"/>
                    <a:pt x="78" y="126"/>
                    <a:pt x="78" y="126"/>
                  </a:cubicBezTo>
                  <a:cubicBezTo>
                    <a:pt x="78" y="169"/>
                    <a:pt x="78" y="169"/>
                    <a:pt x="78" y="169"/>
                  </a:cubicBezTo>
                  <a:cubicBezTo>
                    <a:pt x="73" y="173"/>
                    <a:pt x="73" y="173"/>
                    <a:pt x="73" y="173"/>
                  </a:cubicBezTo>
                  <a:cubicBezTo>
                    <a:pt x="78" y="181"/>
                    <a:pt x="78" y="181"/>
                    <a:pt x="78" y="181"/>
                  </a:cubicBezTo>
                  <a:lnTo>
                    <a:pt x="78" y="215"/>
                  </a:lnTo>
                  <a:close/>
                  <a:moveTo>
                    <a:pt x="52" y="67"/>
                  </a:moveTo>
                  <a:cubicBezTo>
                    <a:pt x="65" y="58"/>
                    <a:pt x="65" y="58"/>
                    <a:pt x="65" y="58"/>
                  </a:cubicBezTo>
                  <a:cubicBezTo>
                    <a:pt x="65" y="82"/>
                    <a:pt x="65" y="82"/>
                    <a:pt x="65" y="82"/>
                  </a:cubicBezTo>
                  <a:cubicBezTo>
                    <a:pt x="63" y="78"/>
                    <a:pt x="63" y="78"/>
                    <a:pt x="63" y="78"/>
                  </a:cubicBezTo>
                  <a:cubicBezTo>
                    <a:pt x="52" y="86"/>
                    <a:pt x="52" y="86"/>
                    <a:pt x="52" y="86"/>
                  </a:cubicBezTo>
                  <a:cubicBezTo>
                    <a:pt x="52" y="67"/>
                    <a:pt x="52" y="67"/>
                    <a:pt x="52" y="67"/>
                  </a:cubicBezTo>
                  <a:close/>
                  <a:moveTo>
                    <a:pt x="65" y="197"/>
                  </a:moveTo>
                  <a:cubicBezTo>
                    <a:pt x="52" y="178"/>
                    <a:pt x="52" y="178"/>
                    <a:pt x="52" y="178"/>
                  </a:cubicBezTo>
                  <a:cubicBezTo>
                    <a:pt x="52" y="121"/>
                    <a:pt x="52" y="121"/>
                    <a:pt x="52" y="121"/>
                  </a:cubicBezTo>
                  <a:cubicBezTo>
                    <a:pt x="54" y="120"/>
                    <a:pt x="54" y="120"/>
                    <a:pt x="54" y="120"/>
                  </a:cubicBezTo>
                  <a:cubicBezTo>
                    <a:pt x="52" y="119"/>
                    <a:pt x="52" y="119"/>
                    <a:pt x="52" y="119"/>
                  </a:cubicBezTo>
                  <a:cubicBezTo>
                    <a:pt x="52" y="88"/>
                    <a:pt x="52" y="88"/>
                    <a:pt x="52" y="88"/>
                  </a:cubicBezTo>
                  <a:cubicBezTo>
                    <a:pt x="65" y="107"/>
                    <a:pt x="65" y="107"/>
                    <a:pt x="65" y="107"/>
                  </a:cubicBezTo>
                  <a:lnTo>
                    <a:pt x="65" y="197"/>
                  </a:lnTo>
                  <a:close/>
                  <a:moveTo>
                    <a:pt x="39" y="76"/>
                  </a:moveTo>
                  <a:cubicBezTo>
                    <a:pt x="52" y="67"/>
                    <a:pt x="52" y="67"/>
                    <a:pt x="52" y="67"/>
                  </a:cubicBezTo>
                  <a:cubicBezTo>
                    <a:pt x="52" y="86"/>
                    <a:pt x="52" y="86"/>
                    <a:pt x="52" y="86"/>
                  </a:cubicBezTo>
                  <a:cubicBezTo>
                    <a:pt x="51" y="87"/>
                    <a:pt x="51" y="87"/>
                    <a:pt x="51" y="87"/>
                  </a:cubicBezTo>
                  <a:cubicBezTo>
                    <a:pt x="52" y="88"/>
                    <a:pt x="52" y="88"/>
                    <a:pt x="52" y="88"/>
                  </a:cubicBezTo>
                  <a:cubicBezTo>
                    <a:pt x="52" y="119"/>
                    <a:pt x="52" y="119"/>
                    <a:pt x="52" y="119"/>
                  </a:cubicBezTo>
                  <a:cubicBezTo>
                    <a:pt x="39" y="100"/>
                    <a:pt x="39" y="100"/>
                    <a:pt x="39" y="100"/>
                  </a:cubicBezTo>
                  <a:cubicBezTo>
                    <a:pt x="39" y="76"/>
                    <a:pt x="39" y="76"/>
                    <a:pt x="39" y="76"/>
                  </a:cubicBezTo>
                  <a:close/>
                  <a:moveTo>
                    <a:pt x="52" y="178"/>
                  </a:moveTo>
                  <a:cubicBezTo>
                    <a:pt x="39" y="160"/>
                    <a:pt x="39" y="160"/>
                    <a:pt x="39" y="160"/>
                  </a:cubicBezTo>
                  <a:cubicBezTo>
                    <a:pt x="39" y="125"/>
                    <a:pt x="39" y="125"/>
                    <a:pt x="39" y="125"/>
                  </a:cubicBezTo>
                  <a:cubicBezTo>
                    <a:pt x="42" y="129"/>
                    <a:pt x="42" y="129"/>
                    <a:pt x="42" y="129"/>
                  </a:cubicBezTo>
                  <a:cubicBezTo>
                    <a:pt x="52" y="121"/>
                    <a:pt x="52" y="121"/>
                    <a:pt x="52" y="121"/>
                  </a:cubicBezTo>
                  <a:lnTo>
                    <a:pt x="52" y="178"/>
                  </a:lnTo>
                  <a:close/>
                  <a:moveTo>
                    <a:pt x="0" y="104"/>
                  </a:moveTo>
                  <a:cubicBezTo>
                    <a:pt x="39" y="76"/>
                    <a:pt x="39" y="76"/>
                    <a:pt x="39" y="76"/>
                  </a:cubicBezTo>
                  <a:cubicBezTo>
                    <a:pt x="39" y="100"/>
                    <a:pt x="39" y="100"/>
                    <a:pt x="39" y="100"/>
                  </a:cubicBezTo>
                  <a:cubicBezTo>
                    <a:pt x="37" y="97"/>
                    <a:pt x="37" y="97"/>
                    <a:pt x="37" y="97"/>
                  </a:cubicBezTo>
                  <a:cubicBezTo>
                    <a:pt x="33" y="100"/>
                    <a:pt x="29" y="102"/>
                    <a:pt x="25" y="105"/>
                  </a:cubicBezTo>
                  <a:cubicBezTo>
                    <a:pt x="39" y="125"/>
                    <a:pt x="39" y="125"/>
                    <a:pt x="39" y="125"/>
                  </a:cubicBezTo>
                  <a:cubicBezTo>
                    <a:pt x="39" y="160"/>
                    <a:pt x="39" y="160"/>
                    <a:pt x="39" y="160"/>
                  </a:cubicBezTo>
                  <a:lnTo>
                    <a:pt x="0" y="104"/>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7" name="ïŝľîḋè">
              <a:extLst>
                <a:ext uri="{FF2B5EF4-FFF2-40B4-BE49-F238E27FC236}">
                  <a16:creationId xmlns:a16="http://schemas.microsoft.com/office/drawing/2014/main" id="{AB94BC1B-7E93-4450-A56F-C200E2C920BE}"/>
                </a:ext>
              </a:extLst>
            </p:cNvPr>
            <p:cNvSpPr/>
            <p:nvPr/>
          </p:nvSpPr>
          <p:spPr bwMode="auto">
            <a:xfrm flipH="1">
              <a:off x="3977638" y="2203459"/>
              <a:ext cx="239292" cy="498501"/>
            </a:xfrm>
            <a:custGeom>
              <a:avLst/>
              <a:gdLst>
                <a:gd name="T0" fmla="*/ 129 w 143"/>
                <a:gd name="T1" fmla="*/ 305 h 305"/>
                <a:gd name="T2" fmla="*/ 143 w 143"/>
                <a:gd name="T3" fmla="*/ 301 h 305"/>
                <a:gd name="T4" fmla="*/ 109 w 143"/>
                <a:gd name="T5" fmla="*/ 199 h 305"/>
                <a:gd name="T6" fmla="*/ 78 w 143"/>
                <a:gd name="T7" fmla="*/ 105 h 305"/>
                <a:gd name="T8" fmla="*/ 87 w 143"/>
                <a:gd name="T9" fmla="*/ 73 h 305"/>
                <a:gd name="T10" fmla="*/ 86 w 143"/>
                <a:gd name="T11" fmla="*/ 71 h 305"/>
                <a:gd name="T12" fmla="*/ 100 w 143"/>
                <a:gd name="T13" fmla="*/ 43 h 305"/>
                <a:gd name="T14" fmla="*/ 83 w 143"/>
                <a:gd name="T15" fmla="*/ 28 h 305"/>
                <a:gd name="T16" fmla="*/ 82 w 143"/>
                <a:gd name="T17" fmla="*/ 24 h 305"/>
                <a:gd name="T18" fmla="*/ 45 w 143"/>
                <a:gd name="T19" fmla="*/ 5 h 305"/>
                <a:gd name="T20" fmla="*/ 27 w 143"/>
                <a:gd name="T21" fmla="*/ 21 h 305"/>
                <a:gd name="T22" fmla="*/ 24 w 143"/>
                <a:gd name="T23" fmla="*/ 22 h 305"/>
                <a:gd name="T24" fmla="*/ 5 w 143"/>
                <a:gd name="T25" fmla="*/ 59 h 305"/>
                <a:gd name="T26" fmla="*/ 29 w 143"/>
                <a:gd name="T27" fmla="*/ 79 h 305"/>
                <a:gd name="T28" fmla="*/ 31 w 143"/>
                <a:gd name="T29" fmla="*/ 92 h 305"/>
                <a:gd name="T30" fmla="*/ 65 w 143"/>
                <a:gd name="T31" fmla="*/ 111 h 305"/>
                <a:gd name="T32" fmla="*/ 95 w 143"/>
                <a:gd name="T33" fmla="*/ 203 h 305"/>
                <a:gd name="T34" fmla="*/ 129 w 143"/>
                <a:gd name="T3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305">
                  <a:moveTo>
                    <a:pt x="129" y="305"/>
                  </a:moveTo>
                  <a:cubicBezTo>
                    <a:pt x="133" y="304"/>
                    <a:pt x="138" y="302"/>
                    <a:pt x="143" y="301"/>
                  </a:cubicBezTo>
                  <a:cubicBezTo>
                    <a:pt x="131" y="267"/>
                    <a:pt x="120" y="233"/>
                    <a:pt x="109" y="199"/>
                  </a:cubicBezTo>
                  <a:cubicBezTo>
                    <a:pt x="78" y="105"/>
                    <a:pt x="78" y="105"/>
                    <a:pt x="78" y="105"/>
                  </a:cubicBezTo>
                  <a:cubicBezTo>
                    <a:pt x="87" y="97"/>
                    <a:pt x="91" y="85"/>
                    <a:pt x="87" y="73"/>
                  </a:cubicBezTo>
                  <a:cubicBezTo>
                    <a:pt x="87" y="72"/>
                    <a:pt x="86" y="72"/>
                    <a:pt x="86" y="71"/>
                  </a:cubicBezTo>
                  <a:cubicBezTo>
                    <a:pt x="97" y="67"/>
                    <a:pt x="104" y="54"/>
                    <a:pt x="100" y="43"/>
                  </a:cubicBezTo>
                  <a:cubicBezTo>
                    <a:pt x="97" y="35"/>
                    <a:pt x="91" y="30"/>
                    <a:pt x="83" y="28"/>
                  </a:cubicBezTo>
                  <a:cubicBezTo>
                    <a:pt x="83" y="26"/>
                    <a:pt x="83" y="25"/>
                    <a:pt x="82" y="24"/>
                  </a:cubicBezTo>
                  <a:cubicBezTo>
                    <a:pt x="77" y="8"/>
                    <a:pt x="60" y="0"/>
                    <a:pt x="45" y="5"/>
                  </a:cubicBezTo>
                  <a:cubicBezTo>
                    <a:pt x="37" y="8"/>
                    <a:pt x="30" y="14"/>
                    <a:pt x="27" y="21"/>
                  </a:cubicBezTo>
                  <a:cubicBezTo>
                    <a:pt x="26" y="21"/>
                    <a:pt x="25" y="21"/>
                    <a:pt x="24" y="22"/>
                  </a:cubicBezTo>
                  <a:cubicBezTo>
                    <a:pt x="9" y="27"/>
                    <a:pt x="0" y="43"/>
                    <a:pt x="5" y="59"/>
                  </a:cubicBezTo>
                  <a:cubicBezTo>
                    <a:pt x="9" y="70"/>
                    <a:pt x="18" y="78"/>
                    <a:pt x="29" y="79"/>
                  </a:cubicBezTo>
                  <a:cubicBezTo>
                    <a:pt x="29" y="83"/>
                    <a:pt x="29" y="87"/>
                    <a:pt x="31" y="92"/>
                  </a:cubicBezTo>
                  <a:cubicBezTo>
                    <a:pt x="35" y="106"/>
                    <a:pt x="50" y="114"/>
                    <a:pt x="65" y="111"/>
                  </a:cubicBezTo>
                  <a:cubicBezTo>
                    <a:pt x="95" y="203"/>
                    <a:pt x="95" y="203"/>
                    <a:pt x="95" y="203"/>
                  </a:cubicBezTo>
                  <a:cubicBezTo>
                    <a:pt x="106" y="237"/>
                    <a:pt x="117" y="271"/>
                    <a:pt x="129" y="30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8" name="îṥļîďé">
              <a:extLst>
                <a:ext uri="{FF2B5EF4-FFF2-40B4-BE49-F238E27FC236}">
                  <a16:creationId xmlns:a16="http://schemas.microsoft.com/office/drawing/2014/main" id="{BD64F7EA-F62D-4BBD-A66B-E92AC6753AD3}"/>
                </a:ext>
              </a:extLst>
            </p:cNvPr>
            <p:cNvSpPr/>
            <p:nvPr/>
          </p:nvSpPr>
          <p:spPr bwMode="auto">
            <a:xfrm flipH="1">
              <a:off x="3831983" y="2353720"/>
              <a:ext cx="204958" cy="312706"/>
            </a:xfrm>
            <a:custGeom>
              <a:avLst/>
              <a:gdLst>
                <a:gd name="T0" fmla="*/ 89 w 122"/>
                <a:gd name="T1" fmla="*/ 191 h 191"/>
                <a:gd name="T2" fmla="*/ 103 w 122"/>
                <a:gd name="T3" fmla="*/ 186 h 191"/>
                <a:gd name="T4" fmla="*/ 82 w 122"/>
                <a:gd name="T5" fmla="*/ 121 h 191"/>
                <a:gd name="T6" fmla="*/ 95 w 122"/>
                <a:gd name="T7" fmla="*/ 98 h 191"/>
                <a:gd name="T8" fmla="*/ 98 w 122"/>
                <a:gd name="T9" fmla="*/ 97 h 191"/>
                <a:gd name="T10" fmla="*/ 117 w 122"/>
                <a:gd name="T11" fmla="*/ 60 h 191"/>
                <a:gd name="T12" fmla="*/ 93 w 122"/>
                <a:gd name="T13" fmla="*/ 39 h 191"/>
                <a:gd name="T14" fmla="*/ 95 w 122"/>
                <a:gd name="T15" fmla="*/ 21 h 191"/>
                <a:gd name="T16" fmla="*/ 67 w 122"/>
                <a:gd name="T17" fmla="*/ 7 h 191"/>
                <a:gd name="T18" fmla="*/ 57 w 122"/>
                <a:gd name="T19" fmla="*/ 14 h 191"/>
                <a:gd name="T20" fmla="*/ 24 w 122"/>
                <a:gd name="T21" fmla="*/ 4 h 191"/>
                <a:gd name="T22" fmla="*/ 5 w 122"/>
                <a:gd name="T23" fmla="*/ 41 h 191"/>
                <a:gd name="T24" fmla="*/ 18 w 122"/>
                <a:gd name="T25" fmla="*/ 58 h 191"/>
                <a:gd name="T26" fmla="*/ 10 w 122"/>
                <a:gd name="T27" fmla="*/ 83 h 191"/>
                <a:gd name="T28" fmla="*/ 36 w 122"/>
                <a:gd name="T29" fmla="*/ 97 h 191"/>
                <a:gd name="T30" fmla="*/ 37 w 122"/>
                <a:gd name="T31" fmla="*/ 106 h 191"/>
                <a:gd name="T32" fmla="*/ 68 w 122"/>
                <a:gd name="T33" fmla="*/ 126 h 191"/>
                <a:gd name="T34" fmla="*/ 89 w 122"/>
                <a:gd name="T3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91">
                  <a:moveTo>
                    <a:pt x="89" y="191"/>
                  </a:moveTo>
                  <a:cubicBezTo>
                    <a:pt x="94" y="189"/>
                    <a:pt x="98" y="188"/>
                    <a:pt x="103" y="186"/>
                  </a:cubicBezTo>
                  <a:cubicBezTo>
                    <a:pt x="82" y="121"/>
                    <a:pt x="82" y="121"/>
                    <a:pt x="82" y="121"/>
                  </a:cubicBezTo>
                  <a:cubicBezTo>
                    <a:pt x="90" y="116"/>
                    <a:pt x="94" y="107"/>
                    <a:pt x="95" y="98"/>
                  </a:cubicBezTo>
                  <a:cubicBezTo>
                    <a:pt x="96" y="98"/>
                    <a:pt x="97" y="97"/>
                    <a:pt x="98" y="97"/>
                  </a:cubicBezTo>
                  <a:cubicBezTo>
                    <a:pt x="114" y="92"/>
                    <a:pt x="122" y="75"/>
                    <a:pt x="117" y="60"/>
                  </a:cubicBezTo>
                  <a:cubicBezTo>
                    <a:pt x="113" y="48"/>
                    <a:pt x="104" y="41"/>
                    <a:pt x="93" y="39"/>
                  </a:cubicBezTo>
                  <a:cubicBezTo>
                    <a:pt x="96" y="34"/>
                    <a:pt x="97" y="27"/>
                    <a:pt x="95" y="21"/>
                  </a:cubicBezTo>
                  <a:cubicBezTo>
                    <a:pt x="91" y="9"/>
                    <a:pt x="79" y="3"/>
                    <a:pt x="67" y="7"/>
                  </a:cubicBezTo>
                  <a:cubicBezTo>
                    <a:pt x="63" y="8"/>
                    <a:pt x="59" y="11"/>
                    <a:pt x="57" y="14"/>
                  </a:cubicBezTo>
                  <a:cubicBezTo>
                    <a:pt x="49" y="4"/>
                    <a:pt x="36" y="0"/>
                    <a:pt x="24" y="4"/>
                  </a:cubicBezTo>
                  <a:cubicBezTo>
                    <a:pt x="8" y="9"/>
                    <a:pt x="0" y="26"/>
                    <a:pt x="5" y="41"/>
                  </a:cubicBezTo>
                  <a:cubicBezTo>
                    <a:pt x="7" y="48"/>
                    <a:pt x="12" y="54"/>
                    <a:pt x="18" y="58"/>
                  </a:cubicBezTo>
                  <a:cubicBezTo>
                    <a:pt x="10" y="63"/>
                    <a:pt x="7" y="73"/>
                    <a:pt x="10" y="83"/>
                  </a:cubicBezTo>
                  <a:cubicBezTo>
                    <a:pt x="14" y="94"/>
                    <a:pt x="25" y="100"/>
                    <a:pt x="36" y="97"/>
                  </a:cubicBezTo>
                  <a:cubicBezTo>
                    <a:pt x="36" y="100"/>
                    <a:pt x="36" y="103"/>
                    <a:pt x="37" y="106"/>
                  </a:cubicBezTo>
                  <a:cubicBezTo>
                    <a:pt x="42" y="119"/>
                    <a:pt x="54" y="127"/>
                    <a:pt x="68" y="126"/>
                  </a:cubicBezTo>
                  <a:lnTo>
                    <a:pt x="89" y="191"/>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9" name="í$ḻïďe">
              <a:extLst>
                <a:ext uri="{FF2B5EF4-FFF2-40B4-BE49-F238E27FC236}">
                  <a16:creationId xmlns:a16="http://schemas.microsoft.com/office/drawing/2014/main" id="{6F99713C-2615-4F56-A042-066D9CE2FCD4}"/>
                </a:ext>
              </a:extLst>
            </p:cNvPr>
            <p:cNvSpPr/>
            <p:nvPr/>
          </p:nvSpPr>
          <p:spPr bwMode="auto">
            <a:xfrm flipH="1">
              <a:off x="2792625" y="2208536"/>
              <a:ext cx="211201" cy="490379"/>
            </a:xfrm>
            <a:custGeom>
              <a:avLst/>
              <a:gdLst>
                <a:gd name="T0" fmla="*/ 8 w 126"/>
                <a:gd name="T1" fmla="*/ 297 h 300"/>
                <a:gd name="T2" fmla="*/ 22 w 126"/>
                <a:gd name="T3" fmla="*/ 300 h 300"/>
                <a:gd name="T4" fmla="*/ 44 w 126"/>
                <a:gd name="T5" fmla="*/ 198 h 300"/>
                <a:gd name="T6" fmla="*/ 61 w 126"/>
                <a:gd name="T7" fmla="*/ 118 h 300"/>
                <a:gd name="T8" fmla="*/ 68 w 126"/>
                <a:gd name="T9" fmla="*/ 122 h 300"/>
                <a:gd name="T10" fmla="*/ 95 w 126"/>
                <a:gd name="T11" fmla="*/ 107 h 300"/>
                <a:gd name="T12" fmla="*/ 94 w 126"/>
                <a:gd name="T13" fmla="*/ 90 h 300"/>
                <a:gd name="T14" fmla="*/ 122 w 126"/>
                <a:gd name="T15" fmla="*/ 68 h 300"/>
                <a:gd name="T16" fmla="*/ 101 w 126"/>
                <a:gd name="T17" fmla="*/ 32 h 300"/>
                <a:gd name="T18" fmla="*/ 91 w 126"/>
                <a:gd name="T19" fmla="*/ 31 h 300"/>
                <a:gd name="T20" fmla="*/ 69 w 126"/>
                <a:gd name="T21" fmla="*/ 4 h 300"/>
                <a:gd name="T22" fmla="*/ 33 w 126"/>
                <a:gd name="T23" fmla="*/ 25 h 300"/>
                <a:gd name="T24" fmla="*/ 43 w 126"/>
                <a:gd name="T25" fmla="*/ 56 h 300"/>
                <a:gd name="T26" fmla="*/ 28 w 126"/>
                <a:gd name="T27" fmla="*/ 70 h 300"/>
                <a:gd name="T28" fmla="*/ 4 w 126"/>
                <a:gd name="T29" fmla="*/ 91 h 300"/>
                <a:gd name="T30" fmla="*/ 25 w 126"/>
                <a:gd name="T31" fmla="*/ 127 h 300"/>
                <a:gd name="T32" fmla="*/ 44 w 126"/>
                <a:gd name="T33" fmla="*/ 126 h 300"/>
                <a:gd name="T34" fmla="*/ 30 w 126"/>
                <a:gd name="T35" fmla="*/ 194 h 300"/>
                <a:gd name="T36" fmla="*/ 8 w 126"/>
                <a:gd name="T37"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300">
                  <a:moveTo>
                    <a:pt x="8" y="297"/>
                  </a:moveTo>
                  <a:cubicBezTo>
                    <a:pt x="13" y="298"/>
                    <a:pt x="18" y="299"/>
                    <a:pt x="22" y="300"/>
                  </a:cubicBezTo>
                  <a:cubicBezTo>
                    <a:pt x="30" y="266"/>
                    <a:pt x="37" y="232"/>
                    <a:pt x="44" y="198"/>
                  </a:cubicBezTo>
                  <a:cubicBezTo>
                    <a:pt x="61" y="118"/>
                    <a:pt x="61" y="118"/>
                    <a:pt x="61" y="118"/>
                  </a:cubicBezTo>
                  <a:cubicBezTo>
                    <a:pt x="63" y="120"/>
                    <a:pt x="66" y="121"/>
                    <a:pt x="68" y="122"/>
                  </a:cubicBezTo>
                  <a:cubicBezTo>
                    <a:pt x="80" y="125"/>
                    <a:pt x="92" y="118"/>
                    <a:pt x="95" y="107"/>
                  </a:cubicBezTo>
                  <a:cubicBezTo>
                    <a:pt x="97" y="101"/>
                    <a:pt x="96" y="95"/>
                    <a:pt x="94" y="90"/>
                  </a:cubicBezTo>
                  <a:cubicBezTo>
                    <a:pt x="107" y="90"/>
                    <a:pt x="118" y="82"/>
                    <a:pt x="122" y="68"/>
                  </a:cubicBezTo>
                  <a:cubicBezTo>
                    <a:pt x="126" y="53"/>
                    <a:pt x="117" y="36"/>
                    <a:pt x="101" y="32"/>
                  </a:cubicBezTo>
                  <a:cubicBezTo>
                    <a:pt x="98" y="31"/>
                    <a:pt x="95" y="31"/>
                    <a:pt x="91" y="31"/>
                  </a:cubicBezTo>
                  <a:cubicBezTo>
                    <a:pt x="91" y="19"/>
                    <a:pt x="82" y="7"/>
                    <a:pt x="69" y="4"/>
                  </a:cubicBezTo>
                  <a:cubicBezTo>
                    <a:pt x="54" y="0"/>
                    <a:pt x="37" y="9"/>
                    <a:pt x="33" y="25"/>
                  </a:cubicBezTo>
                  <a:cubicBezTo>
                    <a:pt x="30" y="36"/>
                    <a:pt x="34" y="48"/>
                    <a:pt x="43" y="56"/>
                  </a:cubicBezTo>
                  <a:cubicBezTo>
                    <a:pt x="37" y="58"/>
                    <a:pt x="31" y="63"/>
                    <a:pt x="28" y="70"/>
                  </a:cubicBezTo>
                  <a:cubicBezTo>
                    <a:pt x="17" y="71"/>
                    <a:pt x="7" y="80"/>
                    <a:pt x="4" y="91"/>
                  </a:cubicBezTo>
                  <a:cubicBezTo>
                    <a:pt x="0" y="107"/>
                    <a:pt x="9" y="123"/>
                    <a:pt x="25" y="127"/>
                  </a:cubicBezTo>
                  <a:cubicBezTo>
                    <a:pt x="32" y="129"/>
                    <a:pt x="38" y="129"/>
                    <a:pt x="44" y="126"/>
                  </a:cubicBezTo>
                  <a:cubicBezTo>
                    <a:pt x="30" y="194"/>
                    <a:pt x="30" y="194"/>
                    <a:pt x="30" y="194"/>
                  </a:cubicBezTo>
                  <a:cubicBezTo>
                    <a:pt x="22" y="228"/>
                    <a:pt x="15" y="263"/>
                    <a:pt x="8" y="297"/>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0" name="íṧḷîḓê">
              <a:extLst>
                <a:ext uri="{FF2B5EF4-FFF2-40B4-BE49-F238E27FC236}">
                  <a16:creationId xmlns:a16="http://schemas.microsoft.com/office/drawing/2014/main" id="{E6108474-EE21-413F-9477-5E832998E43A}"/>
                </a:ext>
              </a:extLst>
            </p:cNvPr>
            <p:cNvSpPr/>
            <p:nvPr/>
          </p:nvSpPr>
          <p:spPr bwMode="auto">
            <a:xfrm flipH="1">
              <a:off x="2914351" y="2259299"/>
              <a:ext cx="299635" cy="404081"/>
            </a:xfrm>
            <a:custGeom>
              <a:avLst/>
              <a:gdLst>
                <a:gd name="T0" fmla="*/ 31 w 179"/>
                <a:gd name="T1" fmla="*/ 244 h 247"/>
                <a:gd name="T2" fmla="*/ 45 w 179"/>
                <a:gd name="T3" fmla="*/ 247 h 247"/>
                <a:gd name="T4" fmla="*/ 60 w 179"/>
                <a:gd name="T5" fmla="*/ 176 h 247"/>
                <a:gd name="T6" fmla="*/ 70 w 179"/>
                <a:gd name="T7" fmla="*/ 179 h 247"/>
                <a:gd name="T8" fmla="*/ 92 w 179"/>
                <a:gd name="T9" fmla="*/ 160 h 247"/>
                <a:gd name="T10" fmla="*/ 101 w 179"/>
                <a:gd name="T11" fmla="*/ 161 h 247"/>
                <a:gd name="T12" fmla="*/ 131 w 179"/>
                <a:gd name="T13" fmla="*/ 133 h 247"/>
                <a:gd name="T14" fmla="*/ 112 w 179"/>
                <a:gd name="T15" fmla="*/ 104 h 247"/>
                <a:gd name="T16" fmla="*/ 114 w 179"/>
                <a:gd name="T17" fmla="*/ 94 h 247"/>
                <a:gd name="T18" fmla="*/ 86 w 179"/>
                <a:gd name="T19" fmla="*/ 64 h 247"/>
                <a:gd name="T20" fmla="*/ 57 w 179"/>
                <a:gd name="T21" fmla="*/ 84 h 247"/>
                <a:gd name="T22" fmla="*/ 41 w 179"/>
                <a:gd name="T23" fmla="*/ 77 h 247"/>
                <a:gd name="T24" fmla="*/ 19 w 179"/>
                <a:gd name="T25" fmla="*/ 98 h 247"/>
                <a:gd name="T26" fmla="*/ 22 w 179"/>
                <a:gd name="T27" fmla="*/ 111 h 247"/>
                <a:gd name="T28" fmla="*/ 0 w 179"/>
                <a:gd name="T29" fmla="*/ 138 h 247"/>
                <a:gd name="T30" fmla="*/ 29 w 179"/>
                <a:gd name="T31" fmla="*/ 169 h 247"/>
                <a:gd name="T32" fmla="*/ 48 w 179"/>
                <a:gd name="T33" fmla="*/ 163 h 247"/>
                <a:gd name="T34" fmla="*/ 31 w 179"/>
                <a:gd name="T35" fmla="*/ 244 h 247"/>
                <a:gd name="T36" fmla="*/ 149 w 179"/>
                <a:gd name="T37" fmla="*/ 45 h 247"/>
                <a:gd name="T38" fmla="*/ 176 w 179"/>
                <a:gd name="T39" fmla="*/ 30 h 247"/>
                <a:gd name="T40" fmla="*/ 160 w 179"/>
                <a:gd name="T41" fmla="*/ 3 h 247"/>
                <a:gd name="T42" fmla="*/ 133 w 179"/>
                <a:gd name="T43" fmla="*/ 18 h 247"/>
                <a:gd name="T44" fmla="*/ 149 w 179"/>
                <a:gd name="T45"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247">
                  <a:moveTo>
                    <a:pt x="31" y="244"/>
                  </a:moveTo>
                  <a:cubicBezTo>
                    <a:pt x="36" y="245"/>
                    <a:pt x="41" y="246"/>
                    <a:pt x="45" y="247"/>
                  </a:cubicBezTo>
                  <a:cubicBezTo>
                    <a:pt x="60" y="176"/>
                    <a:pt x="60" y="176"/>
                    <a:pt x="60" y="176"/>
                  </a:cubicBezTo>
                  <a:cubicBezTo>
                    <a:pt x="63" y="178"/>
                    <a:pt x="66" y="179"/>
                    <a:pt x="70" y="179"/>
                  </a:cubicBezTo>
                  <a:cubicBezTo>
                    <a:pt x="81" y="179"/>
                    <a:pt x="91" y="171"/>
                    <a:pt x="92" y="160"/>
                  </a:cubicBezTo>
                  <a:cubicBezTo>
                    <a:pt x="95" y="161"/>
                    <a:pt x="98" y="161"/>
                    <a:pt x="101" y="161"/>
                  </a:cubicBezTo>
                  <a:cubicBezTo>
                    <a:pt x="117" y="162"/>
                    <a:pt x="131" y="150"/>
                    <a:pt x="131" y="133"/>
                  </a:cubicBezTo>
                  <a:cubicBezTo>
                    <a:pt x="132" y="120"/>
                    <a:pt x="124" y="108"/>
                    <a:pt x="112" y="104"/>
                  </a:cubicBezTo>
                  <a:cubicBezTo>
                    <a:pt x="113" y="101"/>
                    <a:pt x="114" y="98"/>
                    <a:pt x="114" y="94"/>
                  </a:cubicBezTo>
                  <a:cubicBezTo>
                    <a:pt x="115" y="78"/>
                    <a:pt x="102" y="64"/>
                    <a:pt x="86" y="64"/>
                  </a:cubicBezTo>
                  <a:cubicBezTo>
                    <a:pt x="72" y="63"/>
                    <a:pt x="61" y="72"/>
                    <a:pt x="57" y="84"/>
                  </a:cubicBezTo>
                  <a:cubicBezTo>
                    <a:pt x="53" y="80"/>
                    <a:pt x="47" y="78"/>
                    <a:pt x="41" y="77"/>
                  </a:cubicBezTo>
                  <a:cubicBezTo>
                    <a:pt x="29" y="77"/>
                    <a:pt x="19" y="86"/>
                    <a:pt x="19" y="98"/>
                  </a:cubicBezTo>
                  <a:cubicBezTo>
                    <a:pt x="18" y="103"/>
                    <a:pt x="20" y="107"/>
                    <a:pt x="22" y="111"/>
                  </a:cubicBezTo>
                  <a:cubicBezTo>
                    <a:pt x="10" y="114"/>
                    <a:pt x="1" y="125"/>
                    <a:pt x="0" y="138"/>
                  </a:cubicBezTo>
                  <a:cubicBezTo>
                    <a:pt x="0" y="154"/>
                    <a:pt x="12" y="168"/>
                    <a:pt x="29" y="169"/>
                  </a:cubicBezTo>
                  <a:cubicBezTo>
                    <a:pt x="36" y="169"/>
                    <a:pt x="43" y="167"/>
                    <a:pt x="48" y="163"/>
                  </a:cubicBezTo>
                  <a:cubicBezTo>
                    <a:pt x="31" y="244"/>
                    <a:pt x="31" y="244"/>
                    <a:pt x="31" y="244"/>
                  </a:cubicBezTo>
                  <a:close/>
                  <a:moveTo>
                    <a:pt x="149" y="45"/>
                  </a:moveTo>
                  <a:cubicBezTo>
                    <a:pt x="160" y="48"/>
                    <a:pt x="172" y="41"/>
                    <a:pt x="176" y="30"/>
                  </a:cubicBezTo>
                  <a:cubicBezTo>
                    <a:pt x="179" y="18"/>
                    <a:pt x="172" y="6"/>
                    <a:pt x="160" y="3"/>
                  </a:cubicBezTo>
                  <a:cubicBezTo>
                    <a:pt x="148" y="0"/>
                    <a:pt x="136" y="6"/>
                    <a:pt x="133" y="18"/>
                  </a:cubicBezTo>
                  <a:cubicBezTo>
                    <a:pt x="130" y="30"/>
                    <a:pt x="137" y="42"/>
                    <a:pt x="149" y="4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îşlïḋê">
              <a:extLst>
                <a:ext uri="{FF2B5EF4-FFF2-40B4-BE49-F238E27FC236}">
                  <a16:creationId xmlns:a16="http://schemas.microsoft.com/office/drawing/2014/main" id="{07DC7448-DE5C-4314-B152-4C8479051D80}"/>
                </a:ext>
              </a:extLst>
            </p:cNvPr>
            <p:cNvSpPr/>
            <p:nvPr/>
          </p:nvSpPr>
          <p:spPr bwMode="auto">
            <a:xfrm flipH="1">
              <a:off x="2400395" y="2562867"/>
              <a:ext cx="392230" cy="338088"/>
            </a:xfrm>
            <a:custGeom>
              <a:avLst/>
              <a:gdLst>
                <a:gd name="T0" fmla="*/ 202 w 234"/>
                <a:gd name="T1" fmla="*/ 132 h 207"/>
                <a:gd name="T2" fmla="*/ 215 w 234"/>
                <a:gd name="T3" fmla="*/ 102 h 207"/>
                <a:gd name="T4" fmla="*/ 222 w 234"/>
                <a:gd name="T5" fmla="*/ 94 h 207"/>
                <a:gd name="T6" fmla="*/ 210 w 234"/>
                <a:gd name="T7" fmla="*/ 168 h 207"/>
                <a:gd name="T8" fmla="*/ 193 w 234"/>
                <a:gd name="T9" fmla="*/ 97 h 207"/>
                <a:gd name="T10" fmla="*/ 202 w 234"/>
                <a:gd name="T11" fmla="*/ 124 h 207"/>
                <a:gd name="T12" fmla="*/ 184 w 234"/>
                <a:gd name="T13" fmla="*/ 92 h 207"/>
                <a:gd name="T14" fmla="*/ 202 w 234"/>
                <a:gd name="T15" fmla="*/ 81 h 207"/>
                <a:gd name="T16" fmla="*/ 179 w 234"/>
                <a:gd name="T17" fmla="*/ 132 h 207"/>
                <a:gd name="T18" fmla="*/ 189 w 234"/>
                <a:gd name="T19" fmla="*/ 159 h 207"/>
                <a:gd name="T20" fmla="*/ 202 w 234"/>
                <a:gd name="T21" fmla="*/ 180 h 207"/>
                <a:gd name="T22" fmla="*/ 170 w 234"/>
                <a:gd name="T23" fmla="*/ 75 h 207"/>
                <a:gd name="T24" fmla="*/ 154 w 234"/>
                <a:gd name="T25" fmla="*/ 52 h 207"/>
                <a:gd name="T26" fmla="*/ 154 w 234"/>
                <a:gd name="T27" fmla="*/ 102 h 207"/>
                <a:gd name="T28" fmla="*/ 179 w 234"/>
                <a:gd name="T29" fmla="*/ 101 h 207"/>
                <a:gd name="T30" fmla="*/ 154 w 234"/>
                <a:gd name="T31" fmla="*/ 116 h 207"/>
                <a:gd name="T32" fmla="*/ 154 w 234"/>
                <a:gd name="T33" fmla="*/ 141 h 207"/>
                <a:gd name="T34" fmla="*/ 178 w 234"/>
                <a:gd name="T35" fmla="*/ 202 h 207"/>
                <a:gd name="T36" fmla="*/ 167 w 234"/>
                <a:gd name="T37" fmla="*/ 154 h 207"/>
                <a:gd name="T38" fmla="*/ 179 w 234"/>
                <a:gd name="T39" fmla="*/ 124 h 207"/>
                <a:gd name="T40" fmla="*/ 162 w 234"/>
                <a:gd name="T41" fmla="*/ 193 h 207"/>
                <a:gd name="T42" fmla="*/ 154 w 234"/>
                <a:gd name="T43" fmla="*/ 93 h 207"/>
                <a:gd name="T44" fmla="*/ 146 w 234"/>
                <a:gd name="T45" fmla="*/ 81 h 207"/>
                <a:gd name="T46" fmla="*/ 136 w 234"/>
                <a:gd name="T47" fmla="*/ 54 h 207"/>
                <a:gd name="T48" fmla="*/ 136 w 234"/>
                <a:gd name="T49" fmla="*/ 98 h 207"/>
                <a:gd name="T50" fmla="*/ 154 w 234"/>
                <a:gd name="T51" fmla="*/ 116 h 207"/>
                <a:gd name="T52" fmla="*/ 140 w 234"/>
                <a:gd name="T53" fmla="*/ 179 h 207"/>
                <a:gd name="T54" fmla="*/ 154 w 234"/>
                <a:gd name="T55" fmla="*/ 141 h 207"/>
                <a:gd name="T56" fmla="*/ 154 w 234"/>
                <a:gd name="T57" fmla="*/ 198 h 207"/>
                <a:gd name="T58" fmla="*/ 126 w 234"/>
                <a:gd name="T59" fmla="*/ 57 h 207"/>
                <a:gd name="T60" fmla="*/ 136 w 234"/>
                <a:gd name="T61" fmla="*/ 84 h 207"/>
                <a:gd name="T62" fmla="*/ 118 w 234"/>
                <a:gd name="T63" fmla="*/ 52 h 207"/>
                <a:gd name="T64" fmla="*/ 136 w 234"/>
                <a:gd name="T65" fmla="*/ 41 h 207"/>
                <a:gd name="T66" fmla="*/ 114 w 234"/>
                <a:gd name="T67" fmla="*/ 92 h 207"/>
                <a:gd name="T68" fmla="*/ 113 w 234"/>
                <a:gd name="T69" fmla="*/ 121 h 207"/>
                <a:gd name="T70" fmla="*/ 136 w 234"/>
                <a:gd name="T71" fmla="*/ 135 h 207"/>
                <a:gd name="T72" fmla="*/ 136 w 234"/>
                <a:gd name="T73" fmla="*/ 98 h 207"/>
                <a:gd name="T74" fmla="*/ 93 w 234"/>
                <a:gd name="T75" fmla="*/ 36 h 207"/>
                <a:gd name="T76" fmla="*/ 112 w 234"/>
                <a:gd name="T77" fmla="*/ 60 h 207"/>
                <a:gd name="T78" fmla="*/ 80 w 234"/>
                <a:gd name="T79" fmla="*/ 39 h 207"/>
                <a:gd name="T80" fmla="*/ 80 w 234"/>
                <a:gd name="T81" fmla="*/ 7 h 207"/>
                <a:gd name="T82" fmla="*/ 80 w 234"/>
                <a:gd name="T83" fmla="*/ 71 h 207"/>
                <a:gd name="T84" fmla="*/ 90 w 234"/>
                <a:gd name="T85" fmla="*/ 98 h 207"/>
                <a:gd name="T86" fmla="*/ 108 w 234"/>
                <a:gd name="T87" fmla="*/ 159 h 207"/>
                <a:gd name="T88" fmla="*/ 100 w 234"/>
                <a:gd name="T89" fmla="*/ 113 h 207"/>
                <a:gd name="T90" fmla="*/ 113 w 234"/>
                <a:gd name="T91" fmla="*/ 84 h 207"/>
                <a:gd name="T92" fmla="*/ 56 w 234"/>
                <a:gd name="T93" fmla="*/ 117 h 207"/>
                <a:gd name="T94" fmla="*/ 70 w 234"/>
                <a:gd name="T95" fmla="*/ 14 h 207"/>
                <a:gd name="T96" fmla="*/ 76 w 234"/>
                <a:gd name="T97" fmla="*/ 4 h 207"/>
                <a:gd name="T98" fmla="*/ 56 w 234"/>
                <a:gd name="T99" fmla="*/ 42 h 207"/>
                <a:gd name="T100" fmla="*/ 79 w 234"/>
                <a:gd name="T101" fmla="*/ 40 h 207"/>
                <a:gd name="T102" fmla="*/ 56 w 234"/>
                <a:gd name="T103" fmla="*/ 56 h 207"/>
                <a:gd name="T104" fmla="*/ 56 w 234"/>
                <a:gd name="T105" fmla="*/ 112 h 207"/>
                <a:gd name="T106" fmla="*/ 80 w 234"/>
                <a:gd name="T107" fmla="*/ 101 h 207"/>
                <a:gd name="T108" fmla="*/ 70 w 234"/>
                <a:gd name="T109" fmla="*/ 74 h 207"/>
                <a:gd name="T110" fmla="*/ 50 w 234"/>
                <a:gd name="T111" fmla="*/ 136 h 207"/>
                <a:gd name="T112" fmla="*/ 56 w 234"/>
                <a:gd name="T113" fmla="*/ 5 h 207"/>
                <a:gd name="T114" fmla="*/ 56 w 234"/>
                <a:gd name="T115" fmla="*/ 42 h 207"/>
                <a:gd name="T116" fmla="*/ 56 w 234"/>
                <a:gd name="T117" fmla="*/ 56 h 207"/>
                <a:gd name="T118" fmla="*/ 0 w 234"/>
                <a:gd name="T119" fmla="*/ 94 h 207"/>
                <a:gd name="T120" fmla="*/ 34 w 234"/>
                <a:gd name="T121" fmla="*/ 11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207">
                  <a:moveTo>
                    <a:pt x="202" y="180"/>
                  </a:moveTo>
                  <a:cubicBezTo>
                    <a:pt x="202" y="137"/>
                    <a:pt x="202" y="137"/>
                    <a:pt x="202" y="137"/>
                  </a:cubicBezTo>
                  <a:cubicBezTo>
                    <a:pt x="205" y="133"/>
                    <a:pt x="205" y="133"/>
                    <a:pt x="205" y="133"/>
                  </a:cubicBezTo>
                  <a:cubicBezTo>
                    <a:pt x="202" y="132"/>
                    <a:pt x="202" y="132"/>
                    <a:pt x="202" y="132"/>
                  </a:cubicBezTo>
                  <a:cubicBezTo>
                    <a:pt x="202" y="124"/>
                    <a:pt x="202" y="124"/>
                    <a:pt x="202" y="124"/>
                  </a:cubicBezTo>
                  <a:cubicBezTo>
                    <a:pt x="206" y="126"/>
                    <a:pt x="210" y="125"/>
                    <a:pt x="212" y="121"/>
                  </a:cubicBezTo>
                  <a:cubicBezTo>
                    <a:pt x="214" y="118"/>
                    <a:pt x="216" y="115"/>
                    <a:pt x="218" y="112"/>
                  </a:cubicBezTo>
                  <a:cubicBezTo>
                    <a:pt x="220" y="109"/>
                    <a:pt x="219" y="104"/>
                    <a:pt x="215" y="102"/>
                  </a:cubicBezTo>
                  <a:cubicBezTo>
                    <a:pt x="211" y="100"/>
                    <a:pt x="207" y="97"/>
                    <a:pt x="203" y="95"/>
                  </a:cubicBezTo>
                  <a:cubicBezTo>
                    <a:pt x="203" y="95"/>
                    <a:pt x="203" y="95"/>
                    <a:pt x="202" y="94"/>
                  </a:cubicBezTo>
                  <a:cubicBezTo>
                    <a:pt x="202" y="81"/>
                    <a:pt x="202" y="81"/>
                    <a:pt x="202" y="81"/>
                  </a:cubicBezTo>
                  <a:cubicBezTo>
                    <a:pt x="222" y="94"/>
                    <a:pt x="222" y="94"/>
                    <a:pt x="222" y="94"/>
                  </a:cubicBezTo>
                  <a:cubicBezTo>
                    <a:pt x="231" y="99"/>
                    <a:pt x="234" y="109"/>
                    <a:pt x="229" y="117"/>
                  </a:cubicBezTo>
                  <a:cubicBezTo>
                    <a:pt x="221" y="130"/>
                    <a:pt x="213" y="143"/>
                    <a:pt x="205" y="156"/>
                  </a:cubicBezTo>
                  <a:cubicBezTo>
                    <a:pt x="206" y="156"/>
                    <a:pt x="206" y="157"/>
                    <a:pt x="206" y="157"/>
                  </a:cubicBezTo>
                  <a:cubicBezTo>
                    <a:pt x="210" y="159"/>
                    <a:pt x="212" y="164"/>
                    <a:pt x="210" y="168"/>
                  </a:cubicBezTo>
                  <a:lnTo>
                    <a:pt x="202" y="180"/>
                  </a:lnTo>
                  <a:close/>
                  <a:moveTo>
                    <a:pt x="202" y="81"/>
                  </a:moveTo>
                  <a:cubicBezTo>
                    <a:pt x="202" y="94"/>
                    <a:pt x="202" y="94"/>
                    <a:pt x="202" y="94"/>
                  </a:cubicBezTo>
                  <a:cubicBezTo>
                    <a:pt x="199" y="93"/>
                    <a:pt x="195" y="94"/>
                    <a:pt x="193" y="97"/>
                  </a:cubicBezTo>
                  <a:cubicBezTo>
                    <a:pt x="191" y="100"/>
                    <a:pt x="189" y="103"/>
                    <a:pt x="187" y="106"/>
                  </a:cubicBezTo>
                  <a:cubicBezTo>
                    <a:pt x="185" y="110"/>
                    <a:pt x="186" y="114"/>
                    <a:pt x="190" y="116"/>
                  </a:cubicBezTo>
                  <a:cubicBezTo>
                    <a:pt x="194" y="119"/>
                    <a:pt x="198" y="121"/>
                    <a:pt x="202" y="124"/>
                  </a:cubicBezTo>
                  <a:cubicBezTo>
                    <a:pt x="202" y="124"/>
                    <a:pt x="202" y="124"/>
                    <a:pt x="202" y="124"/>
                  </a:cubicBezTo>
                  <a:cubicBezTo>
                    <a:pt x="202" y="132"/>
                    <a:pt x="202" y="132"/>
                    <a:pt x="202" y="132"/>
                  </a:cubicBezTo>
                  <a:cubicBezTo>
                    <a:pt x="179" y="118"/>
                    <a:pt x="179" y="118"/>
                    <a:pt x="179" y="118"/>
                  </a:cubicBezTo>
                  <a:cubicBezTo>
                    <a:pt x="179" y="100"/>
                    <a:pt x="179" y="100"/>
                    <a:pt x="179" y="100"/>
                  </a:cubicBezTo>
                  <a:cubicBezTo>
                    <a:pt x="184" y="92"/>
                    <a:pt x="184" y="92"/>
                    <a:pt x="184" y="92"/>
                  </a:cubicBezTo>
                  <a:cubicBezTo>
                    <a:pt x="186" y="89"/>
                    <a:pt x="185" y="84"/>
                    <a:pt x="182" y="82"/>
                  </a:cubicBezTo>
                  <a:cubicBezTo>
                    <a:pt x="179" y="80"/>
                    <a:pt x="179" y="80"/>
                    <a:pt x="179" y="80"/>
                  </a:cubicBezTo>
                  <a:cubicBezTo>
                    <a:pt x="179" y="68"/>
                    <a:pt x="179" y="68"/>
                    <a:pt x="179" y="68"/>
                  </a:cubicBezTo>
                  <a:cubicBezTo>
                    <a:pt x="202" y="81"/>
                    <a:pt x="202" y="81"/>
                    <a:pt x="202" y="81"/>
                  </a:cubicBezTo>
                  <a:close/>
                  <a:moveTo>
                    <a:pt x="202" y="137"/>
                  </a:moveTo>
                  <a:cubicBezTo>
                    <a:pt x="202" y="138"/>
                    <a:pt x="202" y="138"/>
                    <a:pt x="202" y="138"/>
                  </a:cubicBezTo>
                  <a:cubicBezTo>
                    <a:pt x="179" y="124"/>
                    <a:pt x="179" y="124"/>
                    <a:pt x="179" y="124"/>
                  </a:cubicBezTo>
                  <a:cubicBezTo>
                    <a:pt x="179" y="132"/>
                    <a:pt x="179" y="132"/>
                    <a:pt x="179" y="132"/>
                  </a:cubicBezTo>
                  <a:cubicBezTo>
                    <a:pt x="180" y="132"/>
                    <a:pt x="180" y="132"/>
                    <a:pt x="180" y="132"/>
                  </a:cubicBezTo>
                  <a:cubicBezTo>
                    <a:pt x="184" y="135"/>
                    <a:pt x="188" y="137"/>
                    <a:pt x="192" y="140"/>
                  </a:cubicBezTo>
                  <a:cubicBezTo>
                    <a:pt x="196" y="142"/>
                    <a:pt x="197" y="146"/>
                    <a:pt x="195" y="150"/>
                  </a:cubicBezTo>
                  <a:cubicBezTo>
                    <a:pt x="193" y="153"/>
                    <a:pt x="191" y="156"/>
                    <a:pt x="189" y="159"/>
                  </a:cubicBezTo>
                  <a:cubicBezTo>
                    <a:pt x="187" y="162"/>
                    <a:pt x="183" y="163"/>
                    <a:pt x="179" y="162"/>
                  </a:cubicBezTo>
                  <a:cubicBezTo>
                    <a:pt x="179" y="203"/>
                    <a:pt x="179" y="203"/>
                    <a:pt x="179" y="203"/>
                  </a:cubicBezTo>
                  <a:cubicBezTo>
                    <a:pt x="186" y="207"/>
                    <a:pt x="186" y="207"/>
                    <a:pt x="186" y="207"/>
                  </a:cubicBezTo>
                  <a:cubicBezTo>
                    <a:pt x="202" y="180"/>
                    <a:pt x="202" y="180"/>
                    <a:pt x="202" y="180"/>
                  </a:cubicBezTo>
                  <a:lnTo>
                    <a:pt x="202" y="137"/>
                  </a:lnTo>
                  <a:close/>
                  <a:moveTo>
                    <a:pt x="179" y="68"/>
                  </a:moveTo>
                  <a:cubicBezTo>
                    <a:pt x="179" y="80"/>
                    <a:pt x="179" y="80"/>
                    <a:pt x="179" y="80"/>
                  </a:cubicBezTo>
                  <a:cubicBezTo>
                    <a:pt x="170" y="75"/>
                    <a:pt x="170" y="75"/>
                    <a:pt x="170" y="75"/>
                  </a:cubicBezTo>
                  <a:cubicBezTo>
                    <a:pt x="166" y="72"/>
                    <a:pt x="161" y="73"/>
                    <a:pt x="159" y="77"/>
                  </a:cubicBezTo>
                  <a:cubicBezTo>
                    <a:pt x="158" y="80"/>
                    <a:pt x="156" y="83"/>
                    <a:pt x="154" y="86"/>
                  </a:cubicBezTo>
                  <a:cubicBezTo>
                    <a:pt x="154" y="86"/>
                    <a:pt x="154" y="86"/>
                    <a:pt x="154" y="86"/>
                  </a:cubicBezTo>
                  <a:cubicBezTo>
                    <a:pt x="154" y="52"/>
                    <a:pt x="154" y="52"/>
                    <a:pt x="154" y="52"/>
                  </a:cubicBezTo>
                  <a:cubicBezTo>
                    <a:pt x="179" y="68"/>
                    <a:pt x="179" y="68"/>
                    <a:pt x="179" y="68"/>
                  </a:cubicBezTo>
                  <a:close/>
                  <a:moveTo>
                    <a:pt x="179" y="100"/>
                  </a:moveTo>
                  <a:cubicBezTo>
                    <a:pt x="179" y="118"/>
                    <a:pt x="179" y="118"/>
                    <a:pt x="179" y="118"/>
                  </a:cubicBezTo>
                  <a:cubicBezTo>
                    <a:pt x="154" y="102"/>
                    <a:pt x="154" y="102"/>
                    <a:pt x="154" y="102"/>
                  </a:cubicBezTo>
                  <a:cubicBezTo>
                    <a:pt x="154" y="93"/>
                    <a:pt x="154" y="93"/>
                    <a:pt x="154" y="93"/>
                  </a:cubicBezTo>
                  <a:cubicBezTo>
                    <a:pt x="154" y="94"/>
                    <a:pt x="155" y="95"/>
                    <a:pt x="157" y="96"/>
                  </a:cubicBezTo>
                  <a:cubicBezTo>
                    <a:pt x="161" y="99"/>
                    <a:pt x="165" y="101"/>
                    <a:pt x="169" y="104"/>
                  </a:cubicBezTo>
                  <a:cubicBezTo>
                    <a:pt x="172" y="106"/>
                    <a:pt x="177" y="105"/>
                    <a:pt x="179" y="101"/>
                  </a:cubicBezTo>
                  <a:cubicBezTo>
                    <a:pt x="179" y="100"/>
                    <a:pt x="179" y="100"/>
                    <a:pt x="179" y="100"/>
                  </a:cubicBezTo>
                  <a:close/>
                  <a:moveTo>
                    <a:pt x="179" y="124"/>
                  </a:moveTo>
                  <a:cubicBezTo>
                    <a:pt x="154" y="108"/>
                    <a:pt x="154" y="108"/>
                    <a:pt x="154" y="108"/>
                  </a:cubicBezTo>
                  <a:cubicBezTo>
                    <a:pt x="154" y="116"/>
                    <a:pt x="154" y="116"/>
                    <a:pt x="154" y="116"/>
                  </a:cubicBezTo>
                  <a:cubicBezTo>
                    <a:pt x="159" y="119"/>
                    <a:pt x="159" y="119"/>
                    <a:pt x="159" y="119"/>
                  </a:cubicBezTo>
                  <a:cubicBezTo>
                    <a:pt x="162" y="121"/>
                    <a:pt x="164" y="126"/>
                    <a:pt x="161" y="130"/>
                  </a:cubicBezTo>
                  <a:cubicBezTo>
                    <a:pt x="160" y="133"/>
                    <a:pt x="158" y="135"/>
                    <a:pt x="156" y="138"/>
                  </a:cubicBezTo>
                  <a:cubicBezTo>
                    <a:pt x="155" y="139"/>
                    <a:pt x="155" y="140"/>
                    <a:pt x="154" y="141"/>
                  </a:cubicBezTo>
                  <a:cubicBezTo>
                    <a:pt x="154" y="172"/>
                    <a:pt x="154" y="172"/>
                    <a:pt x="154" y="172"/>
                  </a:cubicBezTo>
                  <a:cubicBezTo>
                    <a:pt x="156" y="172"/>
                    <a:pt x="159" y="172"/>
                    <a:pt x="162" y="174"/>
                  </a:cubicBezTo>
                  <a:cubicBezTo>
                    <a:pt x="169" y="178"/>
                    <a:pt x="171" y="188"/>
                    <a:pt x="167" y="195"/>
                  </a:cubicBezTo>
                  <a:cubicBezTo>
                    <a:pt x="170" y="197"/>
                    <a:pt x="174" y="200"/>
                    <a:pt x="178" y="202"/>
                  </a:cubicBezTo>
                  <a:cubicBezTo>
                    <a:pt x="179" y="203"/>
                    <a:pt x="179" y="203"/>
                    <a:pt x="179" y="203"/>
                  </a:cubicBezTo>
                  <a:cubicBezTo>
                    <a:pt x="179" y="162"/>
                    <a:pt x="179" y="162"/>
                    <a:pt x="179" y="162"/>
                  </a:cubicBezTo>
                  <a:cubicBezTo>
                    <a:pt x="179" y="161"/>
                    <a:pt x="179" y="161"/>
                    <a:pt x="179" y="161"/>
                  </a:cubicBezTo>
                  <a:cubicBezTo>
                    <a:pt x="175" y="159"/>
                    <a:pt x="171" y="156"/>
                    <a:pt x="167" y="154"/>
                  </a:cubicBezTo>
                  <a:cubicBezTo>
                    <a:pt x="163" y="152"/>
                    <a:pt x="162" y="147"/>
                    <a:pt x="164" y="143"/>
                  </a:cubicBezTo>
                  <a:cubicBezTo>
                    <a:pt x="166" y="141"/>
                    <a:pt x="168" y="138"/>
                    <a:pt x="170" y="135"/>
                  </a:cubicBezTo>
                  <a:cubicBezTo>
                    <a:pt x="172" y="131"/>
                    <a:pt x="176" y="130"/>
                    <a:pt x="179" y="132"/>
                  </a:cubicBezTo>
                  <a:cubicBezTo>
                    <a:pt x="179" y="124"/>
                    <a:pt x="179" y="124"/>
                    <a:pt x="179" y="124"/>
                  </a:cubicBezTo>
                  <a:close/>
                  <a:moveTo>
                    <a:pt x="154" y="198"/>
                  </a:moveTo>
                  <a:cubicBezTo>
                    <a:pt x="154" y="177"/>
                    <a:pt x="154" y="177"/>
                    <a:pt x="154" y="177"/>
                  </a:cubicBezTo>
                  <a:cubicBezTo>
                    <a:pt x="155" y="177"/>
                    <a:pt x="157" y="177"/>
                    <a:pt x="159" y="178"/>
                  </a:cubicBezTo>
                  <a:cubicBezTo>
                    <a:pt x="164" y="181"/>
                    <a:pt x="165" y="188"/>
                    <a:pt x="162" y="193"/>
                  </a:cubicBezTo>
                  <a:cubicBezTo>
                    <a:pt x="160" y="196"/>
                    <a:pt x="157" y="198"/>
                    <a:pt x="154" y="198"/>
                  </a:cubicBezTo>
                  <a:close/>
                  <a:moveTo>
                    <a:pt x="154" y="52"/>
                  </a:moveTo>
                  <a:cubicBezTo>
                    <a:pt x="154" y="86"/>
                    <a:pt x="154" y="86"/>
                    <a:pt x="154" y="86"/>
                  </a:cubicBezTo>
                  <a:cubicBezTo>
                    <a:pt x="153" y="88"/>
                    <a:pt x="153" y="91"/>
                    <a:pt x="154" y="93"/>
                  </a:cubicBezTo>
                  <a:cubicBezTo>
                    <a:pt x="154" y="102"/>
                    <a:pt x="154" y="102"/>
                    <a:pt x="154" y="102"/>
                  </a:cubicBezTo>
                  <a:cubicBezTo>
                    <a:pt x="136" y="91"/>
                    <a:pt x="136" y="91"/>
                    <a:pt x="136" y="91"/>
                  </a:cubicBezTo>
                  <a:cubicBezTo>
                    <a:pt x="136" y="84"/>
                    <a:pt x="136" y="84"/>
                    <a:pt x="136" y="84"/>
                  </a:cubicBezTo>
                  <a:cubicBezTo>
                    <a:pt x="139" y="85"/>
                    <a:pt x="144" y="84"/>
                    <a:pt x="146" y="81"/>
                  </a:cubicBezTo>
                  <a:cubicBezTo>
                    <a:pt x="147" y="78"/>
                    <a:pt x="149" y="75"/>
                    <a:pt x="151" y="72"/>
                  </a:cubicBezTo>
                  <a:cubicBezTo>
                    <a:pt x="153" y="68"/>
                    <a:pt x="152" y="64"/>
                    <a:pt x="149" y="62"/>
                  </a:cubicBezTo>
                  <a:cubicBezTo>
                    <a:pt x="145" y="59"/>
                    <a:pt x="141" y="57"/>
                    <a:pt x="137" y="54"/>
                  </a:cubicBezTo>
                  <a:cubicBezTo>
                    <a:pt x="136" y="54"/>
                    <a:pt x="136" y="54"/>
                    <a:pt x="136" y="54"/>
                  </a:cubicBezTo>
                  <a:cubicBezTo>
                    <a:pt x="136" y="41"/>
                    <a:pt x="136" y="41"/>
                    <a:pt x="136" y="41"/>
                  </a:cubicBezTo>
                  <a:cubicBezTo>
                    <a:pt x="154" y="52"/>
                    <a:pt x="154" y="52"/>
                    <a:pt x="154" y="52"/>
                  </a:cubicBezTo>
                  <a:close/>
                  <a:moveTo>
                    <a:pt x="154" y="108"/>
                  </a:moveTo>
                  <a:cubicBezTo>
                    <a:pt x="136" y="98"/>
                    <a:pt x="136" y="98"/>
                    <a:pt x="136" y="98"/>
                  </a:cubicBezTo>
                  <a:cubicBezTo>
                    <a:pt x="136" y="115"/>
                    <a:pt x="136" y="115"/>
                    <a:pt x="136" y="115"/>
                  </a:cubicBezTo>
                  <a:cubicBezTo>
                    <a:pt x="136" y="114"/>
                    <a:pt x="136" y="114"/>
                    <a:pt x="136" y="114"/>
                  </a:cubicBezTo>
                  <a:cubicBezTo>
                    <a:pt x="139" y="111"/>
                    <a:pt x="143" y="110"/>
                    <a:pt x="147" y="112"/>
                  </a:cubicBezTo>
                  <a:cubicBezTo>
                    <a:pt x="154" y="116"/>
                    <a:pt x="154" y="116"/>
                    <a:pt x="154" y="116"/>
                  </a:cubicBezTo>
                  <a:cubicBezTo>
                    <a:pt x="154" y="108"/>
                    <a:pt x="154" y="108"/>
                    <a:pt x="154" y="108"/>
                  </a:cubicBezTo>
                  <a:close/>
                  <a:moveTo>
                    <a:pt x="154" y="141"/>
                  </a:moveTo>
                  <a:cubicBezTo>
                    <a:pt x="154" y="172"/>
                    <a:pt x="154" y="172"/>
                    <a:pt x="154" y="172"/>
                  </a:cubicBezTo>
                  <a:cubicBezTo>
                    <a:pt x="148" y="172"/>
                    <a:pt x="143" y="174"/>
                    <a:pt x="140" y="179"/>
                  </a:cubicBezTo>
                  <a:cubicBezTo>
                    <a:pt x="136" y="176"/>
                    <a:pt x="136" y="176"/>
                    <a:pt x="136" y="176"/>
                  </a:cubicBezTo>
                  <a:cubicBezTo>
                    <a:pt x="136" y="135"/>
                    <a:pt x="136" y="135"/>
                    <a:pt x="136" y="135"/>
                  </a:cubicBezTo>
                  <a:cubicBezTo>
                    <a:pt x="146" y="141"/>
                    <a:pt x="146" y="141"/>
                    <a:pt x="146" y="141"/>
                  </a:cubicBezTo>
                  <a:cubicBezTo>
                    <a:pt x="148" y="142"/>
                    <a:pt x="151" y="142"/>
                    <a:pt x="154" y="141"/>
                  </a:cubicBezTo>
                  <a:close/>
                  <a:moveTo>
                    <a:pt x="154" y="177"/>
                  </a:moveTo>
                  <a:cubicBezTo>
                    <a:pt x="150" y="177"/>
                    <a:pt x="147" y="178"/>
                    <a:pt x="145" y="182"/>
                  </a:cubicBezTo>
                  <a:cubicBezTo>
                    <a:pt x="142" y="187"/>
                    <a:pt x="143" y="193"/>
                    <a:pt x="148" y="196"/>
                  </a:cubicBezTo>
                  <a:cubicBezTo>
                    <a:pt x="150" y="197"/>
                    <a:pt x="152" y="198"/>
                    <a:pt x="154" y="198"/>
                  </a:cubicBezTo>
                  <a:lnTo>
                    <a:pt x="154" y="177"/>
                  </a:lnTo>
                  <a:close/>
                  <a:moveTo>
                    <a:pt x="136" y="41"/>
                  </a:moveTo>
                  <a:cubicBezTo>
                    <a:pt x="136" y="54"/>
                    <a:pt x="136" y="54"/>
                    <a:pt x="136" y="54"/>
                  </a:cubicBezTo>
                  <a:cubicBezTo>
                    <a:pt x="133" y="52"/>
                    <a:pt x="128" y="53"/>
                    <a:pt x="126" y="57"/>
                  </a:cubicBezTo>
                  <a:cubicBezTo>
                    <a:pt x="124" y="60"/>
                    <a:pt x="123" y="63"/>
                    <a:pt x="121" y="66"/>
                  </a:cubicBezTo>
                  <a:cubicBezTo>
                    <a:pt x="119" y="69"/>
                    <a:pt x="120" y="74"/>
                    <a:pt x="123" y="76"/>
                  </a:cubicBezTo>
                  <a:cubicBezTo>
                    <a:pt x="127" y="78"/>
                    <a:pt x="131" y="81"/>
                    <a:pt x="135" y="83"/>
                  </a:cubicBezTo>
                  <a:cubicBezTo>
                    <a:pt x="136" y="83"/>
                    <a:pt x="136" y="83"/>
                    <a:pt x="136" y="84"/>
                  </a:cubicBezTo>
                  <a:cubicBezTo>
                    <a:pt x="136" y="91"/>
                    <a:pt x="136" y="91"/>
                    <a:pt x="136" y="91"/>
                  </a:cubicBezTo>
                  <a:cubicBezTo>
                    <a:pt x="113" y="77"/>
                    <a:pt x="113" y="77"/>
                    <a:pt x="113" y="77"/>
                  </a:cubicBezTo>
                  <a:cubicBezTo>
                    <a:pt x="113" y="59"/>
                    <a:pt x="113" y="59"/>
                    <a:pt x="113" y="59"/>
                  </a:cubicBezTo>
                  <a:cubicBezTo>
                    <a:pt x="118" y="52"/>
                    <a:pt x="118" y="52"/>
                    <a:pt x="118" y="52"/>
                  </a:cubicBezTo>
                  <a:cubicBezTo>
                    <a:pt x="120" y="48"/>
                    <a:pt x="119" y="43"/>
                    <a:pt x="115" y="41"/>
                  </a:cubicBezTo>
                  <a:cubicBezTo>
                    <a:pt x="113" y="40"/>
                    <a:pt x="113" y="40"/>
                    <a:pt x="113" y="40"/>
                  </a:cubicBezTo>
                  <a:cubicBezTo>
                    <a:pt x="113" y="27"/>
                    <a:pt x="113" y="27"/>
                    <a:pt x="113" y="27"/>
                  </a:cubicBezTo>
                  <a:cubicBezTo>
                    <a:pt x="136" y="41"/>
                    <a:pt x="136" y="41"/>
                    <a:pt x="136" y="41"/>
                  </a:cubicBezTo>
                  <a:close/>
                  <a:moveTo>
                    <a:pt x="136" y="98"/>
                  </a:moveTo>
                  <a:cubicBezTo>
                    <a:pt x="113" y="84"/>
                    <a:pt x="113" y="84"/>
                    <a:pt x="113" y="84"/>
                  </a:cubicBezTo>
                  <a:cubicBezTo>
                    <a:pt x="113" y="91"/>
                    <a:pt x="113" y="91"/>
                    <a:pt x="113" y="91"/>
                  </a:cubicBezTo>
                  <a:cubicBezTo>
                    <a:pt x="113" y="91"/>
                    <a:pt x="114" y="92"/>
                    <a:pt x="114" y="92"/>
                  </a:cubicBezTo>
                  <a:cubicBezTo>
                    <a:pt x="118" y="94"/>
                    <a:pt x="122" y="97"/>
                    <a:pt x="126" y="99"/>
                  </a:cubicBezTo>
                  <a:cubicBezTo>
                    <a:pt x="129" y="101"/>
                    <a:pt x="130" y="106"/>
                    <a:pt x="128" y="109"/>
                  </a:cubicBezTo>
                  <a:cubicBezTo>
                    <a:pt x="126" y="112"/>
                    <a:pt x="125" y="115"/>
                    <a:pt x="123" y="118"/>
                  </a:cubicBezTo>
                  <a:cubicBezTo>
                    <a:pt x="121" y="121"/>
                    <a:pt x="117" y="123"/>
                    <a:pt x="113" y="121"/>
                  </a:cubicBezTo>
                  <a:cubicBezTo>
                    <a:pt x="113" y="162"/>
                    <a:pt x="113" y="162"/>
                    <a:pt x="113" y="162"/>
                  </a:cubicBezTo>
                  <a:cubicBezTo>
                    <a:pt x="119" y="166"/>
                    <a:pt x="119" y="166"/>
                    <a:pt x="119" y="166"/>
                  </a:cubicBezTo>
                  <a:cubicBezTo>
                    <a:pt x="136" y="176"/>
                    <a:pt x="136" y="176"/>
                    <a:pt x="136" y="176"/>
                  </a:cubicBezTo>
                  <a:cubicBezTo>
                    <a:pt x="136" y="135"/>
                    <a:pt x="136" y="135"/>
                    <a:pt x="136" y="135"/>
                  </a:cubicBezTo>
                  <a:cubicBezTo>
                    <a:pt x="134" y="134"/>
                    <a:pt x="134" y="134"/>
                    <a:pt x="134" y="134"/>
                  </a:cubicBezTo>
                  <a:cubicBezTo>
                    <a:pt x="130" y="131"/>
                    <a:pt x="129" y="127"/>
                    <a:pt x="131" y="123"/>
                  </a:cubicBezTo>
                  <a:cubicBezTo>
                    <a:pt x="136" y="115"/>
                    <a:pt x="136" y="115"/>
                    <a:pt x="136" y="115"/>
                  </a:cubicBezTo>
                  <a:lnTo>
                    <a:pt x="136" y="98"/>
                  </a:lnTo>
                  <a:close/>
                  <a:moveTo>
                    <a:pt x="113" y="27"/>
                  </a:moveTo>
                  <a:cubicBezTo>
                    <a:pt x="113" y="40"/>
                    <a:pt x="113" y="40"/>
                    <a:pt x="113" y="40"/>
                  </a:cubicBezTo>
                  <a:cubicBezTo>
                    <a:pt x="103" y="34"/>
                    <a:pt x="103" y="34"/>
                    <a:pt x="103" y="34"/>
                  </a:cubicBezTo>
                  <a:cubicBezTo>
                    <a:pt x="100" y="32"/>
                    <a:pt x="95" y="33"/>
                    <a:pt x="93" y="36"/>
                  </a:cubicBezTo>
                  <a:cubicBezTo>
                    <a:pt x="91" y="39"/>
                    <a:pt x="89" y="42"/>
                    <a:pt x="88" y="45"/>
                  </a:cubicBezTo>
                  <a:cubicBezTo>
                    <a:pt x="86" y="49"/>
                    <a:pt x="87" y="53"/>
                    <a:pt x="90" y="56"/>
                  </a:cubicBezTo>
                  <a:cubicBezTo>
                    <a:pt x="94" y="58"/>
                    <a:pt x="98" y="61"/>
                    <a:pt x="102" y="63"/>
                  </a:cubicBezTo>
                  <a:cubicBezTo>
                    <a:pt x="106" y="65"/>
                    <a:pt x="110" y="64"/>
                    <a:pt x="112" y="60"/>
                  </a:cubicBezTo>
                  <a:cubicBezTo>
                    <a:pt x="113" y="59"/>
                    <a:pt x="113" y="59"/>
                    <a:pt x="113" y="59"/>
                  </a:cubicBezTo>
                  <a:cubicBezTo>
                    <a:pt x="113" y="77"/>
                    <a:pt x="113" y="77"/>
                    <a:pt x="113" y="77"/>
                  </a:cubicBezTo>
                  <a:cubicBezTo>
                    <a:pt x="80" y="57"/>
                    <a:pt x="80" y="57"/>
                    <a:pt x="80" y="57"/>
                  </a:cubicBezTo>
                  <a:cubicBezTo>
                    <a:pt x="80" y="39"/>
                    <a:pt x="80" y="39"/>
                    <a:pt x="80" y="39"/>
                  </a:cubicBezTo>
                  <a:cubicBezTo>
                    <a:pt x="85" y="31"/>
                    <a:pt x="85" y="31"/>
                    <a:pt x="85" y="31"/>
                  </a:cubicBezTo>
                  <a:cubicBezTo>
                    <a:pt x="87" y="28"/>
                    <a:pt x="86" y="23"/>
                    <a:pt x="82" y="21"/>
                  </a:cubicBezTo>
                  <a:cubicBezTo>
                    <a:pt x="80" y="20"/>
                    <a:pt x="80" y="20"/>
                    <a:pt x="80" y="20"/>
                  </a:cubicBezTo>
                  <a:cubicBezTo>
                    <a:pt x="80" y="7"/>
                    <a:pt x="80" y="7"/>
                    <a:pt x="80" y="7"/>
                  </a:cubicBezTo>
                  <a:cubicBezTo>
                    <a:pt x="113" y="27"/>
                    <a:pt x="113" y="27"/>
                    <a:pt x="113" y="27"/>
                  </a:cubicBezTo>
                  <a:close/>
                  <a:moveTo>
                    <a:pt x="113" y="84"/>
                  </a:moveTo>
                  <a:cubicBezTo>
                    <a:pt x="80" y="63"/>
                    <a:pt x="80" y="63"/>
                    <a:pt x="80" y="63"/>
                  </a:cubicBezTo>
                  <a:cubicBezTo>
                    <a:pt x="80" y="71"/>
                    <a:pt x="80" y="71"/>
                    <a:pt x="80" y="71"/>
                  </a:cubicBezTo>
                  <a:cubicBezTo>
                    <a:pt x="80" y="71"/>
                    <a:pt x="80" y="71"/>
                    <a:pt x="80" y="71"/>
                  </a:cubicBezTo>
                  <a:cubicBezTo>
                    <a:pt x="85" y="74"/>
                    <a:pt x="89" y="76"/>
                    <a:pt x="93" y="79"/>
                  </a:cubicBezTo>
                  <a:cubicBezTo>
                    <a:pt x="96" y="81"/>
                    <a:pt x="97" y="85"/>
                    <a:pt x="95" y="89"/>
                  </a:cubicBezTo>
                  <a:cubicBezTo>
                    <a:pt x="93" y="92"/>
                    <a:pt x="91" y="95"/>
                    <a:pt x="90" y="98"/>
                  </a:cubicBezTo>
                  <a:cubicBezTo>
                    <a:pt x="88" y="101"/>
                    <a:pt x="83" y="102"/>
                    <a:pt x="80" y="101"/>
                  </a:cubicBezTo>
                  <a:cubicBezTo>
                    <a:pt x="80" y="142"/>
                    <a:pt x="80" y="142"/>
                    <a:pt x="80" y="142"/>
                  </a:cubicBezTo>
                  <a:cubicBezTo>
                    <a:pt x="104" y="157"/>
                    <a:pt x="104" y="157"/>
                    <a:pt x="104" y="157"/>
                  </a:cubicBezTo>
                  <a:cubicBezTo>
                    <a:pt x="105" y="158"/>
                    <a:pt x="107" y="158"/>
                    <a:pt x="108" y="159"/>
                  </a:cubicBezTo>
                  <a:cubicBezTo>
                    <a:pt x="113" y="162"/>
                    <a:pt x="113" y="162"/>
                    <a:pt x="113" y="162"/>
                  </a:cubicBezTo>
                  <a:cubicBezTo>
                    <a:pt x="113" y="121"/>
                    <a:pt x="113" y="121"/>
                    <a:pt x="113" y="121"/>
                  </a:cubicBezTo>
                  <a:cubicBezTo>
                    <a:pt x="113" y="121"/>
                    <a:pt x="113" y="121"/>
                    <a:pt x="113" y="121"/>
                  </a:cubicBezTo>
                  <a:cubicBezTo>
                    <a:pt x="109" y="118"/>
                    <a:pt x="105" y="116"/>
                    <a:pt x="100" y="113"/>
                  </a:cubicBezTo>
                  <a:cubicBezTo>
                    <a:pt x="97" y="111"/>
                    <a:pt x="96" y="107"/>
                    <a:pt x="98" y="103"/>
                  </a:cubicBezTo>
                  <a:cubicBezTo>
                    <a:pt x="100" y="100"/>
                    <a:pt x="102" y="97"/>
                    <a:pt x="103" y="94"/>
                  </a:cubicBezTo>
                  <a:cubicBezTo>
                    <a:pt x="106" y="91"/>
                    <a:pt x="110" y="90"/>
                    <a:pt x="113" y="91"/>
                  </a:cubicBezTo>
                  <a:lnTo>
                    <a:pt x="113" y="84"/>
                  </a:lnTo>
                  <a:close/>
                  <a:moveTo>
                    <a:pt x="61" y="118"/>
                  </a:moveTo>
                  <a:cubicBezTo>
                    <a:pt x="66" y="122"/>
                    <a:pt x="68" y="128"/>
                    <a:pt x="65" y="133"/>
                  </a:cubicBezTo>
                  <a:cubicBezTo>
                    <a:pt x="63" y="136"/>
                    <a:pt x="59" y="138"/>
                    <a:pt x="56" y="138"/>
                  </a:cubicBezTo>
                  <a:cubicBezTo>
                    <a:pt x="56" y="117"/>
                    <a:pt x="56" y="117"/>
                    <a:pt x="56" y="117"/>
                  </a:cubicBezTo>
                  <a:cubicBezTo>
                    <a:pt x="58" y="117"/>
                    <a:pt x="59" y="117"/>
                    <a:pt x="61" y="118"/>
                  </a:cubicBezTo>
                  <a:close/>
                  <a:moveTo>
                    <a:pt x="80" y="7"/>
                  </a:moveTo>
                  <a:cubicBezTo>
                    <a:pt x="80" y="20"/>
                    <a:pt x="80" y="20"/>
                    <a:pt x="80" y="20"/>
                  </a:cubicBezTo>
                  <a:cubicBezTo>
                    <a:pt x="70" y="14"/>
                    <a:pt x="70" y="14"/>
                    <a:pt x="70" y="14"/>
                  </a:cubicBezTo>
                  <a:cubicBezTo>
                    <a:pt x="67" y="12"/>
                    <a:pt x="62" y="13"/>
                    <a:pt x="60" y="16"/>
                  </a:cubicBezTo>
                  <a:cubicBezTo>
                    <a:pt x="56" y="23"/>
                    <a:pt x="56" y="23"/>
                    <a:pt x="56" y="23"/>
                  </a:cubicBezTo>
                  <a:cubicBezTo>
                    <a:pt x="56" y="5"/>
                    <a:pt x="56" y="5"/>
                    <a:pt x="56" y="5"/>
                  </a:cubicBezTo>
                  <a:cubicBezTo>
                    <a:pt x="61" y="1"/>
                    <a:pt x="69" y="0"/>
                    <a:pt x="76" y="4"/>
                  </a:cubicBezTo>
                  <a:cubicBezTo>
                    <a:pt x="80" y="7"/>
                    <a:pt x="80" y="7"/>
                    <a:pt x="80" y="7"/>
                  </a:cubicBezTo>
                  <a:close/>
                  <a:moveTo>
                    <a:pt x="80" y="39"/>
                  </a:moveTo>
                  <a:cubicBezTo>
                    <a:pt x="80" y="57"/>
                    <a:pt x="80" y="57"/>
                    <a:pt x="80" y="57"/>
                  </a:cubicBezTo>
                  <a:cubicBezTo>
                    <a:pt x="56" y="42"/>
                    <a:pt x="56" y="42"/>
                    <a:pt x="56" y="42"/>
                  </a:cubicBezTo>
                  <a:cubicBezTo>
                    <a:pt x="56" y="34"/>
                    <a:pt x="56" y="34"/>
                    <a:pt x="56" y="34"/>
                  </a:cubicBezTo>
                  <a:cubicBezTo>
                    <a:pt x="56" y="35"/>
                    <a:pt x="56" y="35"/>
                    <a:pt x="57" y="35"/>
                  </a:cubicBezTo>
                  <a:cubicBezTo>
                    <a:pt x="61" y="38"/>
                    <a:pt x="65" y="40"/>
                    <a:pt x="69" y="43"/>
                  </a:cubicBezTo>
                  <a:cubicBezTo>
                    <a:pt x="73" y="45"/>
                    <a:pt x="77" y="44"/>
                    <a:pt x="79" y="40"/>
                  </a:cubicBezTo>
                  <a:cubicBezTo>
                    <a:pt x="80" y="39"/>
                    <a:pt x="80" y="39"/>
                    <a:pt x="80" y="39"/>
                  </a:cubicBezTo>
                  <a:close/>
                  <a:moveTo>
                    <a:pt x="80" y="63"/>
                  </a:moveTo>
                  <a:cubicBezTo>
                    <a:pt x="56" y="49"/>
                    <a:pt x="56" y="49"/>
                    <a:pt x="56" y="49"/>
                  </a:cubicBezTo>
                  <a:cubicBezTo>
                    <a:pt x="56" y="56"/>
                    <a:pt x="56" y="56"/>
                    <a:pt x="56" y="56"/>
                  </a:cubicBezTo>
                  <a:cubicBezTo>
                    <a:pt x="58" y="58"/>
                    <a:pt x="58" y="58"/>
                    <a:pt x="58" y="58"/>
                  </a:cubicBezTo>
                  <a:cubicBezTo>
                    <a:pt x="62" y="60"/>
                    <a:pt x="64" y="65"/>
                    <a:pt x="62" y="69"/>
                  </a:cubicBezTo>
                  <a:cubicBezTo>
                    <a:pt x="56" y="79"/>
                    <a:pt x="56" y="79"/>
                    <a:pt x="56" y="79"/>
                  </a:cubicBezTo>
                  <a:cubicBezTo>
                    <a:pt x="56" y="112"/>
                    <a:pt x="56" y="112"/>
                    <a:pt x="56" y="112"/>
                  </a:cubicBezTo>
                  <a:cubicBezTo>
                    <a:pt x="59" y="112"/>
                    <a:pt x="61" y="113"/>
                    <a:pt x="64" y="114"/>
                  </a:cubicBezTo>
                  <a:cubicBezTo>
                    <a:pt x="71" y="119"/>
                    <a:pt x="73" y="128"/>
                    <a:pt x="69" y="136"/>
                  </a:cubicBezTo>
                  <a:cubicBezTo>
                    <a:pt x="80" y="142"/>
                    <a:pt x="80" y="142"/>
                    <a:pt x="80" y="142"/>
                  </a:cubicBezTo>
                  <a:cubicBezTo>
                    <a:pt x="80" y="101"/>
                    <a:pt x="80" y="101"/>
                    <a:pt x="80" y="101"/>
                  </a:cubicBezTo>
                  <a:cubicBezTo>
                    <a:pt x="80" y="101"/>
                    <a:pt x="80" y="100"/>
                    <a:pt x="79" y="100"/>
                  </a:cubicBezTo>
                  <a:cubicBezTo>
                    <a:pt x="75" y="98"/>
                    <a:pt x="71" y="95"/>
                    <a:pt x="67" y="93"/>
                  </a:cubicBezTo>
                  <a:cubicBezTo>
                    <a:pt x="64" y="91"/>
                    <a:pt x="63" y="86"/>
                    <a:pt x="65" y="83"/>
                  </a:cubicBezTo>
                  <a:cubicBezTo>
                    <a:pt x="67" y="80"/>
                    <a:pt x="68" y="77"/>
                    <a:pt x="70" y="74"/>
                  </a:cubicBezTo>
                  <a:cubicBezTo>
                    <a:pt x="72" y="71"/>
                    <a:pt x="77" y="69"/>
                    <a:pt x="80" y="71"/>
                  </a:cubicBezTo>
                  <a:lnTo>
                    <a:pt x="80" y="63"/>
                  </a:lnTo>
                  <a:close/>
                  <a:moveTo>
                    <a:pt x="56" y="138"/>
                  </a:moveTo>
                  <a:cubicBezTo>
                    <a:pt x="54" y="138"/>
                    <a:pt x="52" y="137"/>
                    <a:pt x="50" y="136"/>
                  </a:cubicBezTo>
                  <a:cubicBezTo>
                    <a:pt x="45" y="133"/>
                    <a:pt x="44" y="127"/>
                    <a:pt x="47" y="122"/>
                  </a:cubicBezTo>
                  <a:cubicBezTo>
                    <a:pt x="49" y="119"/>
                    <a:pt x="52" y="117"/>
                    <a:pt x="56" y="117"/>
                  </a:cubicBezTo>
                  <a:cubicBezTo>
                    <a:pt x="56" y="138"/>
                    <a:pt x="56" y="138"/>
                    <a:pt x="56" y="138"/>
                  </a:cubicBezTo>
                  <a:close/>
                  <a:moveTo>
                    <a:pt x="56" y="5"/>
                  </a:moveTo>
                  <a:cubicBezTo>
                    <a:pt x="56" y="23"/>
                    <a:pt x="56" y="23"/>
                    <a:pt x="56" y="23"/>
                  </a:cubicBezTo>
                  <a:cubicBezTo>
                    <a:pt x="54" y="25"/>
                    <a:pt x="54" y="25"/>
                    <a:pt x="54" y="25"/>
                  </a:cubicBezTo>
                  <a:cubicBezTo>
                    <a:pt x="53" y="28"/>
                    <a:pt x="53" y="32"/>
                    <a:pt x="56" y="34"/>
                  </a:cubicBezTo>
                  <a:cubicBezTo>
                    <a:pt x="56" y="42"/>
                    <a:pt x="56" y="42"/>
                    <a:pt x="56" y="42"/>
                  </a:cubicBezTo>
                  <a:cubicBezTo>
                    <a:pt x="47" y="37"/>
                    <a:pt x="47" y="37"/>
                    <a:pt x="47" y="37"/>
                  </a:cubicBezTo>
                  <a:cubicBezTo>
                    <a:pt x="46" y="39"/>
                    <a:pt x="45" y="40"/>
                    <a:pt x="44" y="42"/>
                  </a:cubicBezTo>
                  <a:cubicBezTo>
                    <a:pt x="56" y="49"/>
                    <a:pt x="56" y="49"/>
                    <a:pt x="56" y="49"/>
                  </a:cubicBezTo>
                  <a:cubicBezTo>
                    <a:pt x="56" y="56"/>
                    <a:pt x="56" y="56"/>
                    <a:pt x="56" y="56"/>
                  </a:cubicBezTo>
                  <a:cubicBezTo>
                    <a:pt x="48" y="52"/>
                    <a:pt x="48" y="52"/>
                    <a:pt x="48" y="52"/>
                  </a:cubicBezTo>
                  <a:cubicBezTo>
                    <a:pt x="44" y="49"/>
                    <a:pt x="39" y="50"/>
                    <a:pt x="37" y="54"/>
                  </a:cubicBezTo>
                  <a:cubicBezTo>
                    <a:pt x="28" y="69"/>
                    <a:pt x="18" y="84"/>
                    <a:pt x="9" y="99"/>
                  </a:cubicBezTo>
                  <a:cubicBezTo>
                    <a:pt x="6" y="97"/>
                    <a:pt x="3" y="95"/>
                    <a:pt x="0" y="94"/>
                  </a:cubicBezTo>
                  <a:cubicBezTo>
                    <a:pt x="18" y="65"/>
                    <a:pt x="35" y="37"/>
                    <a:pt x="52" y="9"/>
                  </a:cubicBezTo>
                  <a:cubicBezTo>
                    <a:pt x="53" y="7"/>
                    <a:pt x="54" y="6"/>
                    <a:pt x="56" y="5"/>
                  </a:cubicBezTo>
                  <a:close/>
                  <a:moveTo>
                    <a:pt x="56" y="79"/>
                  </a:moveTo>
                  <a:cubicBezTo>
                    <a:pt x="34" y="114"/>
                    <a:pt x="34" y="114"/>
                    <a:pt x="34" y="114"/>
                  </a:cubicBezTo>
                  <a:cubicBezTo>
                    <a:pt x="37" y="116"/>
                    <a:pt x="40" y="118"/>
                    <a:pt x="42" y="119"/>
                  </a:cubicBezTo>
                  <a:cubicBezTo>
                    <a:pt x="45" y="115"/>
                    <a:pt x="51" y="112"/>
                    <a:pt x="56" y="112"/>
                  </a:cubicBezTo>
                  <a:lnTo>
                    <a:pt x="56" y="79"/>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2" name="îsļîḓe">
              <a:extLst>
                <a:ext uri="{FF2B5EF4-FFF2-40B4-BE49-F238E27FC236}">
                  <a16:creationId xmlns:a16="http://schemas.microsoft.com/office/drawing/2014/main" id="{4FC67555-2BA4-4859-B72C-0CF76A4BCEFD}"/>
                </a:ext>
              </a:extLst>
            </p:cNvPr>
            <p:cNvSpPr/>
            <p:nvPr/>
          </p:nvSpPr>
          <p:spPr bwMode="auto">
            <a:xfrm flipH="1">
              <a:off x="4093122" y="2428851"/>
              <a:ext cx="192474" cy="313721"/>
            </a:xfrm>
            <a:custGeom>
              <a:avLst/>
              <a:gdLst>
                <a:gd name="T0" fmla="*/ 96 w 115"/>
                <a:gd name="T1" fmla="*/ 192 h 192"/>
                <a:gd name="T2" fmla="*/ 110 w 115"/>
                <a:gd name="T3" fmla="*/ 187 h 192"/>
                <a:gd name="T4" fmla="*/ 84 w 115"/>
                <a:gd name="T5" fmla="*/ 107 h 192"/>
                <a:gd name="T6" fmla="*/ 92 w 115"/>
                <a:gd name="T7" fmla="*/ 106 h 192"/>
                <a:gd name="T8" fmla="*/ 108 w 115"/>
                <a:gd name="T9" fmla="*/ 80 h 192"/>
                <a:gd name="T10" fmla="*/ 98 w 115"/>
                <a:gd name="T11" fmla="*/ 66 h 192"/>
                <a:gd name="T12" fmla="*/ 112 w 115"/>
                <a:gd name="T13" fmla="*/ 33 h 192"/>
                <a:gd name="T14" fmla="*/ 75 w 115"/>
                <a:gd name="T15" fmla="*/ 12 h 192"/>
                <a:gd name="T16" fmla="*/ 66 w 115"/>
                <a:gd name="T17" fmla="*/ 16 h 192"/>
                <a:gd name="T18" fmla="*/ 34 w 115"/>
                <a:gd name="T19" fmla="*/ 4 h 192"/>
                <a:gd name="T20" fmla="*/ 13 w 115"/>
                <a:gd name="T21" fmla="*/ 40 h 192"/>
                <a:gd name="T22" fmla="*/ 16 w 115"/>
                <a:gd name="T23" fmla="*/ 48 h 192"/>
                <a:gd name="T24" fmla="*/ 3 w 115"/>
                <a:gd name="T25" fmla="*/ 74 h 192"/>
                <a:gd name="T26" fmla="*/ 24 w 115"/>
                <a:gd name="T27" fmla="*/ 91 h 192"/>
                <a:gd name="T28" fmla="*/ 21 w 115"/>
                <a:gd name="T29" fmla="*/ 112 h 192"/>
                <a:gd name="T30" fmla="*/ 57 w 115"/>
                <a:gd name="T31" fmla="*/ 133 h 192"/>
                <a:gd name="T32" fmla="*/ 73 w 115"/>
                <a:gd name="T33" fmla="*/ 122 h 192"/>
                <a:gd name="T34" fmla="*/ 96 w 115"/>
                <a:gd name="T3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92">
                  <a:moveTo>
                    <a:pt x="96" y="192"/>
                  </a:moveTo>
                  <a:cubicBezTo>
                    <a:pt x="101" y="190"/>
                    <a:pt x="106" y="189"/>
                    <a:pt x="110" y="187"/>
                  </a:cubicBezTo>
                  <a:cubicBezTo>
                    <a:pt x="84" y="107"/>
                    <a:pt x="84" y="107"/>
                    <a:pt x="84" y="107"/>
                  </a:cubicBezTo>
                  <a:cubicBezTo>
                    <a:pt x="87" y="107"/>
                    <a:pt x="90" y="107"/>
                    <a:pt x="92" y="106"/>
                  </a:cubicBezTo>
                  <a:cubicBezTo>
                    <a:pt x="104" y="103"/>
                    <a:pt x="111" y="91"/>
                    <a:pt x="108" y="80"/>
                  </a:cubicBezTo>
                  <a:cubicBezTo>
                    <a:pt x="106" y="74"/>
                    <a:pt x="103" y="69"/>
                    <a:pt x="98" y="66"/>
                  </a:cubicBezTo>
                  <a:cubicBezTo>
                    <a:pt x="109" y="60"/>
                    <a:pt x="115" y="46"/>
                    <a:pt x="112" y="33"/>
                  </a:cubicBezTo>
                  <a:cubicBezTo>
                    <a:pt x="107" y="17"/>
                    <a:pt x="91" y="8"/>
                    <a:pt x="75" y="12"/>
                  </a:cubicBezTo>
                  <a:cubicBezTo>
                    <a:pt x="72" y="13"/>
                    <a:pt x="69" y="15"/>
                    <a:pt x="66" y="16"/>
                  </a:cubicBezTo>
                  <a:cubicBezTo>
                    <a:pt x="59" y="6"/>
                    <a:pt x="46" y="0"/>
                    <a:pt x="34" y="4"/>
                  </a:cubicBezTo>
                  <a:cubicBezTo>
                    <a:pt x="18" y="8"/>
                    <a:pt x="8" y="24"/>
                    <a:pt x="13" y="40"/>
                  </a:cubicBezTo>
                  <a:cubicBezTo>
                    <a:pt x="13" y="43"/>
                    <a:pt x="15" y="46"/>
                    <a:pt x="16" y="48"/>
                  </a:cubicBezTo>
                  <a:cubicBezTo>
                    <a:pt x="6" y="52"/>
                    <a:pt x="0" y="63"/>
                    <a:pt x="3" y="74"/>
                  </a:cubicBezTo>
                  <a:cubicBezTo>
                    <a:pt x="5" y="84"/>
                    <a:pt x="14" y="90"/>
                    <a:pt x="24" y="91"/>
                  </a:cubicBezTo>
                  <a:cubicBezTo>
                    <a:pt x="20" y="97"/>
                    <a:pt x="19" y="105"/>
                    <a:pt x="21" y="112"/>
                  </a:cubicBezTo>
                  <a:cubicBezTo>
                    <a:pt x="25" y="128"/>
                    <a:pt x="42" y="137"/>
                    <a:pt x="57" y="133"/>
                  </a:cubicBezTo>
                  <a:cubicBezTo>
                    <a:pt x="64" y="131"/>
                    <a:pt x="70" y="127"/>
                    <a:pt x="73" y="122"/>
                  </a:cubicBezTo>
                  <a:lnTo>
                    <a:pt x="96" y="192"/>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3" name="iśľíḑé">
              <a:extLst>
                <a:ext uri="{FF2B5EF4-FFF2-40B4-BE49-F238E27FC236}">
                  <a16:creationId xmlns:a16="http://schemas.microsoft.com/office/drawing/2014/main" id="{BE41C884-FE54-4FEE-8BE3-D8003A05F68B}"/>
                </a:ext>
              </a:extLst>
            </p:cNvPr>
            <p:cNvSpPr/>
            <p:nvPr/>
          </p:nvSpPr>
          <p:spPr bwMode="auto">
            <a:xfrm flipH="1">
              <a:off x="2687545" y="2398392"/>
              <a:ext cx="212241" cy="327935"/>
            </a:xfrm>
            <a:custGeom>
              <a:avLst/>
              <a:gdLst>
                <a:gd name="T0" fmla="*/ 29 w 127"/>
                <a:gd name="T1" fmla="*/ 198 h 201"/>
                <a:gd name="T2" fmla="*/ 44 w 127"/>
                <a:gd name="T3" fmla="*/ 201 h 201"/>
                <a:gd name="T4" fmla="*/ 61 w 127"/>
                <a:gd name="T5" fmla="*/ 119 h 201"/>
                <a:gd name="T6" fmla="*/ 69 w 127"/>
                <a:gd name="T7" fmla="*/ 123 h 201"/>
                <a:gd name="T8" fmla="*/ 96 w 127"/>
                <a:gd name="T9" fmla="*/ 107 h 201"/>
                <a:gd name="T10" fmla="*/ 94 w 127"/>
                <a:gd name="T11" fmla="*/ 91 h 201"/>
                <a:gd name="T12" fmla="*/ 122 w 127"/>
                <a:gd name="T13" fmla="*/ 69 h 201"/>
                <a:gd name="T14" fmla="*/ 102 w 127"/>
                <a:gd name="T15" fmla="*/ 33 h 201"/>
                <a:gd name="T16" fmla="*/ 92 w 127"/>
                <a:gd name="T17" fmla="*/ 32 h 201"/>
                <a:gd name="T18" fmla="*/ 70 w 127"/>
                <a:gd name="T19" fmla="*/ 5 h 201"/>
                <a:gd name="T20" fmla="*/ 33 w 127"/>
                <a:gd name="T21" fmla="*/ 25 h 201"/>
                <a:gd name="T22" fmla="*/ 32 w 127"/>
                <a:gd name="T23" fmla="*/ 34 h 201"/>
                <a:gd name="T24" fmla="*/ 8 w 127"/>
                <a:gd name="T25" fmla="*/ 50 h 201"/>
                <a:gd name="T26" fmla="*/ 17 w 127"/>
                <a:gd name="T27" fmla="*/ 74 h 201"/>
                <a:gd name="T28" fmla="*/ 5 w 127"/>
                <a:gd name="T29" fmla="*/ 92 h 201"/>
                <a:gd name="T30" fmla="*/ 25 w 127"/>
                <a:gd name="T31" fmla="*/ 128 h 201"/>
                <a:gd name="T32" fmla="*/ 44 w 127"/>
                <a:gd name="T33" fmla="*/ 127 h 201"/>
                <a:gd name="T34" fmla="*/ 29 w 127"/>
                <a:gd name="T3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201">
                  <a:moveTo>
                    <a:pt x="29" y="198"/>
                  </a:moveTo>
                  <a:cubicBezTo>
                    <a:pt x="34" y="199"/>
                    <a:pt x="39" y="200"/>
                    <a:pt x="44" y="201"/>
                  </a:cubicBezTo>
                  <a:cubicBezTo>
                    <a:pt x="61" y="119"/>
                    <a:pt x="61" y="119"/>
                    <a:pt x="61" y="119"/>
                  </a:cubicBezTo>
                  <a:cubicBezTo>
                    <a:pt x="63" y="121"/>
                    <a:pt x="66" y="122"/>
                    <a:pt x="69" y="123"/>
                  </a:cubicBezTo>
                  <a:cubicBezTo>
                    <a:pt x="81" y="126"/>
                    <a:pt x="93" y="119"/>
                    <a:pt x="96" y="107"/>
                  </a:cubicBezTo>
                  <a:cubicBezTo>
                    <a:pt x="97" y="102"/>
                    <a:pt x="96" y="96"/>
                    <a:pt x="94" y="91"/>
                  </a:cubicBezTo>
                  <a:cubicBezTo>
                    <a:pt x="107" y="91"/>
                    <a:pt x="119" y="82"/>
                    <a:pt x="122" y="69"/>
                  </a:cubicBezTo>
                  <a:cubicBezTo>
                    <a:pt x="127" y="53"/>
                    <a:pt x="117" y="37"/>
                    <a:pt x="102" y="33"/>
                  </a:cubicBezTo>
                  <a:cubicBezTo>
                    <a:pt x="98" y="32"/>
                    <a:pt x="95" y="32"/>
                    <a:pt x="92" y="32"/>
                  </a:cubicBezTo>
                  <a:cubicBezTo>
                    <a:pt x="91" y="19"/>
                    <a:pt x="82" y="8"/>
                    <a:pt x="70" y="5"/>
                  </a:cubicBezTo>
                  <a:cubicBezTo>
                    <a:pt x="54" y="0"/>
                    <a:pt x="38" y="10"/>
                    <a:pt x="33" y="25"/>
                  </a:cubicBezTo>
                  <a:cubicBezTo>
                    <a:pt x="33" y="28"/>
                    <a:pt x="32" y="31"/>
                    <a:pt x="32" y="34"/>
                  </a:cubicBezTo>
                  <a:cubicBezTo>
                    <a:pt x="21" y="32"/>
                    <a:pt x="11" y="39"/>
                    <a:pt x="8" y="50"/>
                  </a:cubicBezTo>
                  <a:cubicBezTo>
                    <a:pt x="5" y="60"/>
                    <a:pt x="9" y="70"/>
                    <a:pt x="17" y="74"/>
                  </a:cubicBezTo>
                  <a:cubicBezTo>
                    <a:pt x="11" y="78"/>
                    <a:pt x="7" y="84"/>
                    <a:pt x="5" y="92"/>
                  </a:cubicBezTo>
                  <a:cubicBezTo>
                    <a:pt x="0" y="108"/>
                    <a:pt x="10" y="124"/>
                    <a:pt x="25" y="128"/>
                  </a:cubicBezTo>
                  <a:cubicBezTo>
                    <a:pt x="32" y="130"/>
                    <a:pt x="39" y="129"/>
                    <a:pt x="44" y="127"/>
                  </a:cubicBezTo>
                  <a:lnTo>
                    <a:pt x="29" y="198"/>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4" name="î$ļîďé">
              <a:extLst>
                <a:ext uri="{FF2B5EF4-FFF2-40B4-BE49-F238E27FC236}">
                  <a16:creationId xmlns:a16="http://schemas.microsoft.com/office/drawing/2014/main" id="{007815A0-BA5C-4885-9F59-BA8B155D3F3A}"/>
                </a:ext>
              </a:extLst>
            </p:cNvPr>
            <p:cNvSpPr/>
            <p:nvPr/>
          </p:nvSpPr>
          <p:spPr bwMode="auto">
            <a:xfrm flipH="1">
              <a:off x="4364667" y="2417683"/>
              <a:ext cx="781339" cy="764504"/>
            </a:xfrm>
            <a:custGeom>
              <a:avLst/>
              <a:gdLst>
                <a:gd name="T0" fmla="*/ 389 w 467"/>
                <a:gd name="T1" fmla="*/ 390 h 468"/>
                <a:gd name="T2" fmla="*/ 404 w 467"/>
                <a:gd name="T3" fmla="*/ 326 h 468"/>
                <a:gd name="T4" fmla="*/ 376 w 467"/>
                <a:gd name="T5" fmla="*/ 333 h 468"/>
                <a:gd name="T6" fmla="*/ 375 w 467"/>
                <a:gd name="T7" fmla="*/ 404 h 468"/>
                <a:gd name="T8" fmla="*/ 367 w 467"/>
                <a:gd name="T9" fmla="*/ 362 h 468"/>
                <a:gd name="T10" fmla="*/ 361 w 467"/>
                <a:gd name="T11" fmla="*/ 369 h 468"/>
                <a:gd name="T12" fmla="*/ 358 w 467"/>
                <a:gd name="T13" fmla="*/ 350 h 468"/>
                <a:gd name="T14" fmla="*/ 353 w 467"/>
                <a:gd name="T15" fmla="*/ 305 h 468"/>
                <a:gd name="T16" fmla="*/ 347 w 467"/>
                <a:gd name="T17" fmla="*/ 312 h 468"/>
                <a:gd name="T18" fmla="*/ 352 w 467"/>
                <a:gd name="T19" fmla="*/ 356 h 468"/>
                <a:gd name="T20" fmla="*/ 331 w 467"/>
                <a:gd name="T21" fmla="*/ 327 h 468"/>
                <a:gd name="T22" fmla="*/ 317 w 467"/>
                <a:gd name="T23" fmla="*/ 271 h 468"/>
                <a:gd name="T24" fmla="*/ 317 w 467"/>
                <a:gd name="T25" fmla="*/ 412 h 468"/>
                <a:gd name="T26" fmla="*/ 308 w 467"/>
                <a:gd name="T27" fmla="*/ 258 h 468"/>
                <a:gd name="T28" fmla="*/ 301 w 467"/>
                <a:gd name="T29" fmla="*/ 265 h 468"/>
                <a:gd name="T30" fmla="*/ 295 w 467"/>
                <a:gd name="T31" fmla="*/ 341 h 468"/>
                <a:gd name="T32" fmla="*/ 290 w 467"/>
                <a:gd name="T33" fmla="*/ 347 h 468"/>
                <a:gd name="T34" fmla="*/ 287 w 467"/>
                <a:gd name="T35" fmla="*/ 208 h 468"/>
                <a:gd name="T36" fmla="*/ 281 w 467"/>
                <a:gd name="T37" fmla="*/ 235 h 468"/>
                <a:gd name="T38" fmla="*/ 274 w 467"/>
                <a:gd name="T39" fmla="*/ 313 h 468"/>
                <a:gd name="T40" fmla="*/ 264 w 467"/>
                <a:gd name="T41" fmla="*/ 230 h 468"/>
                <a:gd name="T42" fmla="*/ 246 w 467"/>
                <a:gd name="T43" fmla="*/ 249 h 468"/>
                <a:gd name="T44" fmla="*/ 268 w 467"/>
                <a:gd name="T45" fmla="*/ 319 h 468"/>
                <a:gd name="T46" fmla="*/ 258 w 467"/>
                <a:gd name="T47" fmla="*/ 307 h 468"/>
                <a:gd name="T48" fmla="*/ 233 w 467"/>
                <a:gd name="T49" fmla="*/ 289 h 468"/>
                <a:gd name="T50" fmla="*/ 237 w 467"/>
                <a:gd name="T51" fmla="*/ 187 h 468"/>
                <a:gd name="T52" fmla="*/ 236 w 467"/>
                <a:gd name="T53" fmla="*/ 280 h 468"/>
                <a:gd name="T54" fmla="*/ 233 w 467"/>
                <a:gd name="T55" fmla="*/ 141 h 468"/>
                <a:gd name="T56" fmla="*/ 216 w 467"/>
                <a:gd name="T57" fmla="*/ 136 h 468"/>
                <a:gd name="T58" fmla="*/ 221 w 467"/>
                <a:gd name="T59" fmla="*/ 223 h 468"/>
                <a:gd name="T60" fmla="*/ 211 w 467"/>
                <a:gd name="T61" fmla="*/ 213 h 468"/>
                <a:gd name="T62" fmla="*/ 230 w 467"/>
                <a:gd name="T63" fmla="*/ 194 h 468"/>
                <a:gd name="T64" fmla="*/ 227 w 467"/>
                <a:gd name="T65" fmla="*/ 267 h 468"/>
                <a:gd name="T66" fmla="*/ 220 w 467"/>
                <a:gd name="T67" fmla="*/ 274 h 468"/>
                <a:gd name="T68" fmla="*/ 198 w 467"/>
                <a:gd name="T69" fmla="*/ 105 h 468"/>
                <a:gd name="T70" fmla="*/ 205 w 467"/>
                <a:gd name="T71" fmla="*/ 240 h 468"/>
                <a:gd name="T72" fmla="*/ 198 w 467"/>
                <a:gd name="T73" fmla="*/ 247 h 468"/>
                <a:gd name="T74" fmla="*/ 191 w 467"/>
                <a:gd name="T75" fmla="*/ 183 h 468"/>
                <a:gd name="T76" fmla="*/ 197 w 467"/>
                <a:gd name="T77" fmla="*/ 248 h 468"/>
                <a:gd name="T78" fmla="*/ 185 w 467"/>
                <a:gd name="T79" fmla="*/ 189 h 468"/>
                <a:gd name="T80" fmla="*/ 175 w 467"/>
                <a:gd name="T81" fmla="*/ 304 h 468"/>
                <a:gd name="T82" fmla="*/ 168 w 467"/>
                <a:gd name="T83" fmla="*/ 113 h 468"/>
                <a:gd name="T84" fmla="*/ 161 w 467"/>
                <a:gd name="T85" fmla="*/ 120 h 468"/>
                <a:gd name="T86" fmla="*/ 155 w 467"/>
                <a:gd name="T87" fmla="*/ 197 h 468"/>
                <a:gd name="T88" fmla="*/ 143 w 467"/>
                <a:gd name="T89" fmla="*/ 88 h 468"/>
                <a:gd name="T90" fmla="*/ 152 w 467"/>
                <a:gd name="T91" fmla="*/ 187 h 468"/>
                <a:gd name="T92" fmla="*/ 145 w 467"/>
                <a:gd name="T93" fmla="*/ 136 h 468"/>
                <a:gd name="T94" fmla="*/ 127 w 467"/>
                <a:gd name="T95" fmla="*/ 225 h 468"/>
                <a:gd name="T96" fmla="*/ 133 w 467"/>
                <a:gd name="T97" fmla="*/ 98 h 468"/>
                <a:gd name="T98" fmla="*/ 127 w 467"/>
                <a:gd name="T99" fmla="*/ 46 h 468"/>
                <a:gd name="T100" fmla="*/ 128 w 467"/>
                <a:gd name="T101" fmla="*/ 174 h 468"/>
                <a:gd name="T102" fmla="*/ 121 w 467"/>
                <a:gd name="T103" fmla="*/ 110 h 468"/>
                <a:gd name="T104" fmla="*/ 126 w 467"/>
                <a:gd name="T105" fmla="*/ 84 h 468"/>
                <a:gd name="T106" fmla="*/ 117 w 467"/>
                <a:gd name="T107" fmla="*/ 217 h 468"/>
                <a:gd name="T108" fmla="*/ 114 w 467"/>
                <a:gd name="T109" fmla="*/ 118 h 468"/>
                <a:gd name="T110" fmla="*/ 109 w 467"/>
                <a:gd name="T111" fmla="*/ 101 h 468"/>
                <a:gd name="T112" fmla="*/ 103 w 467"/>
                <a:gd name="T113" fmla="*/ 57 h 468"/>
                <a:gd name="T114" fmla="*/ 101 w 467"/>
                <a:gd name="T115" fmla="*/ 109 h 468"/>
                <a:gd name="T116" fmla="*/ 85 w 467"/>
                <a:gd name="T117" fmla="*/ 75 h 468"/>
                <a:gd name="T118" fmla="*/ 84 w 467"/>
                <a:gd name="T119" fmla="*/ 126 h 468"/>
                <a:gd name="T120" fmla="*/ 80 w 467"/>
                <a:gd name="T121" fmla="*/ 81 h 468"/>
                <a:gd name="T122" fmla="*/ 60 w 467"/>
                <a:gd name="T123" fmla="*/ 99 h 468"/>
                <a:gd name="T124" fmla="*/ 54 w 467"/>
                <a:gd name="T125" fmla="*/ 1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7" h="468">
                  <a:moveTo>
                    <a:pt x="467" y="341"/>
                  </a:moveTo>
                  <a:cubicBezTo>
                    <a:pt x="421" y="386"/>
                    <a:pt x="421" y="386"/>
                    <a:pt x="421" y="386"/>
                  </a:cubicBezTo>
                  <a:cubicBezTo>
                    <a:pt x="421" y="343"/>
                    <a:pt x="421" y="343"/>
                    <a:pt x="421" y="343"/>
                  </a:cubicBezTo>
                  <a:cubicBezTo>
                    <a:pt x="429" y="351"/>
                    <a:pt x="429" y="351"/>
                    <a:pt x="429" y="351"/>
                  </a:cubicBezTo>
                  <a:cubicBezTo>
                    <a:pt x="432" y="347"/>
                    <a:pt x="435" y="344"/>
                    <a:pt x="439" y="341"/>
                  </a:cubicBezTo>
                  <a:cubicBezTo>
                    <a:pt x="421" y="323"/>
                    <a:pt x="421" y="323"/>
                    <a:pt x="421" y="323"/>
                  </a:cubicBezTo>
                  <a:cubicBezTo>
                    <a:pt x="421" y="295"/>
                    <a:pt x="421" y="295"/>
                    <a:pt x="421" y="295"/>
                  </a:cubicBezTo>
                  <a:lnTo>
                    <a:pt x="467" y="341"/>
                  </a:lnTo>
                  <a:close/>
                  <a:moveTo>
                    <a:pt x="421" y="386"/>
                  </a:moveTo>
                  <a:cubicBezTo>
                    <a:pt x="410" y="397"/>
                    <a:pt x="410" y="397"/>
                    <a:pt x="410" y="397"/>
                  </a:cubicBezTo>
                  <a:cubicBezTo>
                    <a:pt x="410" y="369"/>
                    <a:pt x="410" y="369"/>
                    <a:pt x="410" y="369"/>
                  </a:cubicBezTo>
                  <a:cubicBezTo>
                    <a:pt x="416" y="363"/>
                    <a:pt x="416" y="363"/>
                    <a:pt x="416" y="363"/>
                  </a:cubicBezTo>
                  <a:cubicBezTo>
                    <a:pt x="410" y="357"/>
                    <a:pt x="410" y="357"/>
                    <a:pt x="410" y="357"/>
                  </a:cubicBezTo>
                  <a:cubicBezTo>
                    <a:pt x="410" y="332"/>
                    <a:pt x="410" y="332"/>
                    <a:pt x="410" y="332"/>
                  </a:cubicBezTo>
                  <a:cubicBezTo>
                    <a:pt x="421" y="343"/>
                    <a:pt x="421" y="343"/>
                    <a:pt x="421" y="343"/>
                  </a:cubicBezTo>
                  <a:cubicBezTo>
                    <a:pt x="421" y="386"/>
                    <a:pt x="421" y="386"/>
                    <a:pt x="421" y="386"/>
                  </a:cubicBezTo>
                  <a:close/>
                  <a:moveTo>
                    <a:pt x="410" y="283"/>
                  </a:moveTo>
                  <a:cubicBezTo>
                    <a:pt x="421" y="295"/>
                    <a:pt x="421" y="295"/>
                    <a:pt x="421" y="295"/>
                  </a:cubicBezTo>
                  <a:cubicBezTo>
                    <a:pt x="421" y="323"/>
                    <a:pt x="421" y="323"/>
                    <a:pt x="421" y="323"/>
                  </a:cubicBezTo>
                  <a:cubicBezTo>
                    <a:pt x="414" y="316"/>
                    <a:pt x="414" y="316"/>
                    <a:pt x="414" y="316"/>
                  </a:cubicBezTo>
                  <a:cubicBezTo>
                    <a:pt x="410" y="320"/>
                    <a:pt x="410" y="320"/>
                    <a:pt x="410" y="320"/>
                  </a:cubicBezTo>
                  <a:lnTo>
                    <a:pt x="410" y="283"/>
                  </a:lnTo>
                  <a:close/>
                  <a:moveTo>
                    <a:pt x="410" y="397"/>
                  </a:moveTo>
                  <a:cubicBezTo>
                    <a:pt x="386" y="421"/>
                    <a:pt x="386" y="421"/>
                    <a:pt x="386" y="421"/>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7" y="393"/>
                    <a:pt x="387" y="393"/>
                    <a:pt x="387" y="393"/>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8" y="392"/>
                    <a:pt x="388" y="392"/>
                    <a:pt x="388" y="392"/>
                  </a:cubicBezTo>
                  <a:cubicBezTo>
                    <a:pt x="388" y="392"/>
                    <a:pt x="388" y="392"/>
                    <a:pt x="388" y="392"/>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90" y="390"/>
                    <a:pt x="390" y="390"/>
                    <a:pt x="390" y="390"/>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1" y="389"/>
                    <a:pt x="391" y="389"/>
                    <a:pt x="391" y="389"/>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2" y="388"/>
                    <a:pt x="392" y="388"/>
                    <a:pt x="392" y="388"/>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3" y="387"/>
                    <a:pt x="393" y="387"/>
                    <a:pt x="393" y="387"/>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4" y="385"/>
                    <a:pt x="394" y="385"/>
                    <a:pt x="394" y="385"/>
                  </a:cubicBezTo>
                  <a:cubicBezTo>
                    <a:pt x="386" y="378"/>
                    <a:pt x="386" y="378"/>
                    <a:pt x="386" y="378"/>
                  </a:cubicBezTo>
                  <a:cubicBezTo>
                    <a:pt x="386" y="353"/>
                    <a:pt x="386" y="353"/>
                    <a:pt x="386" y="353"/>
                  </a:cubicBezTo>
                  <a:cubicBezTo>
                    <a:pt x="406" y="373"/>
                    <a:pt x="406" y="373"/>
                    <a:pt x="406" y="373"/>
                  </a:cubicBezTo>
                  <a:cubicBezTo>
                    <a:pt x="410" y="369"/>
                    <a:pt x="410" y="369"/>
                    <a:pt x="410" y="369"/>
                  </a:cubicBezTo>
                  <a:cubicBezTo>
                    <a:pt x="410" y="397"/>
                    <a:pt x="410" y="397"/>
                    <a:pt x="410" y="397"/>
                  </a:cubicBezTo>
                  <a:close/>
                  <a:moveTo>
                    <a:pt x="386" y="259"/>
                  </a:moveTo>
                  <a:cubicBezTo>
                    <a:pt x="386" y="287"/>
                    <a:pt x="386" y="287"/>
                    <a:pt x="386" y="287"/>
                  </a:cubicBezTo>
                  <a:cubicBezTo>
                    <a:pt x="403" y="305"/>
                    <a:pt x="403" y="305"/>
                    <a:pt x="403" y="305"/>
                  </a:cubicBezTo>
                  <a:cubicBezTo>
                    <a:pt x="400" y="308"/>
                    <a:pt x="397" y="312"/>
                    <a:pt x="393" y="315"/>
                  </a:cubicBezTo>
                  <a:cubicBezTo>
                    <a:pt x="386" y="308"/>
                    <a:pt x="386" y="308"/>
                    <a:pt x="386" y="308"/>
                  </a:cubicBezTo>
                  <a:cubicBezTo>
                    <a:pt x="386" y="344"/>
                    <a:pt x="386" y="344"/>
                    <a:pt x="386" y="344"/>
                  </a:cubicBezTo>
                  <a:cubicBezTo>
                    <a:pt x="392" y="338"/>
                    <a:pt x="392" y="338"/>
                    <a:pt x="392" y="338"/>
                  </a:cubicBezTo>
                  <a:cubicBezTo>
                    <a:pt x="410" y="357"/>
                    <a:pt x="410" y="357"/>
                    <a:pt x="410" y="357"/>
                  </a:cubicBezTo>
                  <a:cubicBezTo>
                    <a:pt x="410" y="332"/>
                    <a:pt x="410" y="332"/>
                    <a:pt x="410" y="332"/>
                  </a:cubicBezTo>
                  <a:cubicBezTo>
                    <a:pt x="404" y="326"/>
                    <a:pt x="404" y="326"/>
                    <a:pt x="404" y="326"/>
                  </a:cubicBezTo>
                  <a:cubicBezTo>
                    <a:pt x="410" y="320"/>
                    <a:pt x="410" y="320"/>
                    <a:pt x="410" y="320"/>
                  </a:cubicBezTo>
                  <a:cubicBezTo>
                    <a:pt x="410" y="283"/>
                    <a:pt x="410" y="283"/>
                    <a:pt x="410" y="283"/>
                  </a:cubicBezTo>
                  <a:lnTo>
                    <a:pt x="386" y="259"/>
                  </a:lnTo>
                  <a:close/>
                  <a:moveTo>
                    <a:pt x="386" y="421"/>
                  </a:moveTo>
                  <a:cubicBezTo>
                    <a:pt x="375" y="432"/>
                    <a:pt x="375" y="432"/>
                    <a:pt x="375" y="432"/>
                  </a:cubicBezTo>
                  <a:cubicBezTo>
                    <a:pt x="375" y="404"/>
                    <a:pt x="375" y="404"/>
                    <a:pt x="375" y="404"/>
                  </a:cubicBezTo>
                  <a:cubicBezTo>
                    <a:pt x="383" y="396"/>
                    <a:pt x="383" y="396"/>
                    <a:pt x="383" y="396"/>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5" y="395"/>
                    <a:pt x="385" y="395"/>
                    <a:pt x="385" y="395"/>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421"/>
                    <a:pt x="386" y="421"/>
                    <a:pt x="386" y="421"/>
                  </a:cubicBezTo>
                  <a:close/>
                  <a:moveTo>
                    <a:pt x="375" y="248"/>
                  </a:moveTo>
                  <a:cubicBezTo>
                    <a:pt x="386" y="259"/>
                    <a:pt x="386" y="259"/>
                    <a:pt x="386" y="259"/>
                  </a:cubicBezTo>
                  <a:cubicBezTo>
                    <a:pt x="386" y="287"/>
                    <a:pt x="386" y="287"/>
                    <a:pt x="386" y="287"/>
                  </a:cubicBezTo>
                  <a:cubicBezTo>
                    <a:pt x="379" y="280"/>
                    <a:pt x="379" y="280"/>
                    <a:pt x="379" y="280"/>
                  </a:cubicBezTo>
                  <a:cubicBezTo>
                    <a:pt x="375" y="284"/>
                    <a:pt x="375" y="284"/>
                    <a:pt x="375" y="284"/>
                  </a:cubicBezTo>
                  <a:cubicBezTo>
                    <a:pt x="375" y="248"/>
                    <a:pt x="375" y="248"/>
                    <a:pt x="375" y="248"/>
                  </a:cubicBezTo>
                  <a:close/>
                  <a:moveTo>
                    <a:pt x="386" y="308"/>
                  </a:moveTo>
                  <a:cubicBezTo>
                    <a:pt x="386" y="344"/>
                    <a:pt x="386" y="344"/>
                    <a:pt x="386" y="344"/>
                  </a:cubicBezTo>
                  <a:cubicBezTo>
                    <a:pt x="381" y="348"/>
                    <a:pt x="381" y="348"/>
                    <a:pt x="381" y="348"/>
                  </a:cubicBezTo>
                  <a:cubicBezTo>
                    <a:pt x="386" y="353"/>
                    <a:pt x="386" y="353"/>
                    <a:pt x="386" y="353"/>
                  </a:cubicBezTo>
                  <a:cubicBezTo>
                    <a:pt x="386" y="378"/>
                    <a:pt x="386" y="378"/>
                    <a:pt x="386" y="378"/>
                  </a:cubicBezTo>
                  <a:cubicBezTo>
                    <a:pt x="375" y="366"/>
                    <a:pt x="375" y="366"/>
                    <a:pt x="375" y="366"/>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6" y="333"/>
                    <a:pt x="376" y="333"/>
                    <a:pt x="376" y="333"/>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7" y="332"/>
                    <a:pt x="377" y="332"/>
                    <a:pt x="377" y="332"/>
                  </a:cubicBezTo>
                  <a:cubicBezTo>
                    <a:pt x="377" y="332"/>
                    <a:pt x="377" y="332"/>
                    <a:pt x="377" y="332"/>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9" y="330"/>
                    <a:pt x="379" y="330"/>
                    <a:pt x="379" y="330"/>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80" y="329"/>
                    <a:pt x="380" y="329"/>
                    <a:pt x="380" y="329"/>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1" y="328"/>
                    <a:pt x="381" y="328"/>
                    <a:pt x="381" y="328"/>
                  </a:cubicBezTo>
                  <a:cubicBezTo>
                    <a:pt x="381" y="327"/>
                    <a:pt x="381" y="327"/>
                    <a:pt x="381" y="327"/>
                  </a:cubicBezTo>
                  <a:cubicBezTo>
                    <a:pt x="381" y="327"/>
                    <a:pt x="381" y="327"/>
                    <a:pt x="381" y="327"/>
                  </a:cubicBezTo>
                  <a:cubicBezTo>
                    <a:pt x="375" y="321"/>
                    <a:pt x="375" y="321"/>
                    <a:pt x="375" y="321"/>
                  </a:cubicBezTo>
                  <a:cubicBezTo>
                    <a:pt x="375" y="296"/>
                    <a:pt x="375" y="296"/>
                    <a:pt x="375" y="296"/>
                  </a:cubicBezTo>
                  <a:lnTo>
                    <a:pt x="386" y="308"/>
                  </a:lnTo>
                  <a:close/>
                  <a:moveTo>
                    <a:pt x="375" y="432"/>
                  </a:moveTo>
                  <a:cubicBezTo>
                    <a:pt x="354" y="453"/>
                    <a:pt x="354" y="453"/>
                    <a:pt x="354" y="453"/>
                  </a:cubicBezTo>
                  <a:cubicBezTo>
                    <a:pt x="354" y="425"/>
                    <a:pt x="354" y="425"/>
                    <a:pt x="354" y="425"/>
                  </a:cubicBezTo>
                  <a:cubicBezTo>
                    <a:pt x="361" y="418"/>
                    <a:pt x="361" y="418"/>
                    <a:pt x="361" y="418"/>
                  </a:cubicBezTo>
                  <a:cubicBezTo>
                    <a:pt x="371" y="408"/>
                    <a:pt x="371" y="408"/>
                    <a:pt x="371" y="408"/>
                  </a:cubicBezTo>
                  <a:cubicBezTo>
                    <a:pt x="375" y="404"/>
                    <a:pt x="375" y="404"/>
                    <a:pt x="375" y="404"/>
                  </a:cubicBezTo>
                  <a:cubicBezTo>
                    <a:pt x="375" y="432"/>
                    <a:pt x="375" y="432"/>
                    <a:pt x="375" y="432"/>
                  </a:cubicBezTo>
                  <a:close/>
                  <a:moveTo>
                    <a:pt x="354" y="226"/>
                  </a:moveTo>
                  <a:cubicBezTo>
                    <a:pt x="375" y="248"/>
                    <a:pt x="375" y="248"/>
                    <a:pt x="375" y="248"/>
                  </a:cubicBezTo>
                  <a:cubicBezTo>
                    <a:pt x="375" y="284"/>
                    <a:pt x="375" y="284"/>
                    <a:pt x="375" y="284"/>
                  </a:cubicBezTo>
                  <a:cubicBezTo>
                    <a:pt x="369" y="290"/>
                    <a:pt x="369" y="290"/>
                    <a:pt x="369" y="290"/>
                  </a:cubicBezTo>
                  <a:cubicBezTo>
                    <a:pt x="375" y="296"/>
                    <a:pt x="375" y="296"/>
                    <a:pt x="375" y="296"/>
                  </a:cubicBezTo>
                  <a:cubicBezTo>
                    <a:pt x="375" y="321"/>
                    <a:pt x="375" y="321"/>
                    <a:pt x="375" y="321"/>
                  </a:cubicBezTo>
                  <a:cubicBezTo>
                    <a:pt x="356" y="302"/>
                    <a:pt x="356" y="302"/>
                    <a:pt x="356" y="302"/>
                  </a:cubicBezTo>
                  <a:cubicBezTo>
                    <a:pt x="356" y="303"/>
                    <a:pt x="356" y="303"/>
                    <a:pt x="356" y="303"/>
                  </a:cubicBezTo>
                  <a:cubicBezTo>
                    <a:pt x="356" y="303"/>
                    <a:pt x="356" y="303"/>
                    <a:pt x="356" y="303"/>
                  </a:cubicBezTo>
                  <a:cubicBezTo>
                    <a:pt x="356" y="303"/>
                    <a:pt x="356" y="303"/>
                    <a:pt x="356" y="303"/>
                  </a:cubicBezTo>
                  <a:cubicBezTo>
                    <a:pt x="356" y="303"/>
                    <a:pt x="356" y="303"/>
                    <a:pt x="356" y="303"/>
                  </a:cubicBezTo>
                  <a:cubicBezTo>
                    <a:pt x="355" y="303"/>
                    <a:pt x="355" y="303"/>
                    <a:pt x="355" y="303"/>
                  </a:cubicBezTo>
                  <a:cubicBezTo>
                    <a:pt x="355" y="303"/>
                    <a:pt x="355" y="303"/>
                    <a:pt x="355" y="303"/>
                  </a:cubicBezTo>
                  <a:cubicBezTo>
                    <a:pt x="355" y="303"/>
                    <a:pt x="355" y="303"/>
                    <a:pt x="355" y="303"/>
                  </a:cubicBezTo>
                  <a:cubicBezTo>
                    <a:pt x="355" y="303"/>
                    <a:pt x="355" y="303"/>
                    <a:pt x="355" y="303"/>
                  </a:cubicBezTo>
                  <a:cubicBezTo>
                    <a:pt x="355" y="304"/>
                    <a:pt x="355" y="304"/>
                    <a:pt x="355" y="304"/>
                  </a:cubicBezTo>
                  <a:cubicBezTo>
                    <a:pt x="355" y="304"/>
                    <a:pt x="355" y="304"/>
                    <a:pt x="355" y="304"/>
                  </a:cubicBezTo>
                  <a:cubicBezTo>
                    <a:pt x="355" y="304"/>
                    <a:pt x="355" y="304"/>
                    <a:pt x="355" y="304"/>
                  </a:cubicBezTo>
                  <a:cubicBezTo>
                    <a:pt x="354" y="304"/>
                    <a:pt x="354" y="304"/>
                    <a:pt x="354" y="304"/>
                  </a:cubicBezTo>
                  <a:cubicBezTo>
                    <a:pt x="354" y="304"/>
                    <a:pt x="354" y="304"/>
                    <a:pt x="354" y="304"/>
                  </a:cubicBezTo>
                  <a:cubicBezTo>
                    <a:pt x="354" y="304"/>
                    <a:pt x="354" y="304"/>
                    <a:pt x="354" y="304"/>
                  </a:cubicBezTo>
                  <a:cubicBezTo>
                    <a:pt x="354" y="304"/>
                    <a:pt x="354" y="304"/>
                    <a:pt x="354" y="304"/>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275"/>
                    <a:pt x="354" y="275"/>
                    <a:pt x="354" y="275"/>
                  </a:cubicBezTo>
                  <a:cubicBezTo>
                    <a:pt x="358" y="279"/>
                    <a:pt x="358" y="279"/>
                    <a:pt x="358" y="279"/>
                  </a:cubicBezTo>
                  <a:cubicBezTo>
                    <a:pt x="361" y="276"/>
                    <a:pt x="364" y="273"/>
                    <a:pt x="368" y="269"/>
                  </a:cubicBezTo>
                  <a:cubicBezTo>
                    <a:pt x="354" y="255"/>
                    <a:pt x="354" y="255"/>
                    <a:pt x="354" y="255"/>
                  </a:cubicBezTo>
                  <a:cubicBezTo>
                    <a:pt x="354" y="226"/>
                    <a:pt x="354" y="226"/>
                    <a:pt x="354" y="226"/>
                  </a:cubicBezTo>
                  <a:close/>
                  <a:moveTo>
                    <a:pt x="375" y="333"/>
                  </a:moveTo>
                  <a:cubicBezTo>
                    <a:pt x="375" y="366"/>
                    <a:pt x="375" y="366"/>
                    <a:pt x="375" y="366"/>
                  </a:cubicBezTo>
                  <a:cubicBezTo>
                    <a:pt x="369" y="361"/>
                    <a:pt x="369" y="361"/>
                    <a:pt x="369" y="361"/>
                  </a:cubicBezTo>
                  <a:cubicBezTo>
                    <a:pt x="369" y="361"/>
                    <a:pt x="369" y="361"/>
                    <a:pt x="369" y="361"/>
                  </a:cubicBezTo>
                  <a:cubicBezTo>
                    <a:pt x="369" y="361"/>
                    <a:pt x="369" y="361"/>
                    <a:pt x="369" y="361"/>
                  </a:cubicBezTo>
                  <a:cubicBezTo>
                    <a:pt x="368" y="361"/>
                    <a:pt x="368" y="361"/>
                    <a:pt x="368" y="361"/>
                  </a:cubicBezTo>
                  <a:cubicBezTo>
                    <a:pt x="368" y="361"/>
                    <a:pt x="368" y="361"/>
                    <a:pt x="368" y="361"/>
                  </a:cubicBezTo>
                  <a:cubicBezTo>
                    <a:pt x="368" y="361"/>
                    <a:pt x="368" y="361"/>
                    <a:pt x="368" y="361"/>
                  </a:cubicBezTo>
                  <a:cubicBezTo>
                    <a:pt x="368" y="361"/>
                    <a:pt x="368" y="361"/>
                    <a:pt x="368" y="361"/>
                  </a:cubicBezTo>
                  <a:cubicBezTo>
                    <a:pt x="368" y="362"/>
                    <a:pt x="368" y="362"/>
                    <a:pt x="368" y="362"/>
                  </a:cubicBezTo>
                  <a:cubicBezTo>
                    <a:pt x="368" y="362"/>
                    <a:pt x="368" y="362"/>
                    <a:pt x="368" y="362"/>
                  </a:cubicBezTo>
                  <a:cubicBezTo>
                    <a:pt x="368" y="362"/>
                    <a:pt x="368" y="362"/>
                    <a:pt x="368" y="362"/>
                  </a:cubicBezTo>
                  <a:cubicBezTo>
                    <a:pt x="367" y="362"/>
                    <a:pt x="367" y="362"/>
                    <a:pt x="367" y="362"/>
                  </a:cubicBezTo>
                  <a:cubicBezTo>
                    <a:pt x="367" y="362"/>
                    <a:pt x="367" y="362"/>
                    <a:pt x="367" y="362"/>
                  </a:cubicBezTo>
                  <a:cubicBezTo>
                    <a:pt x="367" y="362"/>
                    <a:pt x="367" y="362"/>
                    <a:pt x="367" y="362"/>
                  </a:cubicBezTo>
                  <a:cubicBezTo>
                    <a:pt x="367" y="362"/>
                    <a:pt x="367" y="362"/>
                    <a:pt x="367" y="362"/>
                  </a:cubicBezTo>
                  <a:cubicBezTo>
                    <a:pt x="367" y="363"/>
                    <a:pt x="367" y="363"/>
                    <a:pt x="367" y="363"/>
                  </a:cubicBezTo>
                  <a:cubicBezTo>
                    <a:pt x="367" y="363"/>
                    <a:pt x="367" y="363"/>
                    <a:pt x="367" y="363"/>
                  </a:cubicBezTo>
                  <a:cubicBezTo>
                    <a:pt x="367" y="363"/>
                    <a:pt x="367" y="363"/>
                    <a:pt x="367"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4"/>
                    <a:pt x="366" y="364"/>
                    <a:pt x="366" y="364"/>
                  </a:cubicBezTo>
                  <a:cubicBezTo>
                    <a:pt x="366" y="364"/>
                    <a:pt x="366" y="364"/>
                    <a:pt x="366" y="364"/>
                  </a:cubicBezTo>
                  <a:cubicBezTo>
                    <a:pt x="366" y="364"/>
                    <a:pt x="366" y="364"/>
                    <a:pt x="366" y="364"/>
                  </a:cubicBezTo>
                  <a:cubicBezTo>
                    <a:pt x="365" y="364"/>
                    <a:pt x="365" y="364"/>
                    <a:pt x="365" y="364"/>
                  </a:cubicBezTo>
                  <a:cubicBezTo>
                    <a:pt x="365" y="364"/>
                    <a:pt x="365" y="364"/>
                    <a:pt x="365" y="364"/>
                  </a:cubicBezTo>
                  <a:cubicBezTo>
                    <a:pt x="365" y="364"/>
                    <a:pt x="365" y="364"/>
                    <a:pt x="365" y="364"/>
                  </a:cubicBezTo>
                  <a:cubicBezTo>
                    <a:pt x="365" y="364"/>
                    <a:pt x="365" y="364"/>
                    <a:pt x="365" y="364"/>
                  </a:cubicBezTo>
                  <a:cubicBezTo>
                    <a:pt x="365" y="365"/>
                    <a:pt x="365" y="365"/>
                    <a:pt x="365" y="365"/>
                  </a:cubicBezTo>
                  <a:cubicBezTo>
                    <a:pt x="365" y="365"/>
                    <a:pt x="365" y="365"/>
                    <a:pt x="365" y="365"/>
                  </a:cubicBezTo>
                  <a:cubicBezTo>
                    <a:pt x="365" y="365"/>
                    <a:pt x="365" y="365"/>
                    <a:pt x="365" y="365"/>
                  </a:cubicBezTo>
                  <a:cubicBezTo>
                    <a:pt x="365" y="365"/>
                    <a:pt x="365" y="365"/>
                    <a:pt x="365" y="365"/>
                  </a:cubicBezTo>
                  <a:cubicBezTo>
                    <a:pt x="364" y="365"/>
                    <a:pt x="364" y="365"/>
                    <a:pt x="364" y="365"/>
                  </a:cubicBezTo>
                  <a:cubicBezTo>
                    <a:pt x="364" y="365"/>
                    <a:pt x="364" y="365"/>
                    <a:pt x="364" y="365"/>
                  </a:cubicBezTo>
                  <a:cubicBezTo>
                    <a:pt x="364" y="365"/>
                    <a:pt x="364" y="365"/>
                    <a:pt x="364" y="365"/>
                  </a:cubicBezTo>
                  <a:cubicBezTo>
                    <a:pt x="364" y="366"/>
                    <a:pt x="364" y="366"/>
                    <a:pt x="364" y="366"/>
                  </a:cubicBezTo>
                  <a:cubicBezTo>
                    <a:pt x="364" y="366"/>
                    <a:pt x="364" y="366"/>
                    <a:pt x="364" y="366"/>
                  </a:cubicBezTo>
                  <a:cubicBezTo>
                    <a:pt x="364" y="366"/>
                    <a:pt x="364" y="366"/>
                    <a:pt x="364" y="366"/>
                  </a:cubicBezTo>
                  <a:cubicBezTo>
                    <a:pt x="364" y="366"/>
                    <a:pt x="364" y="366"/>
                    <a:pt x="364" y="366"/>
                  </a:cubicBezTo>
                  <a:cubicBezTo>
                    <a:pt x="363" y="366"/>
                    <a:pt x="363" y="366"/>
                    <a:pt x="363" y="366"/>
                  </a:cubicBezTo>
                  <a:cubicBezTo>
                    <a:pt x="363" y="366"/>
                    <a:pt x="363" y="366"/>
                    <a:pt x="363" y="366"/>
                  </a:cubicBezTo>
                  <a:cubicBezTo>
                    <a:pt x="363" y="366"/>
                    <a:pt x="363" y="366"/>
                    <a:pt x="363" y="366"/>
                  </a:cubicBezTo>
                  <a:cubicBezTo>
                    <a:pt x="363" y="366"/>
                    <a:pt x="363" y="366"/>
                    <a:pt x="363" y="366"/>
                  </a:cubicBezTo>
                  <a:cubicBezTo>
                    <a:pt x="363" y="367"/>
                    <a:pt x="363" y="367"/>
                    <a:pt x="363" y="367"/>
                  </a:cubicBezTo>
                  <a:cubicBezTo>
                    <a:pt x="363" y="367"/>
                    <a:pt x="363" y="367"/>
                    <a:pt x="363" y="367"/>
                  </a:cubicBezTo>
                  <a:cubicBezTo>
                    <a:pt x="363" y="367"/>
                    <a:pt x="363" y="367"/>
                    <a:pt x="363"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8"/>
                    <a:pt x="362" y="368"/>
                    <a:pt x="362" y="368"/>
                  </a:cubicBezTo>
                  <a:cubicBezTo>
                    <a:pt x="362" y="368"/>
                    <a:pt x="362" y="368"/>
                    <a:pt x="362" y="368"/>
                  </a:cubicBezTo>
                  <a:cubicBezTo>
                    <a:pt x="362" y="368"/>
                    <a:pt x="362" y="368"/>
                    <a:pt x="362" y="368"/>
                  </a:cubicBezTo>
                  <a:cubicBezTo>
                    <a:pt x="361" y="368"/>
                    <a:pt x="361" y="368"/>
                    <a:pt x="361" y="368"/>
                  </a:cubicBezTo>
                  <a:cubicBezTo>
                    <a:pt x="361" y="368"/>
                    <a:pt x="361" y="368"/>
                    <a:pt x="361" y="368"/>
                  </a:cubicBezTo>
                  <a:cubicBezTo>
                    <a:pt x="361" y="368"/>
                    <a:pt x="361" y="368"/>
                    <a:pt x="361" y="368"/>
                  </a:cubicBezTo>
                  <a:cubicBezTo>
                    <a:pt x="361" y="368"/>
                    <a:pt x="361" y="368"/>
                    <a:pt x="361" y="368"/>
                  </a:cubicBezTo>
                  <a:cubicBezTo>
                    <a:pt x="361" y="369"/>
                    <a:pt x="361" y="369"/>
                    <a:pt x="361" y="369"/>
                  </a:cubicBezTo>
                  <a:cubicBezTo>
                    <a:pt x="361" y="369"/>
                    <a:pt x="361" y="369"/>
                    <a:pt x="361" y="369"/>
                  </a:cubicBezTo>
                  <a:cubicBezTo>
                    <a:pt x="361" y="369"/>
                    <a:pt x="361" y="369"/>
                    <a:pt x="361"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70"/>
                    <a:pt x="360" y="370"/>
                    <a:pt x="360" y="370"/>
                  </a:cubicBezTo>
                  <a:cubicBezTo>
                    <a:pt x="360" y="370"/>
                    <a:pt x="360" y="370"/>
                    <a:pt x="360"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1"/>
                    <a:pt x="359" y="371"/>
                    <a:pt x="359" y="371"/>
                  </a:cubicBezTo>
                  <a:cubicBezTo>
                    <a:pt x="359" y="371"/>
                    <a:pt x="359" y="371"/>
                    <a:pt x="359" y="371"/>
                  </a:cubicBezTo>
                  <a:cubicBezTo>
                    <a:pt x="354" y="376"/>
                    <a:pt x="354" y="376"/>
                    <a:pt x="354" y="376"/>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3"/>
                    <a:pt x="354" y="353"/>
                    <a:pt x="354"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2"/>
                    <a:pt x="355" y="352"/>
                    <a:pt x="355"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0"/>
                    <a:pt x="357" y="350"/>
                    <a:pt x="357"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3" y="336"/>
                    <a:pt x="373" y="336"/>
                    <a:pt x="373" y="336"/>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5" y="333"/>
                    <a:pt x="375" y="333"/>
                    <a:pt x="375" y="333"/>
                  </a:cubicBezTo>
                  <a:close/>
                  <a:moveTo>
                    <a:pt x="354" y="453"/>
                  </a:moveTo>
                  <a:cubicBezTo>
                    <a:pt x="339" y="467"/>
                    <a:pt x="339" y="467"/>
                    <a:pt x="339" y="467"/>
                  </a:cubicBezTo>
                  <a:cubicBezTo>
                    <a:pt x="339" y="439"/>
                    <a:pt x="339" y="439"/>
                    <a:pt x="339" y="439"/>
                  </a:cubicBezTo>
                  <a:cubicBezTo>
                    <a:pt x="354" y="425"/>
                    <a:pt x="354" y="425"/>
                    <a:pt x="354" y="425"/>
                  </a:cubicBezTo>
                  <a:cubicBezTo>
                    <a:pt x="354" y="453"/>
                    <a:pt x="354" y="453"/>
                    <a:pt x="354" y="453"/>
                  </a:cubicBezTo>
                  <a:close/>
                  <a:moveTo>
                    <a:pt x="339" y="212"/>
                  </a:moveTo>
                  <a:cubicBezTo>
                    <a:pt x="354" y="226"/>
                    <a:pt x="354" y="226"/>
                    <a:pt x="354" y="226"/>
                  </a:cubicBezTo>
                  <a:cubicBezTo>
                    <a:pt x="354" y="255"/>
                    <a:pt x="354" y="255"/>
                    <a:pt x="354" y="255"/>
                  </a:cubicBezTo>
                  <a:cubicBezTo>
                    <a:pt x="343" y="244"/>
                    <a:pt x="343" y="244"/>
                    <a:pt x="343" y="244"/>
                  </a:cubicBezTo>
                  <a:cubicBezTo>
                    <a:pt x="339" y="248"/>
                    <a:pt x="339" y="248"/>
                    <a:pt x="339" y="248"/>
                  </a:cubicBezTo>
                  <a:cubicBezTo>
                    <a:pt x="339" y="212"/>
                    <a:pt x="339" y="212"/>
                    <a:pt x="339" y="212"/>
                  </a:cubicBezTo>
                  <a:close/>
                  <a:moveTo>
                    <a:pt x="354" y="275"/>
                  </a:moveTo>
                  <a:cubicBezTo>
                    <a:pt x="354" y="305"/>
                    <a:pt x="354" y="305"/>
                    <a:pt x="354" y="305"/>
                  </a:cubicBezTo>
                  <a:cubicBezTo>
                    <a:pt x="353" y="305"/>
                    <a:pt x="353" y="305"/>
                    <a:pt x="353" y="305"/>
                  </a:cubicBezTo>
                  <a:cubicBezTo>
                    <a:pt x="353" y="305"/>
                    <a:pt x="353" y="305"/>
                    <a:pt x="353" y="305"/>
                  </a:cubicBezTo>
                  <a:cubicBezTo>
                    <a:pt x="353" y="305"/>
                    <a:pt x="353" y="305"/>
                    <a:pt x="353" y="305"/>
                  </a:cubicBezTo>
                  <a:cubicBezTo>
                    <a:pt x="353" y="306"/>
                    <a:pt x="353" y="306"/>
                    <a:pt x="353" y="306"/>
                  </a:cubicBezTo>
                  <a:cubicBezTo>
                    <a:pt x="353" y="306"/>
                    <a:pt x="353" y="306"/>
                    <a:pt x="353" y="306"/>
                  </a:cubicBezTo>
                  <a:cubicBezTo>
                    <a:pt x="353" y="306"/>
                    <a:pt x="353" y="306"/>
                    <a:pt x="353" y="306"/>
                  </a:cubicBezTo>
                  <a:cubicBezTo>
                    <a:pt x="353" y="306"/>
                    <a:pt x="353" y="306"/>
                    <a:pt x="353" y="306"/>
                  </a:cubicBezTo>
                  <a:cubicBezTo>
                    <a:pt x="352" y="306"/>
                    <a:pt x="352" y="306"/>
                    <a:pt x="352" y="306"/>
                  </a:cubicBezTo>
                  <a:cubicBezTo>
                    <a:pt x="352" y="306"/>
                    <a:pt x="352" y="306"/>
                    <a:pt x="352" y="306"/>
                  </a:cubicBezTo>
                  <a:cubicBezTo>
                    <a:pt x="352" y="306"/>
                    <a:pt x="352" y="306"/>
                    <a:pt x="352" y="306"/>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1" y="307"/>
                    <a:pt x="351" y="307"/>
                    <a:pt x="351" y="307"/>
                  </a:cubicBezTo>
                  <a:cubicBezTo>
                    <a:pt x="351" y="307"/>
                    <a:pt x="351" y="307"/>
                    <a:pt x="351" y="307"/>
                  </a:cubicBezTo>
                  <a:cubicBezTo>
                    <a:pt x="351" y="307"/>
                    <a:pt x="351" y="307"/>
                    <a:pt x="351" y="307"/>
                  </a:cubicBezTo>
                  <a:cubicBezTo>
                    <a:pt x="351" y="308"/>
                    <a:pt x="351" y="308"/>
                    <a:pt x="351" y="308"/>
                  </a:cubicBezTo>
                  <a:cubicBezTo>
                    <a:pt x="351" y="308"/>
                    <a:pt x="351" y="308"/>
                    <a:pt x="351" y="308"/>
                  </a:cubicBezTo>
                  <a:cubicBezTo>
                    <a:pt x="351" y="308"/>
                    <a:pt x="351" y="308"/>
                    <a:pt x="351" y="308"/>
                  </a:cubicBezTo>
                  <a:cubicBezTo>
                    <a:pt x="351" y="308"/>
                    <a:pt x="351" y="308"/>
                    <a:pt x="351" y="308"/>
                  </a:cubicBezTo>
                  <a:cubicBezTo>
                    <a:pt x="350" y="308"/>
                    <a:pt x="350" y="308"/>
                    <a:pt x="350" y="308"/>
                  </a:cubicBezTo>
                  <a:cubicBezTo>
                    <a:pt x="350" y="308"/>
                    <a:pt x="350" y="308"/>
                    <a:pt x="350" y="308"/>
                  </a:cubicBezTo>
                  <a:cubicBezTo>
                    <a:pt x="350" y="308"/>
                    <a:pt x="350" y="308"/>
                    <a:pt x="350" y="308"/>
                  </a:cubicBezTo>
                  <a:cubicBezTo>
                    <a:pt x="350" y="308"/>
                    <a:pt x="350" y="308"/>
                    <a:pt x="350" y="308"/>
                  </a:cubicBezTo>
                  <a:cubicBezTo>
                    <a:pt x="350" y="309"/>
                    <a:pt x="350" y="309"/>
                    <a:pt x="350" y="309"/>
                  </a:cubicBezTo>
                  <a:cubicBezTo>
                    <a:pt x="350" y="309"/>
                    <a:pt x="350" y="309"/>
                    <a:pt x="350" y="309"/>
                  </a:cubicBezTo>
                  <a:cubicBezTo>
                    <a:pt x="350" y="309"/>
                    <a:pt x="350" y="309"/>
                    <a:pt x="350" y="309"/>
                  </a:cubicBezTo>
                  <a:cubicBezTo>
                    <a:pt x="349" y="309"/>
                    <a:pt x="349" y="309"/>
                    <a:pt x="349" y="309"/>
                  </a:cubicBezTo>
                  <a:cubicBezTo>
                    <a:pt x="349" y="309"/>
                    <a:pt x="349" y="309"/>
                    <a:pt x="349" y="309"/>
                  </a:cubicBezTo>
                  <a:cubicBezTo>
                    <a:pt x="349" y="309"/>
                    <a:pt x="349" y="309"/>
                    <a:pt x="349" y="309"/>
                  </a:cubicBezTo>
                  <a:cubicBezTo>
                    <a:pt x="349" y="309"/>
                    <a:pt x="349" y="309"/>
                    <a:pt x="349" y="309"/>
                  </a:cubicBezTo>
                  <a:cubicBezTo>
                    <a:pt x="349" y="310"/>
                    <a:pt x="349" y="310"/>
                    <a:pt x="349" y="310"/>
                  </a:cubicBezTo>
                  <a:cubicBezTo>
                    <a:pt x="349" y="310"/>
                    <a:pt x="349" y="310"/>
                    <a:pt x="349" y="310"/>
                  </a:cubicBezTo>
                  <a:cubicBezTo>
                    <a:pt x="349" y="310"/>
                    <a:pt x="349" y="310"/>
                    <a:pt x="349"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1"/>
                    <a:pt x="348" y="311"/>
                    <a:pt x="348" y="311"/>
                  </a:cubicBezTo>
                  <a:cubicBezTo>
                    <a:pt x="348" y="311"/>
                    <a:pt x="348" y="311"/>
                    <a:pt x="348" y="311"/>
                  </a:cubicBezTo>
                  <a:cubicBezTo>
                    <a:pt x="348" y="311"/>
                    <a:pt x="348" y="311"/>
                    <a:pt x="348" y="311"/>
                  </a:cubicBezTo>
                  <a:cubicBezTo>
                    <a:pt x="348" y="311"/>
                    <a:pt x="348" y="311"/>
                    <a:pt x="348" y="311"/>
                  </a:cubicBezTo>
                  <a:cubicBezTo>
                    <a:pt x="347" y="311"/>
                    <a:pt x="347" y="311"/>
                    <a:pt x="347" y="311"/>
                  </a:cubicBezTo>
                  <a:cubicBezTo>
                    <a:pt x="347" y="311"/>
                    <a:pt x="347" y="311"/>
                    <a:pt x="347" y="311"/>
                  </a:cubicBezTo>
                  <a:cubicBezTo>
                    <a:pt x="347" y="311"/>
                    <a:pt x="347" y="311"/>
                    <a:pt x="347" y="311"/>
                  </a:cubicBezTo>
                  <a:cubicBezTo>
                    <a:pt x="347" y="312"/>
                    <a:pt x="347" y="312"/>
                    <a:pt x="347" y="312"/>
                  </a:cubicBezTo>
                  <a:cubicBezTo>
                    <a:pt x="347" y="312"/>
                    <a:pt x="347" y="312"/>
                    <a:pt x="347" y="312"/>
                  </a:cubicBezTo>
                  <a:cubicBezTo>
                    <a:pt x="347" y="312"/>
                    <a:pt x="347" y="312"/>
                    <a:pt x="347" y="312"/>
                  </a:cubicBezTo>
                  <a:cubicBezTo>
                    <a:pt x="347" y="312"/>
                    <a:pt x="347" y="312"/>
                    <a:pt x="347" y="312"/>
                  </a:cubicBezTo>
                  <a:cubicBezTo>
                    <a:pt x="346" y="312"/>
                    <a:pt x="346" y="312"/>
                    <a:pt x="346" y="312"/>
                  </a:cubicBezTo>
                  <a:cubicBezTo>
                    <a:pt x="346" y="312"/>
                    <a:pt x="346" y="312"/>
                    <a:pt x="346" y="312"/>
                  </a:cubicBezTo>
                  <a:cubicBezTo>
                    <a:pt x="346" y="312"/>
                    <a:pt x="346" y="312"/>
                    <a:pt x="346" y="312"/>
                  </a:cubicBezTo>
                  <a:cubicBezTo>
                    <a:pt x="346" y="312"/>
                    <a:pt x="346" y="312"/>
                    <a:pt x="346" y="312"/>
                  </a:cubicBezTo>
                  <a:cubicBezTo>
                    <a:pt x="339" y="319"/>
                    <a:pt x="339" y="319"/>
                    <a:pt x="339" y="319"/>
                  </a:cubicBezTo>
                  <a:cubicBezTo>
                    <a:pt x="339" y="298"/>
                    <a:pt x="339" y="298"/>
                    <a:pt x="339" y="298"/>
                  </a:cubicBezTo>
                  <a:cubicBezTo>
                    <a:pt x="345" y="292"/>
                    <a:pt x="345" y="292"/>
                    <a:pt x="345" y="292"/>
                  </a:cubicBezTo>
                  <a:cubicBezTo>
                    <a:pt x="339" y="285"/>
                    <a:pt x="339" y="285"/>
                    <a:pt x="339" y="285"/>
                  </a:cubicBezTo>
                  <a:cubicBezTo>
                    <a:pt x="339" y="261"/>
                    <a:pt x="339" y="261"/>
                    <a:pt x="339" y="261"/>
                  </a:cubicBezTo>
                  <a:cubicBezTo>
                    <a:pt x="354" y="275"/>
                    <a:pt x="354" y="275"/>
                    <a:pt x="354" y="275"/>
                  </a:cubicBezTo>
                  <a:close/>
                  <a:moveTo>
                    <a:pt x="354" y="354"/>
                  </a:moveTo>
                  <a:cubicBezTo>
                    <a:pt x="354" y="376"/>
                    <a:pt x="354" y="376"/>
                    <a:pt x="354" y="376"/>
                  </a:cubicBezTo>
                  <a:cubicBezTo>
                    <a:pt x="346" y="383"/>
                    <a:pt x="346" y="383"/>
                    <a:pt x="346" y="383"/>
                  </a:cubicBezTo>
                  <a:cubicBezTo>
                    <a:pt x="339" y="390"/>
                    <a:pt x="339" y="390"/>
                    <a:pt x="339" y="390"/>
                  </a:cubicBezTo>
                  <a:cubicBezTo>
                    <a:pt x="339" y="368"/>
                    <a:pt x="339" y="368"/>
                    <a:pt x="339" y="368"/>
                  </a:cubicBezTo>
                  <a:cubicBezTo>
                    <a:pt x="348" y="360"/>
                    <a:pt x="348" y="360"/>
                    <a:pt x="348" y="360"/>
                  </a:cubicBezTo>
                  <a:cubicBezTo>
                    <a:pt x="348" y="360"/>
                    <a:pt x="348" y="360"/>
                    <a:pt x="348" y="360"/>
                  </a:cubicBezTo>
                  <a:cubicBezTo>
                    <a:pt x="348" y="360"/>
                    <a:pt x="348" y="360"/>
                    <a:pt x="348" y="360"/>
                  </a:cubicBezTo>
                  <a:cubicBezTo>
                    <a:pt x="348" y="359"/>
                    <a:pt x="348" y="359"/>
                    <a:pt x="348"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8"/>
                    <a:pt x="349" y="358"/>
                    <a:pt x="349"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7"/>
                    <a:pt x="350" y="357"/>
                    <a:pt x="350"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6"/>
                    <a:pt x="351" y="356"/>
                    <a:pt x="351" y="356"/>
                  </a:cubicBezTo>
                  <a:cubicBezTo>
                    <a:pt x="351" y="356"/>
                    <a:pt x="351" y="356"/>
                    <a:pt x="351"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5"/>
                    <a:pt x="352" y="355"/>
                    <a:pt x="352"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4" y="354"/>
                    <a:pt x="354" y="354"/>
                    <a:pt x="354" y="354"/>
                  </a:cubicBezTo>
                  <a:close/>
                  <a:moveTo>
                    <a:pt x="339" y="467"/>
                  </a:moveTo>
                  <a:cubicBezTo>
                    <a:pt x="338" y="468"/>
                    <a:pt x="338" y="468"/>
                    <a:pt x="338" y="468"/>
                  </a:cubicBezTo>
                  <a:cubicBezTo>
                    <a:pt x="328" y="458"/>
                    <a:pt x="328" y="458"/>
                    <a:pt x="328" y="458"/>
                  </a:cubicBezTo>
                  <a:cubicBezTo>
                    <a:pt x="328" y="430"/>
                    <a:pt x="328" y="430"/>
                    <a:pt x="328" y="430"/>
                  </a:cubicBezTo>
                  <a:cubicBezTo>
                    <a:pt x="338" y="440"/>
                    <a:pt x="338" y="440"/>
                    <a:pt x="338" y="440"/>
                  </a:cubicBezTo>
                  <a:cubicBezTo>
                    <a:pt x="339" y="439"/>
                    <a:pt x="339" y="439"/>
                    <a:pt x="339" y="439"/>
                  </a:cubicBezTo>
                  <a:cubicBezTo>
                    <a:pt x="339" y="467"/>
                    <a:pt x="339" y="467"/>
                    <a:pt x="339" y="467"/>
                  </a:cubicBezTo>
                  <a:close/>
                  <a:moveTo>
                    <a:pt x="328" y="200"/>
                  </a:moveTo>
                  <a:cubicBezTo>
                    <a:pt x="339" y="212"/>
                    <a:pt x="339" y="212"/>
                    <a:pt x="339" y="212"/>
                  </a:cubicBezTo>
                  <a:cubicBezTo>
                    <a:pt x="339" y="248"/>
                    <a:pt x="339" y="248"/>
                    <a:pt x="339" y="248"/>
                  </a:cubicBezTo>
                  <a:cubicBezTo>
                    <a:pt x="333" y="254"/>
                    <a:pt x="333" y="254"/>
                    <a:pt x="333" y="254"/>
                  </a:cubicBezTo>
                  <a:cubicBezTo>
                    <a:pt x="339" y="261"/>
                    <a:pt x="339" y="261"/>
                    <a:pt x="339" y="261"/>
                  </a:cubicBezTo>
                  <a:cubicBezTo>
                    <a:pt x="339" y="285"/>
                    <a:pt x="339" y="285"/>
                    <a:pt x="339" y="285"/>
                  </a:cubicBezTo>
                  <a:cubicBezTo>
                    <a:pt x="328" y="274"/>
                    <a:pt x="328" y="274"/>
                    <a:pt x="328" y="274"/>
                  </a:cubicBezTo>
                  <a:cubicBezTo>
                    <a:pt x="328" y="238"/>
                    <a:pt x="328" y="238"/>
                    <a:pt x="328" y="238"/>
                  </a:cubicBezTo>
                  <a:cubicBezTo>
                    <a:pt x="333" y="233"/>
                    <a:pt x="333" y="233"/>
                    <a:pt x="333" y="233"/>
                  </a:cubicBezTo>
                  <a:cubicBezTo>
                    <a:pt x="328" y="229"/>
                    <a:pt x="328" y="229"/>
                    <a:pt x="328" y="229"/>
                  </a:cubicBezTo>
                  <a:cubicBezTo>
                    <a:pt x="328" y="200"/>
                    <a:pt x="328" y="200"/>
                    <a:pt x="328" y="200"/>
                  </a:cubicBezTo>
                  <a:close/>
                  <a:moveTo>
                    <a:pt x="339" y="298"/>
                  </a:moveTo>
                  <a:cubicBezTo>
                    <a:pt x="339" y="319"/>
                    <a:pt x="339" y="319"/>
                    <a:pt x="339" y="319"/>
                  </a:cubicBezTo>
                  <a:cubicBezTo>
                    <a:pt x="334" y="325"/>
                    <a:pt x="334" y="325"/>
                    <a:pt x="334" y="325"/>
                  </a:cubicBezTo>
                  <a:cubicBezTo>
                    <a:pt x="333" y="325"/>
                    <a:pt x="333" y="325"/>
                    <a:pt x="333" y="325"/>
                  </a:cubicBezTo>
                  <a:cubicBezTo>
                    <a:pt x="333" y="325"/>
                    <a:pt x="333" y="325"/>
                    <a:pt x="333" y="325"/>
                  </a:cubicBezTo>
                  <a:cubicBezTo>
                    <a:pt x="333" y="325"/>
                    <a:pt x="333" y="325"/>
                    <a:pt x="333" y="325"/>
                  </a:cubicBezTo>
                  <a:cubicBezTo>
                    <a:pt x="333" y="325"/>
                    <a:pt x="333" y="325"/>
                    <a:pt x="333" y="325"/>
                  </a:cubicBezTo>
                  <a:cubicBezTo>
                    <a:pt x="333" y="326"/>
                    <a:pt x="333" y="326"/>
                    <a:pt x="333" y="326"/>
                  </a:cubicBezTo>
                  <a:cubicBezTo>
                    <a:pt x="333" y="326"/>
                    <a:pt x="333" y="326"/>
                    <a:pt x="333" y="326"/>
                  </a:cubicBezTo>
                  <a:cubicBezTo>
                    <a:pt x="333" y="326"/>
                    <a:pt x="333" y="326"/>
                    <a:pt x="333"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7"/>
                    <a:pt x="332" y="327"/>
                    <a:pt x="332" y="327"/>
                  </a:cubicBezTo>
                  <a:cubicBezTo>
                    <a:pt x="332" y="327"/>
                    <a:pt x="332" y="327"/>
                    <a:pt x="332"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8"/>
                    <a:pt x="331" y="328"/>
                    <a:pt x="331" y="328"/>
                  </a:cubicBezTo>
                  <a:cubicBezTo>
                    <a:pt x="331" y="328"/>
                    <a:pt x="331" y="328"/>
                    <a:pt x="331"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9"/>
                    <a:pt x="330" y="329"/>
                    <a:pt x="330" y="329"/>
                  </a:cubicBezTo>
                  <a:cubicBezTo>
                    <a:pt x="330" y="329"/>
                    <a:pt x="330" y="329"/>
                    <a:pt x="330"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30"/>
                    <a:pt x="329" y="330"/>
                    <a:pt x="329" y="330"/>
                  </a:cubicBezTo>
                  <a:cubicBezTo>
                    <a:pt x="329" y="330"/>
                    <a:pt x="329" y="330"/>
                    <a:pt x="329"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294"/>
                    <a:pt x="328" y="294"/>
                    <a:pt x="328" y="294"/>
                  </a:cubicBezTo>
                  <a:cubicBezTo>
                    <a:pt x="335" y="302"/>
                    <a:pt x="335" y="302"/>
                    <a:pt x="335" y="302"/>
                  </a:cubicBezTo>
                  <a:cubicBezTo>
                    <a:pt x="339" y="298"/>
                    <a:pt x="339" y="298"/>
                    <a:pt x="339" y="298"/>
                  </a:cubicBezTo>
                  <a:close/>
                  <a:moveTo>
                    <a:pt x="339" y="368"/>
                  </a:moveTo>
                  <a:cubicBezTo>
                    <a:pt x="339" y="390"/>
                    <a:pt x="339" y="390"/>
                    <a:pt x="339" y="390"/>
                  </a:cubicBezTo>
                  <a:cubicBezTo>
                    <a:pt x="336" y="393"/>
                    <a:pt x="336" y="393"/>
                    <a:pt x="336" y="393"/>
                  </a:cubicBezTo>
                  <a:cubicBezTo>
                    <a:pt x="328" y="401"/>
                    <a:pt x="328" y="401"/>
                    <a:pt x="328" y="401"/>
                  </a:cubicBezTo>
                  <a:cubicBezTo>
                    <a:pt x="328" y="380"/>
                    <a:pt x="328" y="380"/>
                    <a:pt x="328" y="380"/>
                  </a:cubicBezTo>
                  <a:lnTo>
                    <a:pt x="339" y="368"/>
                  </a:lnTo>
                  <a:close/>
                  <a:moveTo>
                    <a:pt x="328" y="458"/>
                  </a:moveTo>
                  <a:cubicBezTo>
                    <a:pt x="317" y="447"/>
                    <a:pt x="317" y="447"/>
                    <a:pt x="317" y="447"/>
                  </a:cubicBezTo>
                  <a:cubicBezTo>
                    <a:pt x="317" y="419"/>
                    <a:pt x="317" y="419"/>
                    <a:pt x="317" y="419"/>
                  </a:cubicBezTo>
                  <a:cubicBezTo>
                    <a:pt x="328" y="430"/>
                    <a:pt x="328" y="430"/>
                    <a:pt x="328" y="430"/>
                  </a:cubicBezTo>
                  <a:cubicBezTo>
                    <a:pt x="328" y="458"/>
                    <a:pt x="328" y="458"/>
                    <a:pt x="328" y="458"/>
                  </a:cubicBezTo>
                  <a:close/>
                  <a:moveTo>
                    <a:pt x="317" y="189"/>
                  </a:moveTo>
                  <a:cubicBezTo>
                    <a:pt x="328" y="200"/>
                    <a:pt x="328" y="200"/>
                    <a:pt x="328" y="200"/>
                  </a:cubicBezTo>
                  <a:cubicBezTo>
                    <a:pt x="328" y="229"/>
                    <a:pt x="328" y="229"/>
                    <a:pt x="328" y="229"/>
                  </a:cubicBezTo>
                  <a:cubicBezTo>
                    <a:pt x="317" y="217"/>
                    <a:pt x="317" y="217"/>
                    <a:pt x="317" y="217"/>
                  </a:cubicBezTo>
                  <a:cubicBezTo>
                    <a:pt x="317" y="189"/>
                    <a:pt x="317" y="189"/>
                    <a:pt x="317" y="189"/>
                  </a:cubicBezTo>
                  <a:close/>
                  <a:moveTo>
                    <a:pt x="328" y="238"/>
                  </a:moveTo>
                  <a:cubicBezTo>
                    <a:pt x="328" y="274"/>
                    <a:pt x="328" y="274"/>
                    <a:pt x="328" y="274"/>
                  </a:cubicBezTo>
                  <a:cubicBezTo>
                    <a:pt x="321" y="267"/>
                    <a:pt x="321" y="267"/>
                    <a:pt x="321" y="267"/>
                  </a:cubicBezTo>
                  <a:cubicBezTo>
                    <a:pt x="317" y="271"/>
                    <a:pt x="317" y="271"/>
                    <a:pt x="317" y="271"/>
                  </a:cubicBezTo>
                  <a:cubicBezTo>
                    <a:pt x="317" y="249"/>
                    <a:pt x="317" y="249"/>
                    <a:pt x="317" y="249"/>
                  </a:cubicBezTo>
                  <a:cubicBezTo>
                    <a:pt x="328" y="238"/>
                    <a:pt x="328" y="238"/>
                    <a:pt x="328" y="238"/>
                  </a:cubicBezTo>
                  <a:close/>
                  <a:moveTo>
                    <a:pt x="328" y="294"/>
                  </a:moveTo>
                  <a:cubicBezTo>
                    <a:pt x="328" y="330"/>
                    <a:pt x="328" y="330"/>
                    <a:pt x="328" y="330"/>
                  </a:cubicBezTo>
                  <a:cubicBezTo>
                    <a:pt x="328" y="330"/>
                    <a:pt x="328" y="330"/>
                    <a:pt x="328" y="330"/>
                  </a:cubicBezTo>
                  <a:cubicBezTo>
                    <a:pt x="328" y="331"/>
                    <a:pt x="328" y="331"/>
                    <a:pt x="328" y="331"/>
                  </a:cubicBezTo>
                  <a:cubicBezTo>
                    <a:pt x="328" y="331"/>
                    <a:pt x="328" y="331"/>
                    <a:pt x="328" y="331"/>
                  </a:cubicBezTo>
                  <a:cubicBezTo>
                    <a:pt x="328" y="331"/>
                    <a:pt x="328" y="331"/>
                    <a:pt x="328" y="331"/>
                  </a:cubicBezTo>
                  <a:cubicBezTo>
                    <a:pt x="327" y="331"/>
                    <a:pt x="327" y="331"/>
                    <a:pt x="327" y="331"/>
                  </a:cubicBezTo>
                  <a:cubicBezTo>
                    <a:pt x="327" y="331"/>
                    <a:pt x="327" y="331"/>
                    <a:pt x="327" y="331"/>
                  </a:cubicBezTo>
                  <a:cubicBezTo>
                    <a:pt x="327" y="331"/>
                    <a:pt x="327" y="331"/>
                    <a:pt x="327" y="331"/>
                  </a:cubicBezTo>
                  <a:cubicBezTo>
                    <a:pt x="327" y="331"/>
                    <a:pt x="327" y="331"/>
                    <a:pt x="327" y="331"/>
                  </a:cubicBezTo>
                  <a:cubicBezTo>
                    <a:pt x="327" y="332"/>
                    <a:pt x="327" y="332"/>
                    <a:pt x="327" y="332"/>
                  </a:cubicBezTo>
                  <a:cubicBezTo>
                    <a:pt x="327" y="332"/>
                    <a:pt x="327" y="332"/>
                    <a:pt x="327" y="332"/>
                  </a:cubicBezTo>
                  <a:cubicBezTo>
                    <a:pt x="327" y="332"/>
                    <a:pt x="327" y="332"/>
                    <a:pt x="327"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3"/>
                    <a:pt x="326" y="333"/>
                    <a:pt x="326"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4"/>
                    <a:pt x="325" y="334"/>
                    <a:pt x="325" y="334"/>
                  </a:cubicBezTo>
                  <a:cubicBezTo>
                    <a:pt x="325" y="334"/>
                    <a:pt x="325" y="334"/>
                    <a:pt x="325"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5"/>
                    <a:pt x="324" y="335"/>
                    <a:pt x="324" y="335"/>
                  </a:cubicBezTo>
                  <a:cubicBezTo>
                    <a:pt x="324" y="335"/>
                    <a:pt x="324" y="335"/>
                    <a:pt x="324" y="335"/>
                  </a:cubicBezTo>
                  <a:cubicBezTo>
                    <a:pt x="323" y="335"/>
                    <a:pt x="323" y="335"/>
                    <a:pt x="323" y="335"/>
                  </a:cubicBezTo>
                  <a:cubicBezTo>
                    <a:pt x="323" y="335"/>
                    <a:pt x="323" y="335"/>
                    <a:pt x="323" y="335"/>
                  </a:cubicBezTo>
                  <a:cubicBezTo>
                    <a:pt x="317" y="342"/>
                    <a:pt x="317" y="342"/>
                    <a:pt x="317" y="342"/>
                  </a:cubicBezTo>
                  <a:cubicBezTo>
                    <a:pt x="317" y="320"/>
                    <a:pt x="317" y="320"/>
                    <a:pt x="317" y="320"/>
                  </a:cubicBezTo>
                  <a:cubicBezTo>
                    <a:pt x="323" y="314"/>
                    <a:pt x="323" y="314"/>
                    <a:pt x="323" y="314"/>
                  </a:cubicBezTo>
                  <a:cubicBezTo>
                    <a:pt x="317" y="308"/>
                    <a:pt x="317" y="308"/>
                    <a:pt x="317" y="308"/>
                  </a:cubicBezTo>
                  <a:cubicBezTo>
                    <a:pt x="317" y="283"/>
                    <a:pt x="317" y="283"/>
                    <a:pt x="317" y="283"/>
                  </a:cubicBezTo>
                  <a:cubicBezTo>
                    <a:pt x="328" y="294"/>
                    <a:pt x="328" y="294"/>
                    <a:pt x="328" y="294"/>
                  </a:cubicBezTo>
                  <a:close/>
                  <a:moveTo>
                    <a:pt x="328" y="380"/>
                  </a:moveTo>
                  <a:cubicBezTo>
                    <a:pt x="328" y="401"/>
                    <a:pt x="328" y="401"/>
                    <a:pt x="328" y="401"/>
                  </a:cubicBezTo>
                  <a:cubicBezTo>
                    <a:pt x="317" y="412"/>
                    <a:pt x="317" y="412"/>
                    <a:pt x="317" y="412"/>
                  </a:cubicBezTo>
                  <a:cubicBezTo>
                    <a:pt x="317" y="373"/>
                    <a:pt x="317" y="373"/>
                    <a:pt x="317" y="373"/>
                  </a:cubicBezTo>
                  <a:cubicBezTo>
                    <a:pt x="325" y="382"/>
                    <a:pt x="325" y="382"/>
                    <a:pt x="325" y="382"/>
                  </a:cubicBezTo>
                  <a:lnTo>
                    <a:pt x="328" y="380"/>
                  </a:lnTo>
                  <a:close/>
                  <a:moveTo>
                    <a:pt x="317" y="447"/>
                  </a:moveTo>
                  <a:cubicBezTo>
                    <a:pt x="305" y="435"/>
                    <a:pt x="305" y="435"/>
                    <a:pt x="305" y="435"/>
                  </a:cubicBezTo>
                  <a:cubicBezTo>
                    <a:pt x="305" y="402"/>
                    <a:pt x="305" y="402"/>
                    <a:pt x="305" y="402"/>
                  </a:cubicBezTo>
                  <a:cubicBezTo>
                    <a:pt x="313" y="395"/>
                    <a:pt x="313" y="395"/>
                    <a:pt x="313" y="395"/>
                  </a:cubicBezTo>
                  <a:cubicBezTo>
                    <a:pt x="305" y="387"/>
                    <a:pt x="305" y="387"/>
                    <a:pt x="305" y="387"/>
                  </a:cubicBezTo>
                  <a:cubicBezTo>
                    <a:pt x="305" y="362"/>
                    <a:pt x="305" y="362"/>
                    <a:pt x="305" y="362"/>
                  </a:cubicBezTo>
                  <a:cubicBezTo>
                    <a:pt x="317" y="373"/>
                    <a:pt x="317" y="373"/>
                    <a:pt x="317" y="373"/>
                  </a:cubicBezTo>
                  <a:cubicBezTo>
                    <a:pt x="317" y="412"/>
                    <a:pt x="317" y="412"/>
                    <a:pt x="317" y="412"/>
                  </a:cubicBezTo>
                  <a:cubicBezTo>
                    <a:pt x="314" y="416"/>
                    <a:pt x="314" y="416"/>
                    <a:pt x="314" y="416"/>
                  </a:cubicBezTo>
                  <a:cubicBezTo>
                    <a:pt x="317" y="419"/>
                    <a:pt x="317" y="419"/>
                    <a:pt x="317" y="419"/>
                  </a:cubicBezTo>
                  <a:cubicBezTo>
                    <a:pt x="317" y="447"/>
                    <a:pt x="317" y="447"/>
                    <a:pt x="317" y="447"/>
                  </a:cubicBezTo>
                  <a:close/>
                  <a:moveTo>
                    <a:pt x="305" y="178"/>
                  </a:moveTo>
                  <a:cubicBezTo>
                    <a:pt x="317" y="189"/>
                    <a:pt x="317" y="189"/>
                    <a:pt x="317" y="189"/>
                  </a:cubicBezTo>
                  <a:cubicBezTo>
                    <a:pt x="317" y="217"/>
                    <a:pt x="317" y="217"/>
                    <a:pt x="317" y="217"/>
                  </a:cubicBezTo>
                  <a:cubicBezTo>
                    <a:pt x="308" y="209"/>
                    <a:pt x="308" y="209"/>
                    <a:pt x="308" y="209"/>
                  </a:cubicBezTo>
                  <a:cubicBezTo>
                    <a:pt x="305" y="211"/>
                    <a:pt x="305" y="211"/>
                    <a:pt x="305" y="211"/>
                  </a:cubicBezTo>
                  <a:cubicBezTo>
                    <a:pt x="305" y="178"/>
                    <a:pt x="305" y="178"/>
                    <a:pt x="305" y="178"/>
                  </a:cubicBezTo>
                  <a:close/>
                  <a:moveTo>
                    <a:pt x="317" y="249"/>
                  </a:moveTo>
                  <a:cubicBezTo>
                    <a:pt x="317" y="271"/>
                    <a:pt x="317" y="271"/>
                    <a:pt x="317" y="271"/>
                  </a:cubicBezTo>
                  <a:cubicBezTo>
                    <a:pt x="311" y="277"/>
                    <a:pt x="311" y="277"/>
                    <a:pt x="311" y="277"/>
                  </a:cubicBezTo>
                  <a:cubicBezTo>
                    <a:pt x="317" y="283"/>
                    <a:pt x="317" y="283"/>
                    <a:pt x="317" y="283"/>
                  </a:cubicBezTo>
                  <a:cubicBezTo>
                    <a:pt x="317" y="308"/>
                    <a:pt x="317" y="308"/>
                    <a:pt x="317" y="308"/>
                  </a:cubicBezTo>
                  <a:cubicBezTo>
                    <a:pt x="305" y="296"/>
                    <a:pt x="305" y="296"/>
                    <a:pt x="305" y="296"/>
                  </a:cubicBezTo>
                  <a:cubicBezTo>
                    <a:pt x="305" y="260"/>
                    <a:pt x="305" y="260"/>
                    <a:pt x="305" y="260"/>
                  </a:cubicBezTo>
                  <a:cubicBezTo>
                    <a:pt x="305" y="260"/>
                    <a:pt x="305" y="260"/>
                    <a:pt x="305"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59"/>
                    <a:pt x="306" y="259"/>
                    <a:pt x="306" y="259"/>
                  </a:cubicBezTo>
                  <a:cubicBezTo>
                    <a:pt x="306" y="259"/>
                    <a:pt x="306" y="259"/>
                    <a:pt x="306"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8"/>
                    <a:pt x="307" y="258"/>
                    <a:pt x="307" y="258"/>
                  </a:cubicBezTo>
                  <a:cubicBezTo>
                    <a:pt x="307" y="258"/>
                    <a:pt x="307" y="258"/>
                    <a:pt x="307"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7"/>
                    <a:pt x="308" y="257"/>
                    <a:pt x="308"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6"/>
                    <a:pt x="309" y="256"/>
                    <a:pt x="309" y="256"/>
                  </a:cubicBezTo>
                  <a:cubicBezTo>
                    <a:pt x="309" y="256"/>
                    <a:pt x="309" y="256"/>
                    <a:pt x="309" y="256"/>
                  </a:cubicBezTo>
                  <a:cubicBezTo>
                    <a:pt x="310" y="256"/>
                    <a:pt x="310" y="256"/>
                    <a:pt x="310" y="256"/>
                  </a:cubicBezTo>
                  <a:cubicBezTo>
                    <a:pt x="310" y="256"/>
                    <a:pt x="310" y="256"/>
                    <a:pt x="310" y="256"/>
                  </a:cubicBezTo>
                  <a:cubicBezTo>
                    <a:pt x="310" y="256"/>
                    <a:pt x="310" y="256"/>
                    <a:pt x="310" y="256"/>
                  </a:cubicBezTo>
                  <a:cubicBezTo>
                    <a:pt x="310" y="256"/>
                    <a:pt x="310" y="256"/>
                    <a:pt x="310" y="256"/>
                  </a:cubicBezTo>
                  <a:cubicBezTo>
                    <a:pt x="317" y="249"/>
                    <a:pt x="317" y="249"/>
                    <a:pt x="317" y="249"/>
                  </a:cubicBezTo>
                  <a:close/>
                  <a:moveTo>
                    <a:pt x="317" y="320"/>
                  </a:moveTo>
                  <a:cubicBezTo>
                    <a:pt x="317" y="342"/>
                    <a:pt x="317" y="342"/>
                    <a:pt x="317" y="342"/>
                  </a:cubicBezTo>
                  <a:cubicBezTo>
                    <a:pt x="305" y="353"/>
                    <a:pt x="305" y="353"/>
                    <a:pt x="305" y="353"/>
                  </a:cubicBezTo>
                  <a:cubicBezTo>
                    <a:pt x="305" y="317"/>
                    <a:pt x="305" y="317"/>
                    <a:pt x="305" y="317"/>
                  </a:cubicBezTo>
                  <a:cubicBezTo>
                    <a:pt x="313" y="324"/>
                    <a:pt x="313" y="324"/>
                    <a:pt x="313" y="324"/>
                  </a:cubicBezTo>
                  <a:lnTo>
                    <a:pt x="317" y="320"/>
                  </a:lnTo>
                  <a:close/>
                  <a:moveTo>
                    <a:pt x="305" y="435"/>
                  </a:moveTo>
                  <a:cubicBezTo>
                    <a:pt x="294" y="424"/>
                    <a:pt x="294" y="424"/>
                    <a:pt x="294" y="424"/>
                  </a:cubicBezTo>
                  <a:cubicBezTo>
                    <a:pt x="294" y="396"/>
                    <a:pt x="294" y="396"/>
                    <a:pt x="294" y="396"/>
                  </a:cubicBezTo>
                  <a:cubicBezTo>
                    <a:pt x="303" y="405"/>
                    <a:pt x="303" y="405"/>
                    <a:pt x="303" y="405"/>
                  </a:cubicBezTo>
                  <a:cubicBezTo>
                    <a:pt x="305" y="402"/>
                    <a:pt x="305" y="402"/>
                    <a:pt x="305" y="402"/>
                  </a:cubicBezTo>
                  <a:cubicBezTo>
                    <a:pt x="305" y="435"/>
                    <a:pt x="305" y="435"/>
                    <a:pt x="305" y="435"/>
                  </a:cubicBezTo>
                  <a:close/>
                  <a:moveTo>
                    <a:pt x="294" y="166"/>
                  </a:moveTo>
                  <a:cubicBezTo>
                    <a:pt x="298" y="170"/>
                    <a:pt x="298" y="170"/>
                    <a:pt x="298" y="170"/>
                  </a:cubicBezTo>
                  <a:cubicBezTo>
                    <a:pt x="305" y="178"/>
                    <a:pt x="305" y="178"/>
                    <a:pt x="305" y="178"/>
                  </a:cubicBezTo>
                  <a:cubicBezTo>
                    <a:pt x="305" y="211"/>
                    <a:pt x="305" y="211"/>
                    <a:pt x="305" y="211"/>
                  </a:cubicBezTo>
                  <a:cubicBezTo>
                    <a:pt x="294" y="222"/>
                    <a:pt x="294" y="222"/>
                    <a:pt x="294" y="222"/>
                  </a:cubicBezTo>
                  <a:cubicBezTo>
                    <a:pt x="294" y="201"/>
                    <a:pt x="294" y="201"/>
                    <a:pt x="294" y="201"/>
                  </a:cubicBezTo>
                  <a:cubicBezTo>
                    <a:pt x="297" y="198"/>
                    <a:pt x="297" y="198"/>
                    <a:pt x="297" y="198"/>
                  </a:cubicBezTo>
                  <a:cubicBezTo>
                    <a:pt x="294" y="195"/>
                    <a:pt x="294" y="195"/>
                    <a:pt x="294" y="195"/>
                  </a:cubicBezTo>
                  <a:cubicBezTo>
                    <a:pt x="294" y="166"/>
                    <a:pt x="294" y="166"/>
                    <a:pt x="294" y="166"/>
                  </a:cubicBezTo>
                  <a:close/>
                  <a:moveTo>
                    <a:pt x="305" y="260"/>
                  </a:moveTo>
                  <a:cubicBezTo>
                    <a:pt x="305" y="296"/>
                    <a:pt x="305" y="296"/>
                    <a:pt x="305" y="296"/>
                  </a:cubicBezTo>
                  <a:cubicBezTo>
                    <a:pt x="298" y="289"/>
                    <a:pt x="298" y="289"/>
                    <a:pt x="298" y="289"/>
                  </a:cubicBezTo>
                  <a:cubicBezTo>
                    <a:pt x="294" y="293"/>
                    <a:pt x="294" y="293"/>
                    <a:pt x="294" y="293"/>
                  </a:cubicBezTo>
                  <a:cubicBezTo>
                    <a:pt x="294" y="272"/>
                    <a:pt x="294" y="272"/>
                    <a:pt x="294" y="272"/>
                  </a:cubicBezTo>
                  <a:cubicBezTo>
                    <a:pt x="300" y="266"/>
                    <a:pt x="300" y="266"/>
                    <a:pt x="300" y="266"/>
                  </a:cubicBezTo>
                  <a:cubicBezTo>
                    <a:pt x="300" y="266"/>
                    <a:pt x="300" y="266"/>
                    <a:pt x="300" y="266"/>
                  </a:cubicBezTo>
                  <a:cubicBezTo>
                    <a:pt x="300" y="266"/>
                    <a:pt x="300" y="266"/>
                    <a:pt x="300" y="266"/>
                  </a:cubicBezTo>
                  <a:cubicBezTo>
                    <a:pt x="300" y="265"/>
                    <a:pt x="300" y="265"/>
                    <a:pt x="300" y="265"/>
                  </a:cubicBezTo>
                  <a:cubicBezTo>
                    <a:pt x="300" y="265"/>
                    <a:pt x="300" y="265"/>
                    <a:pt x="300"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4"/>
                    <a:pt x="301" y="264"/>
                    <a:pt x="301" y="264"/>
                  </a:cubicBezTo>
                  <a:cubicBezTo>
                    <a:pt x="301" y="264"/>
                    <a:pt x="301" y="264"/>
                    <a:pt x="301"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3"/>
                    <a:pt x="302" y="263"/>
                    <a:pt x="302" y="263"/>
                  </a:cubicBezTo>
                  <a:cubicBezTo>
                    <a:pt x="302" y="263"/>
                    <a:pt x="302" y="263"/>
                    <a:pt x="302" y="263"/>
                  </a:cubicBezTo>
                  <a:cubicBezTo>
                    <a:pt x="303" y="263"/>
                    <a:pt x="303" y="263"/>
                    <a:pt x="303" y="263"/>
                  </a:cubicBezTo>
                  <a:cubicBezTo>
                    <a:pt x="303" y="263"/>
                    <a:pt x="303" y="263"/>
                    <a:pt x="303" y="263"/>
                  </a:cubicBezTo>
                  <a:cubicBezTo>
                    <a:pt x="303" y="263"/>
                    <a:pt x="303" y="263"/>
                    <a:pt x="303" y="263"/>
                  </a:cubicBezTo>
                  <a:cubicBezTo>
                    <a:pt x="303" y="263"/>
                    <a:pt x="303" y="263"/>
                    <a:pt x="303" y="263"/>
                  </a:cubicBezTo>
                  <a:cubicBezTo>
                    <a:pt x="303" y="262"/>
                    <a:pt x="303" y="262"/>
                    <a:pt x="303" y="262"/>
                  </a:cubicBezTo>
                  <a:cubicBezTo>
                    <a:pt x="303" y="262"/>
                    <a:pt x="303" y="262"/>
                    <a:pt x="303" y="262"/>
                  </a:cubicBezTo>
                  <a:cubicBezTo>
                    <a:pt x="303" y="262"/>
                    <a:pt x="303" y="262"/>
                    <a:pt x="303"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1"/>
                    <a:pt x="304" y="261"/>
                    <a:pt x="304" y="261"/>
                  </a:cubicBezTo>
                  <a:cubicBezTo>
                    <a:pt x="304" y="261"/>
                    <a:pt x="304" y="261"/>
                    <a:pt x="304"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0"/>
                    <a:pt x="305" y="260"/>
                    <a:pt x="305" y="260"/>
                  </a:cubicBezTo>
                  <a:cubicBezTo>
                    <a:pt x="305" y="260"/>
                    <a:pt x="305" y="260"/>
                    <a:pt x="305" y="260"/>
                  </a:cubicBezTo>
                  <a:close/>
                  <a:moveTo>
                    <a:pt x="305" y="317"/>
                  </a:moveTo>
                  <a:cubicBezTo>
                    <a:pt x="305" y="353"/>
                    <a:pt x="305" y="353"/>
                    <a:pt x="305" y="353"/>
                  </a:cubicBezTo>
                  <a:cubicBezTo>
                    <a:pt x="301" y="357"/>
                    <a:pt x="301" y="357"/>
                    <a:pt x="301" y="357"/>
                  </a:cubicBezTo>
                  <a:cubicBezTo>
                    <a:pt x="305" y="362"/>
                    <a:pt x="305" y="362"/>
                    <a:pt x="305" y="362"/>
                  </a:cubicBezTo>
                  <a:cubicBezTo>
                    <a:pt x="305" y="387"/>
                    <a:pt x="305" y="387"/>
                    <a:pt x="305" y="387"/>
                  </a:cubicBezTo>
                  <a:cubicBezTo>
                    <a:pt x="294" y="375"/>
                    <a:pt x="294" y="375"/>
                    <a:pt x="294" y="375"/>
                  </a:cubicBezTo>
                  <a:cubicBezTo>
                    <a:pt x="294" y="342"/>
                    <a:pt x="294" y="342"/>
                    <a:pt x="294" y="342"/>
                  </a:cubicBezTo>
                  <a:cubicBezTo>
                    <a:pt x="294" y="342"/>
                    <a:pt x="294" y="342"/>
                    <a:pt x="294" y="342"/>
                  </a:cubicBezTo>
                  <a:cubicBezTo>
                    <a:pt x="294" y="342"/>
                    <a:pt x="294" y="342"/>
                    <a:pt x="294"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1"/>
                    <a:pt x="295" y="341"/>
                    <a:pt x="295" y="341"/>
                  </a:cubicBezTo>
                  <a:cubicBezTo>
                    <a:pt x="295" y="341"/>
                    <a:pt x="295" y="341"/>
                    <a:pt x="295" y="341"/>
                  </a:cubicBezTo>
                  <a:cubicBezTo>
                    <a:pt x="295" y="341"/>
                    <a:pt x="295" y="341"/>
                    <a:pt x="295" y="341"/>
                  </a:cubicBezTo>
                  <a:cubicBezTo>
                    <a:pt x="295" y="341"/>
                    <a:pt x="295" y="341"/>
                    <a:pt x="295" y="341"/>
                  </a:cubicBezTo>
                  <a:cubicBezTo>
                    <a:pt x="296" y="341"/>
                    <a:pt x="296" y="341"/>
                    <a:pt x="296" y="341"/>
                  </a:cubicBezTo>
                  <a:cubicBezTo>
                    <a:pt x="296" y="341"/>
                    <a:pt x="296" y="341"/>
                    <a:pt x="296" y="341"/>
                  </a:cubicBezTo>
                  <a:cubicBezTo>
                    <a:pt x="296" y="341"/>
                    <a:pt x="296" y="341"/>
                    <a:pt x="296" y="341"/>
                  </a:cubicBezTo>
                  <a:cubicBezTo>
                    <a:pt x="296" y="341"/>
                    <a:pt x="296" y="341"/>
                    <a:pt x="296" y="341"/>
                  </a:cubicBezTo>
                  <a:cubicBezTo>
                    <a:pt x="296" y="340"/>
                    <a:pt x="296" y="340"/>
                    <a:pt x="296" y="340"/>
                  </a:cubicBezTo>
                  <a:cubicBezTo>
                    <a:pt x="296" y="340"/>
                    <a:pt x="296" y="340"/>
                    <a:pt x="296" y="340"/>
                  </a:cubicBezTo>
                  <a:cubicBezTo>
                    <a:pt x="296" y="340"/>
                    <a:pt x="296" y="340"/>
                    <a:pt x="296" y="340"/>
                  </a:cubicBezTo>
                  <a:cubicBezTo>
                    <a:pt x="296" y="340"/>
                    <a:pt x="296" y="340"/>
                    <a:pt x="296" y="340"/>
                  </a:cubicBezTo>
                  <a:cubicBezTo>
                    <a:pt x="297" y="340"/>
                    <a:pt x="297" y="340"/>
                    <a:pt x="297" y="340"/>
                  </a:cubicBezTo>
                  <a:cubicBezTo>
                    <a:pt x="297" y="340"/>
                    <a:pt x="297" y="340"/>
                    <a:pt x="297" y="340"/>
                  </a:cubicBezTo>
                  <a:cubicBezTo>
                    <a:pt x="297" y="340"/>
                    <a:pt x="297" y="340"/>
                    <a:pt x="297" y="340"/>
                  </a:cubicBezTo>
                  <a:cubicBezTo>
                    <a:pt x="297" y="340"/>
                    <a:pt x="297" y="340"/>
                    <a:pt x="297" y="340"/>
                  </a:cubicBezTo>
                  <a:cubicBezTo>
                    <a:pt x="297" y="339"/>
                    <a:pt x="297" y="339"/>
                    <a:pt x="297" y="339"/>
                  </a:cubicBezTo>
                  <a:cubicBezTo>
                    <a:pt x="297" y="339"/>
                    <a:pt x="297" y="339"/>
                    <a:pt x="297" y="339"/>
                  </a:cubicBezTo>
                  <a:cubicBezTo>
                    <a:pt x="297" y="339"/>
                    <a:pt x="297" y="339"/>
                    <a:pt x="297" y="339"/>
                  </a:cubicBezTo>
                  <a:cubicBezTo>
                    <a:pt x="297" y="339"/>
                    <a:pt x="297" y="339"/>
                    <a:pt x="297" y="339"/>
                  </a:cubicBezTo>
                  <a:cubicBezTo>
                    <a:pt x="298" y="339"/>
                    <a:pt x="298" y="339"/>
                    <a:pt x="298" y="339"/>
                  </a:cubicBezTo>
                  <a:cubicBezTo>
                    <a:pt x="298" y="339"/>
                    <a:pt x="298" y="339"/>
                    <a:pt x="298" y="339"/>
                  </a:cubicBezTo>
                  <a:cubicBezTo>
                    <a:pt x="298" y="339"/>
                    <a:pt x="298" y="339"/>
                    <a:pt x="298" y="339"/>
                  </a:cubicBezTo>
                  <a:cubicBezTo>
                    <a:pt x="298" y="339"/>
                    <a:pt x="298" y="339"/>
                    <a:pt x="298" y="339"/>
                  </a:cubicBezTo>
                  <a:cubicBezTo>
                    <a:pt x="298" y="338"/>
                    <a:pt x="298" y="338"/>
                    <a:pt x="298" y="338"/>
                  </a:cubicBezTo>
                  <a:cubicBezTo>
                    <a:pt x="298" y="338"/>
                    <a:pt x="298" y="338"/>
                    <a:pt x="298" y="338"/>
                  </a:cubicBezTo>
                  <a:cubicBezTo>
                    <a:pt x="298" y="338"/>
                    <a:pt x="298" y="338"/>
                    <a:pt x="298" y="338"/>
                  </a:cubicBezTo>
                  <a:cubicBezTo>
                    <a:pt x="298" y="338"/>
                    <a:pt x="298" y="338"/>
                    <a:pt x="298" y="338"/>
                  </a:cubicBezTo>
                  <a:cubicBezTo>
                    <a:pt x="299" y="338"/>
                    <a:pt x="299" y="338"/>
                    <a:pt x="299" y="338"/>
                  </a:cubicBezTo>
                  <a:cubicBezTo>
                    <a:pt x="299" y="338"/>
                    <a:pt x="299" y="338"/>
                    <a:pt x="299" y="338"/>
                  </a:cubicBezTo>
                  <a:cubicBezTo>
                    <a:pt x="299" y="338"/>
                    <a:pt x="299" y="338"/>
                    <a:pt x="299" y="338"/>
                  </a:cubicBezTo>
                  <a:cubicBezTo>
                    <a:pt x="299" y="338"/>
                    <a:pt x="299" y="338"/>
                    <a:pt x="299" y="338"/>
                  </a:cubicBezTo>
                  <a:cubicBezTo>
                    <a:pt x="299" y="337"/>
                    <a:pt x="299" y="337"/>
                    <a:pt x="299" y="337"/>
                  </a:cubicBezTo>
                  <a:cubicBezTo>
                    <a:pt x="299" y="337"/>
                    <a:pt x="299" y="337"/>
                    <a:pt x="299" y="337"/>
                  </a:cubicBezTo>
                  <a:cubicBezTo>
                    <a:pt x="299" y="337"/>
                    <a:pt x="299" y="337"/>
                    <a:pt x="299" y="337"/>
                  </a:cubicBezTo>
                  <a:cubicBezTo>
                    <a:pt x="299" y="337"/>
                    <a:pt x="299" y="337"/>
                    <a:pt x="299" y="337"/>
                  </a:cubicBezTo>
                  <a:cubicBezTo>
                    <a:pt x="300" y="337"/>
                    <a:pt x="300" y="337"/>
                    <a:pt x="300" y="337"/>
                  </a:cubicBezTo>
                  <a:cubicBezTo>
                    <a:pt x="300" y="337"/>
                    <a:pt x="300" y="337"/>
                    <a:pt x="300" y="337"/>
                  </a:cubicBezTo>
                  <a:cubicBezTo>
                    <a:pt x="300" y="337"/>
                    <a:pt x="300" y="337"/>
                    <a:pt x="300" y="337"/>
                  </a:cubicBezTo>
                  <a:cubicBezTo>
                    <a:pt x="300" y="337"/>
                    <a:pt x="300" y="337"/>
                    <a:pt x="300" y="337"/>
                  </a:cubicBezTo>
                  <a:cubicBezTo>
                    <a:pt x="300" y="336"/>
                    <a:pt x="300" y="336"/>
                    <a:pt x="300" y="336"/>
                  </a:cubicBezTo>
                  <a:cubicBezTo>
                    <a:pt x="300" y="336"/>
                    <a:pt x="300" y="336"/>
                    <a:pt x="300" y="336"/>
                  </a:cubicBezTo>
                  <a:cubicBezTo>
                    <a:pt x="294" y="330"/>
                    <a:pt x="294" y="330"/>
                    <a:pt x="294" y="330"/>
                  </a:cubicBezTo>
                  <a:cubicBezTo>
                    <a:pt x="294" y="305"/>
                    <a:pt x="294" y="305"/>
                    <a:pt x="294" y="305"/>
                  </a:cubicBezTo>
                  <a:lnTo>
                    <a:pt x="305" y="317"/>
                  </a:lnTo>
                  <a:close/>
                  <a:moveTo>
                    <a:pt x="294" y="424"/>
                  </a:moveTo>
                  <a:cubicBezTo>
                    <a:pt x="271" y="401"/>
                    <a:pt x="271" y="401"/>
                    <a:pt x="271" y="401"/>
                  </a:cubicBezTo>
                  <a:cubicBezTo>
                    <a:pt x="271" y="365"/>
                    <a:pt x="271" y="365"/>
                    <a:pt x="271" y="365"/>
                  </a:cubicBezTo>
                  <a:cubicBezTo>
                    <a:pt x="290" y="347"/>
                    <a:pt x="290" y="347"/>
                    <a:pt x="290" y="347"/>
                  </a:cubicBezTo>
                  <a:cubicBezTo>
                    <a:pt x="290" y="347"/>
                    <a:pt x="290" y="347"/>
                    <a:pt x="290" y="347"/>
                  </a:cubicBezTo>
                  <a:cubicBezTo>
                    <a:pt x="290" y="346"/>
                    <a:pt x="290" y="346"/>
                    <a:pt x="290" y="346"/>
                  </a:cubicBezTo>
                  <a:cubicBezTo>
                    <a:pt x="290" y="346"/>
                    <a:pt x="290" y="346"/>
                    <a:pt x="290" y="346"/>
                  </a:cubicBezTo>
                  <a:cubicBezTo>
                    <a:pt x="290" y="346"/>
                    <a:pt x="290" y="346"/>
                    <a:pt x="290" y="346"/>
                  </a:cubicBezTo>
                  <a:cubicBezTo>
                    <a:pt x="290" y="346"/>
                    <a:pt x="290" y="346"/>
                    <a:pt x="290"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5"/>
                    <a:pt x="291" y="345"/>
                    <a:pt x="291" y="345"/>
                  </a:cubicBezTo>
                  <a:cubicBezTo>
                    <a:pt x="291" y="345"/>
                    <a:pt x="291" y="345"/>
                    <a:pt x="291" y="345"/>
                  </a:cubicBezTo>
                  <a:cubicBezTo>
                    <a:pt x="291" y="345"/>
                    <a:pt x="291" y="345"/>
                    <a:pt x="291" y="345"/>
                  </a:cubicBezTo>
                  <a:cubicBezTo>
                    <a:pt x="291" y="345"/>
                    <a:pt x="291" y="345"/>
                    <a:pt x="291" y="345"/>
                  </a:cubicBezTo>
                  <a:cubicBezTo>
                    <a:pt x="292" y="345"/>
                    <a:pt x="292" y="345"/>
                    <a:pt x="292" y="345"/>
                  </a:cubicBezTo>
                  <a:cubicBezTo>
                    <a:pt x="292" y="345"/>
                    <a:pt x="292" y="345"/>
                    <a:pt x="292" y="345"/>
                  </a:cubicBezTo>
                  <a:cubicBezTo>
                    <a:pt x="292" y="345"/>
                    <a:pt x="292" y="345"/>
                    <a:pt x="292" y="345"/>
                  </a:cubicBezTo>
                  <a:cubicBezTo>
                    <a:pt x="292" y="345"/>
                    <a:pt x="292" y="345"/>
                    <a:pt x="292" y="345"/>
                  </a:cubicBezTo>
                  <a:cubicBezTo>
                    <a:pt x="292" y="344"/>
                    <a:pt x="292" y="344"/>
                    <a:pt x="292" y="344"/>
                  </a:cubicBezTo>
                  <a:cubicBezTo>
                    <a:pt x="292" y="344"/>
                    <a:pt x="292" y="344"/>
                    <a:pt x="292" y="344"/>
                  </a:cubicBezTo>
                  <a:cubicBezTo>
                    <a:pt x="292" y="344"/>
                    <a:pt x="292" y="344"/>
                    <a:pt x="292"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3"/>
                    <a:pt x="293" y="343"/>
                    <a:pt x="293" y="343"/>
                  </a:cubicBezTo>
                  <a:cubicBezTo>
                    <a:pt x="293" y="343"/>
                    <a:pt x="293" y="343"/>
                    <a:pt x="293" y="343"/>
                  </a:cubicBezTo>
                  <a:cubicBezTo>
                    <a:pt x="293" y="343"/>
                    <a:pt x="293" y="343"/>
                    <a:pt x="293"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2"/>
                    <a:pt x="294" y="342"/>
                    <a:pt x="294" y="342"/>
                  </a:cubicBezTo>
                  <a:cubicBezTo>
                    <a:pt x="294" y="342"/>
                    <a:pt x="294" y="342"/>
                    <a:pt x="294" y="342"/>
                  </a:cubicBezTo>
                  <a:cubicBezTo>
                    <a:pt x="294" y="375"/>
                    <a:pt x="294" y="375"/>
                    <a:pt x="294" y="375"/>
                  </a:cubicBezTo>
                  <a:cubicBezTo>
                    <a:pt x="288" y="370"/>
                    <a:pt x="288" y="370"/>
                    <a:pt x="288" y="370"/>
                  </a:cubicBezTo>
                  <a:cubicBezTo>
                    <a:pt x="285" y="373"/>
                    <a:pt x="281" y="376"/>
                    <a:pt x="278" y="380"/>
                  </a:cubicBezTo>
                  <a:cubicBezTo>
                    <a:pt x="294" y="396"/>
                    <a:pt x="294" y="396"/>
                    <a:pt x="294" y="396"/>
                  </a:cubicBezTo>
                  <a:cubicBezTo>
                    <a:pt x="294" y="424"/>
                    <a:pt x="294" y="424"/>
                    <a:pt x="294" y="424"/>
                  </a:cubicBezTo>
                  <a:close/>
                  <a:moveTo>
                    <a:pt x="271" y="143"/>
                  </a:moveTo>
                  <a:cubicBezTo>
                    <a:pt x="294" y="166"/>
                    <a:pt x="294" y="166"/>
                    <a:pt x="294" y="166"/>
                  </a:cubicBezTo>
                  <a:cubicBezTo>
                    <a:pt x="294" y="195"/>
                    <a:pt x="294" y="195"/>
                    <a:pt x="294" y="195"/>
                  </a:cubicBezTo>
                  <a:cubicBezTo>
                    <a:pt x="272" y="173"/>
                    <a:pt x="272" y="173"/>
                    <a:pt x="272" y="173"/>
                  </a:cubicBezTo>
                  <a:cubicBezTo>
                    <a:pt x="271" y="174"/>
                    <a:pt x="271" y="174"/>
                    <a:pt x="271" y="174"/>
                  </a:cubicBezTo>
                  <a:cubicBezTo>
                    <a:pt x="271" y="143"/>
                    <a:pt x="271" y="143"/>
                    <a:pt x="271" y="143"/>
                  </a:cubicBezTo>
                  <a:close/>
                  <a:moveTo>
                    <a:pt x="294" y="201"/>
                  </a:moveTo>
                  <a:cubicBezTo>
                    <a:pt x="287" y="208"/>
                    <a:pt x="287" y="208"/>
                    <a:pt x="287" y="208"/>
                  </a:cubicBezTo>
                  <a:cubicBezTo>
                    <a:pt x="271" y="192"/>
                    <a:pt x="271" y="192"/>
                    <a:pt x="271" y="192"/>
                  </a:cubicBezTo>
                  <a:cubicBezTo>
                    <a:pt x="271" y="217"/>
                    <a:pt x="271" y="217"/>
                    <a:pt x="271" y="217"/>
                  </a:cubicBezTo>
                  <a:cubicBezTo>
                    <a:pt x="275" y="220"/>
                    <a:pt x="275" y="220"/>
                    <a:pt x="275" y="220"/>
                  </a:cubicBezTo>
                  <a:cubicBezTo>
                    <a:pt x="271" y="223"/>
                    <a:pt x="271" y="223"/>
                    <a:pt x="271" y="223"/>
                  </a:cubicBezTo>
                  <a:cubicBezTo>
                    <a:pt x="271" y="245"/>
                    <a:pt x="271" y="245"/>
                    <a:pt x="271" y="245"/>
                  </a:cubicBezTo>
                  <a:cubicBezTo>
                    <a:pt x="275" y="241"/>
                    <a:pt x="275" y="241"/>
                    <a:pt x="275" y="241"/>
                  </a:cubicBezTo>
                  <a:cubicBezTo>
                    <a:pt x="275" y="241"/>
                    <a:pt x="275" y="241"/>
                    <a:pt x="275" y="241"/>
                  </a:cubicBezTo>
                  <a:cubicBezTo>
                    <a:pt x="275" y="241"/>
                    <a:pt x="275" y="241"/>
                    <a:pt x="275" y="241"/>
                  </a:cubicBezTo>
                  <a:cubicBezTo>
                    <a:pt x="276" y="241"/>
                    <a:pt x="276" y="241"/>
                    <a:pt x="276" y="241"/>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7" y="240"/>
                    <a:pt x="277" y="240"/>
                    <a:pt x="277" y="240"/>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9" y="238"/>
                    <a:pt x="279" y="238"/>
                    <a:pt x="279" y="238"/>
                  </a:cubicBezTo>
                  <a:cubicBezTo>
                    <a:pt x="279" y="238"/>
                    <a:pt x="279" y="238"/>
                    <a:pt x="279" y="238"/>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80" y="237"/>
                    <a:pt x="280" y="237"/>
                    <a:pt x="280" y="237"/>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1" y="236"/>
                    <a:pt x="281" y="236"/>
                    <a:pt x="281" y="236"/>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2" y="235"/>
                    <a:pt x="282" y="235"/>
                    <a:pt x="282" y="235"/>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3" y="234"/>
                    <a:pt x="283" y="234"/>
                    <a:pt x="283" y="234"/>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4" y="233"/>
                    <a:pt x="284" y="233"/>
                    <a:pt x="284" y="233"/>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5" y="232"/>
                    <a:pt x="285" y="232"/>
                    <a:pt x="285" y="232"/>
                  </a:cubicBezTo>
                  <a:cubicBezTo>
                    <a:pt x="285" y="232"/>
                    <a:pt x="285" y="232"/>
                    <a:pt x="285" y="232"/>
                  </a:cubicBezTo>
                  <a:cubicBezTo>
                    <a:pt x="285" y="232"/>
                    <a:pt x="285" y="232"/>
                    <a:pt x="285" y="232"/>
                  </a:cubicBezTo>
                  <a:cubicBezTo>
                    <a:pt x="285" y="231"/>
                    <a:pt x="285" y="231"/>
                    <a:pt x="285" y="231"/>
                  </a:cubicBezTo>
                  <a:cubicBezTo>
                    <a:pt x="285" y="231"/>
                    <a:pt x="285" y="231"/>
                    <a:pt x="285" y="231"/>
                  </a:cubicBezTo>
                  <a:cubicBezTo>
                    <a:pt x="285" y="231"/>
                    <a:pt x="285" y="231"/>
                    <a:pt x="285" y="231"/>
                  </a:cubicBezTo>
                  <a:cubicBezTo>
                    <a:pt x="285" y="231"/>
                    <a:pt x="285" y="231"/>
                    <a:pt x="285" y="231"/>
                  </a:cubicBezTo>
                  <a:cubicBezTo>
                    <a:pt x="294" y="222"/>
                    <a:pt x="294" y="222"/>
                    <a:pt x="294" y="222"/>
                  </a:cubicBezTo>
                  <a:cubicBezTo>
                    <a:pt x="294" y="201"/>
                    <a:pt x="294" y="201"/>
                    <a:pt x="294" y="201"/>
                  </a:cubicBezTo>
                  <a:close/>
                  <a:moveTo>
                    <a:pt x="294" y="272"/>
                  </a:moveTo>
                  <a:cubicBezTo>
                    <a:pt x="294" y="293"/>
                    <a:pt x="294" y="293"/>
                    <a:pt x="294" y="293"/>
                  </a:cubicBezTo>
                  <a:cubicBezTo>
                    <a:pt x="288" y="299"/>
                    <a:pt x="288" y="299"/>
                    <a:pt x="288" y="299"/>
                  </a:cubicBezTo>
                  <a:cubicBezTo>
                    <a:pt x="294" y="305"/>
                    <a:pt x="294" y="305"/>
                    <a:pt x="294" y="305"/>
                  </a:cubicBezTo>
                  <a:cubicBezTo>
                    <a:pt x="294" y="330"/>
                    <a:pt x="294" y="330"/>
                    <a:pt x="294" y="330"/>
                  </a:cubicBezTo>
                  <a:cubicBezTo>
                    <a:pt x="276" y="311"/>
                    <a:pt x="276" y="311"/>
                    <a:pt x="276" y="311"/>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1" y="316"/>
                    <a:pt x="271" y="316"/>
                    <a:pt x="271" y="316"/>
                  </a:cubicBezTo>
                  <a:cubicBezTo>
                    <a:pt x="271" y="316"/>
                    <a:pt x="271" y="316"/>
                    <a:pt x="271" y="316"/>
                  </a:cubicBezTo>
                  <a:cubicBezTo>
                    <a:pt x="271" y="294"/>
                    <a:pt x="271" y="294"/>
                    <a:pt x="271" y="294"/>
                  </a:cubicBezTo>
                  <a:cubicBezTo>
                    <a:pt x="277" y="288"/>
                    <a:pt x="277" y="288"/>
                    <a:pt x="277" y="288"/>
                  </a:cubicBezTo>
                  <a:cubicBezTo>
                    <a:pt x="287" y="278"/>
                    <a:pt x="287" y="278"/>
                    <a:pt x="287" y="278"/>
                  </a:cubicBezTo>
                  <a:lnTo>
                    <a:pt x="294" y="272"/>
                  </a:lnTo>
                  <a:close/>
                  <a:moveTo>
                    <a:pt x="271" y="401"/>
                  </a:moveTo>
                  <a:cubicBezTo>
                    <a:pt x="244" y="374"/>
                    <a:pt x="244" y="374"/>
                    <a:pt x="244" y="374"/>
                  </a:cubicBezTo>
                  <a:cubicBezTo>
                    <a:pt x="244" y="346"/>
                    <a:pt x="244" y="346"/>
                    <a:pt x="244" y="346"/>
                  </a:cubicBezTo>
                  <a:cubicBezTo>
                    <a:pt x="267" y="369"/>
                    <a:pt x="267" y="369"/>
                    <a:pt x="267" y="369"/>
                  </a:cubicBezTo>
                  <a:cubicBezTo>
                    <a:pt x="271" y="365"/>
                    <a:pt x="271" y="365"/>
                    <a:pt x="271" y="365"/>
                  </a:cubicBezTo>
                  <a:cubicBezTo>
                    <a:pt x="271" y="401"/>
                    <a:pt x="271" y="401"/>
                    <a:pt x="271" y="401"/>
                  </a:cubicBezTo>
                  <a:close/>
                  <a:moveTo>
                    <a:pt x="244" y="116"/>
                  </a:moveTo>
                  <a:cubicBezTo>
                    <a:pt x="271" y="143"/>
                    <a:pt x="271" y="143"/>
                    <a:pt x="271" y="143"/>
                  </a:cubicBezTo>
                  <a:cubicBezTo>
                    <a:pt x="271" y="174"/>
                    <a:pt x="271" y="174"/>
                    <a:pt x="271" y="174"/>
                  </a:cubicBezTo>
                  <a:cubicBezTo>
                    <a:pt x="262" y="183"/>
                    <a:pt x="262" y="183"/>
                    <a:pt x="262" y="183"/>
                  </a:cubicBezTo>
                  <a:cubicBezTo>
                    <a:pt x="271" y="192"/>
                    <a:pt x="271" y="192"/>
                    <a:pt x="271" y="192"/>
                  </a:cubicBezTo>
                  <a:cubicBezTo>
                    <a:pt x="271" y="217"/>
                    <a:pt x="271" y="217"/>
                    <a:pt x="271" y="217"/>
                  </a:cubicBezTo>
                  <a:cubicBezTo>
                    <a:pt x="250" y="195"/>
                    <a:pt x="250" y="195"/>
                    <a:pt x="250" y="195"/>
                  </a:cubicBezTo>
                  <a:cubicBezTo>
                    <a:pt x="244" y="201"/>
                    <a:pt x="244" y="201"/>
                    <a:pt x="244" y="201"/>
                  </a:cubicBezTo>
                  <a:cubicBezTo>
                    <a:pt x="244" y="165"/>
                    <a:pt x="244" y="165"/>
                    <a:pt x="244" y="165"/>
                  </a:cubicBezTo>
                  <a:cubicBezTo>
                    <a:pt x="251" y="172"/>
                    <a:pt x="251" y="172"/>
                    <a:pt x="251" y="172"/>
                  </a:cubicBezTo>
                  <a:cubicBezTo>
                    <a:pt x="255" y="169"/>
                    <a:pt x="258" y="165"/>
                    <a:pt x="262" y="162"/>
                  </a:cubicBezTo>
                  <a:cubicBezTo>
                    <a:pt x="244" y="144"/>
                    <a:pt x="244" y="144"/>
                    <a:pt x="244" y="144"/>
                  </a:cubicBezTo>
                  <a:cubicBezTo>
                    <a:pt x="244" y="116"/>
                    <a:pt x="244" y="116"/>
                    <a:pt x="244" y="116"/>
                  </a:cubicBezTo>
                  <a:close/>
                  <a:moveTo>
                    <a:pt x="271" y="223"/>
                  </a:moveTo>
                  <a:cubicBezTo>
                    <a:pt x="264" y="230"/>
                    <a:pt x="264" y="230"/>
                    <a:pt x="264" y="230"/>
                  </a:cubicBezTo>
                  <a:cubicBezTo>
                    <a:pt x="244" y="210"/>
                    <a:pt x="244" y="210"/>
                    <a:pt x="244" y="210"/>
                  </a:cubicBezTo>
                  <a:cubicBezTo>
                    <a:pt x="244" y="235"/>
                    <a:pt x="244" y="235"/>
                    <a:pt x="244" y="235"/>
                  </a:cubicBezTo>
                  <a:cubicBezTo>
                    <a:pt x="252" y="243"/>
                    <a:pt x="252" y="243"/>
                    <a:pt x="252" y="243"/>
                  </a:cubicBezTo>
                  <a:cubicBezTo>
                    <a:pt x="252" y="243"/>
                    <a:pt x="252" y="243"/>
                    <a:pt x="252" y="243"/>
                  </a:cubicBezTo>
                  <a:cubicBezTo>
                    <a:pt x="252" y="243"/>
                    <a:pt x="252" y="243"/>
                    <a:pt x="252"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4"/>
                    <a:pt x="251" y="244"/>
                    <a:pt x="251" y="244"/>
                  </a:cubicBezTo>
                  <a:cubicBezTo>
                    <a:pt x="251" y="244"/>
                    <a:pt x="251" y="244"/>
                    <a:pt x="251"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5"/>
                    <a:pt x="250" y="245"/>
                    <a:pt x="250" y="245"/>
                  </a:cubicBezTo>
                  <a:cubicBezTo>
                    <a:pt x="250" y="245"/>
                    <a:pt x="250" y="245"/>
                    <a:pt x="250"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6"/>
                    <a:pt x="249" y="246"/>
                    <a:pt x="249" y="246"/>
                  </a:cubicBezTo>
                  <a:cubicBezTo>
                    <a:pt x="249" y="246"/>
                    <a:pt x="249" y="246"/>
                    <a:pt x="249"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7"/>
                    <a:pt x="248" y="247"/>
                    <a:pt x="248" y="247"/>
                  </a:cubicBezTo>
                  <a:cubicBezTo>
                    <a:pt x="248" y="247"/>
                    <a:pt x="248" y="247"/>
                    <a:pt x="248" y="247"/>
                  </a:cubicBezTo>
                  <a:cubicBezTo>
                    <a:pt x="248" y="247"/>
                    <a:pt x="248" y="247"/>
                    <a:pt x="248" y="247"/>
                  </a:cubicBezTo>
                  <a:cubicBezTo>
                    <a:pt x="248" y="247"/>
                    <a:pt x="248" y="247"/>
                    <a:pt x="248" y="247"/>
                  </a:cubicBezTo>
                  <a:cubicBezTo>
                    <a:pt x="247" y="247"/>
                    <a:pt x="247" y="247"/>
                    <a:pt x="247" y="247"/>
                  </a:cubicBezTo>
                  <a:cubicBezTo>
                    <a:pt x="247" y="247"/>
                    <a:pt x="247" y="247"/>
                    <a:pt x="247" y="247"/>
                  </a:cubicBezTo>
                  <a:cubicBezTo>
                    <a:pt x="247" y="247"/>
                    <a:pt x="247" y="247"/>
                    <a:pt x="247" y="247"/>
                  </a:cubicBezTo>
                  <a:cubicBezTo>
                    <a:pt x="247" y="247"/>
                    <a:pt x="247" y="247"/>
                    <a:pt x="247" y="247"/>
                  </a:cubicBezTo>
                  <a:cubicBezTo>
                    <a:pt x="247" y="248"/>
                    <a:pt x="247" y="248"/>
                    <a:pt x="247" y="248"/>
                  </a:cubicBezTo>
                  <a:cubicBezTo>
                    <a:pt x="247" y="248"/>
                    <a:pt x="247" y="248"/>
                    <a:pt x="247" y="248"/>
                  </a:cubicBezTo>
                  <a:cubicBezTo>
                    <a:pt x="247" y="248"/>
                    <a:pt x="247" y="248"/>
                    <a:pt x="247" y="248"/>
                  </a:cubicBezTo>
                  <a:cubicBezTo>
                    <a:pt x="246" y="248"/>
                    <a:pt x="246" y="248"/>
                    <a:pt x="246" y="248"/>
                  </a:cubicBezTo>
                  <a:cubicBezTo>
                    <a:pt x="246" y="248"/>
                    <a:pt x="246" y="248"/>
                    <a:pt x="246" y="248"/>
                  </a:cubicBezTo>
                  <a:cubicBezTo>
                    <a:pt x="246" y="248"/>
                    <a:pt x="246" y="248"/>
                    <a:pt x="246" y="248"/>
                  </a:cubicBezTo>
                  <a:cubicBezTo>
                    <a:pt x="246" y="248"/>
                    <a:pt x="246" y="248"/>
                    <a:pt x="246" y="248"/>
                  </a:cubicBezTo>
                  <a:cubicBezTo>
                    <a:pt x="246" y="249"/>
                    <a:pt x="246" y="249"/>
                    <a:pt x="246" y="249"/>
                  </a:cubicBezTo>
                  <a:cubicBezTo>
                    <a:pt x="246" y="249"/>
                    <a:pt x="246" y="249"/>
                    <a:pt x="246" y="249"/>
                  </a:cubicBezTo>
                  <a:cubicBezTo>
                    <a:pt x="246" y="249"/>
                    <a:pt x="246" y="249"/>
                    <a:pt x="246"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50"/>
                    <a:pt x="245" y="250"/>
                    <a:pt x="245" y="250"/>
                  </a:cubicBezTo>
                  <a:cubicBezTo>
                    <a:pt x="245" y="250"/>
                    <a:pt x="245" y="250"/>
                    <a:pt x="245" y="250"/>
                  </a:cubicBezTo>
                  <a:cubicBezTo>
                    <a:pt x="245" y="250"/>
                    <a:pt x="245" y="250"/>
                    <a:pt x="245" y="250"/>
                  </a:cubicBezTo>
                  <a:cubicBezTo>
                    <a:pt x="244" y="250"/>
                    <a:pt x="244" y="250"/>
                    <a:pt x="244" y="250"/>
                  </a:cubicBezTo>
                  <a:cubicBezTo>
                    <a:pt x="244" y="250"/>
                    <a:pt x="244" y="250"/>
                    <a:pt x="244" y="250"/>
                  </a:cubicBezTo>
                  <a:cubicBezTo>
                    <a:pt x="244" y="272"/>
                    <a:pt x="244" y="272"/>
                    <a:pt x="244" y="272"/>
                  </a:cubicBezTo>
                  <a:cubicBezTo>
                    <a:pt x="252" y="263"/>
                    <a:pt x="252" y="263"/>
                    <a:pt x="252" y="263"/>
                  </a:cubicBezTo>
                  <a:cubicBezTo>
                    <a:pt x="263" y="253"/>
                    <a:pt x="263" y="253"/>
                    <a:pt x="263" y="253"/>
                  </a:cubicBezTo>
                  <a:cubicBezTo>
                    <a:pt x="271" y="245"/>
                    <a:pt x="271" y="245"/>
                    <a:pt x="271" y="245"/>
                  </a:cubicBezTo>
                  <a:cubicBezTo>
                    <a:pt x="271" y="223"/>
                    <a:pt x="271" y="223"/>
                    <a:pt x="271" y="223"/>
                  </a:cubicBezTo>
                  <a:close/>
                  <a:moveTo>
                    <a:pt x="271" y="294"/>
                  </a:move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0" y="316"/>
                    <a:pt x="270" y="316"/>
                    <a:pt x="270" y="316"/>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6" y="320"/>
                    <a:pt x="266" y="320"/>
                    <a:pt x="266" y="320"/>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5" y="322"/>
                    <a:pt x="265" y="322"/>
                    <a:pt x="265" y="322"/>
                  </a:cubicBezTo>
                  <a:cubicBezTo>
                    <a:pt x="265" y="322"/>
                    <a:pt x="265" y="322"/>
                    <a:pt x="265" y="322"/>
                  </a:cubicBezTo>
                  <a:cubicBezTo>
                    <a:pt x="265" y="322"/>
                    <a:pt x="265" y="322"/>
                    <a:pt x="265" y="322"/>
                  </a:cubicBezTo>
                  <a:cubicBezTo>
                    <a:pt x="244" y="343"/>
                    <a:pt x="244" y="343"/>
                    <a:pt x="244" y="343"/>
                  </a:cubicBezTo>
                  <a:cubicBezTo>
                    <a:pt x="244" y="301"/>
                    <a:pt x="244" y="301"/>
                    <a:pt x="244" y="301"/>
                  </a:cubicBezTo>
                  <a:cubicBezTo>
                    <a:pt x="254" y="311"/>
                    <a:pt x="254" y="311"/>
                    <a:pt x="254" y="311"/>
                  </a:cubicBezTo>
                  <a:cubicBezTo>
                    <a:pt x="255" y="311"/>
                    <a:pt x="255" y="311"/>
                    <a:pt x="255" y="311"/>
                  </a:cubicBezTo>
                  <a:cubicBezTo>
                    <a:pt x="255" y="311"/>
                    <a:pt x="255" y="311"/>
                    <a:pt x="255" y="311"/>
                  </a:cubicBezTo>
                  <a:cubicBezTo>
                    <a:pt x="255" y="310"/>
                    <a:pt x="255" y="310"/>
                    <a:pt x="255" y="310"/>
                  </a:cubicBezTo>
                  <a:cubicBezTo>
                    <a:pt x="255" y="310"/>
                    <a:pt x="255" y="310"/>
                    <a:pt x="255" y="310"/>
                  </a:cubicBezTo>
                  <a:cubicBezTo>
                    <a:pt x="255" y="310"/>
                    <a:pt x="255" y="310"/>
                    <a:pt x="255" y="310"/>
                  </a:cubicBezTo>
                  <a:cubicBezTo>
                    <a:pt x="255" y="310"/>
                    <a:pt x="255" y="310"/>
                    <a:pt x="255" y="310"/>
                  </a:cubicBezTo>
                  <a:cubicBezTo>
                    <a:pt x="256" y="310"/>
                    <a:pt x="256" y="310"/>
                    <a:pt x="256" y="310"/>
                  </a:cubicBezTo>
                  <a:cubicBezTo>
                    <a:pt x="256" y="310"/>
                    <a:pt x="256" y="310"/>
                    <a:pt x="256" y="310"/>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7" y="309"/>
                    <a:pt x="257" y="309"/>
                    <a:pt x="257" y="309"/>
                  </a:cubicBezTo>
                  <a:cubicBezTo>
                    <a:pt x="257" y="309"/>
                    <a:pt x="257" y="309"/>
                    <a:pt x="257" y="309"/>
                  </a:cubicBezTo>
                  <a:cubicBezTo>
                    <a:pt x="257" y="308"/>
                    <a:pt x="257" y="308"/>
                    <a:pt x="257" y="308"/>
                  </a:cubicBezTo>
                  <a:cubicBezTo>
                    <a:pt x="257" y="308"/>
                    <a:pt x="257" y="308"/>
                    <a:pt x="257" y="308"/>
                  </a:cubicBezTo>
                  <a:cubicBezTo>
                    <a:pt x="257" y="308"/>
                    <a:pt x="257" y="308"/>
                    <a:pt x="257" y="308"/>
                  </a:cubicBezTo>
                  <a:cubicBezTo>
                    <a:pt x="257" y="308"/>
                    <a:pt x="257" y="308"/>
                    <a:pt x="257" y="308"/>
                  </a:cubicBezTo>
                  <a:cubicBezTo>
                    <a:pt x="258" y="308"/>
                    <a:pt x="258" y="308"/>
                    <a:pt x="258" y="308"/>
                  </a:cubicBezTo>
                  <a:cubicBezTo>
                    <a:pt x="258" y="308"/>
                    <a:pt x="258" y="308"/>
                    <a:pt x="258" y="308"/>
                  </a:cubicBezTo>
                  <a:cubicBezTo>
                    <a:pt x="258" y="307"/>
                    <a:pt x="258" y="307"/>
                    <a:pt x="258" y="307"/>
                  </a:cubicBezTo>
                  <a:cubicBezTo>
                    <a:pt x="258" y="307"/>
                    <a:pt x="258" y="307"/>
                    <a:pt x="258" y="307"/>
                  </a:cubicBezTo>
                  <a:cubicBezTo>
                    <a:pt x="258" y="307"/>
                    <a:pt x="258" y="307"/>
                    <a:pt x="258" y="307"/>
                  </a:cubicBezTo>
                  <a:cubicBezTo>
                    <a:pt x="258" y="307"/>
                    <a:pt x="258" y="307"/>
                    <a:pt x="258" y="307"/>
                  </a:cubicBezTo>
                  <a:cubicBezTo>
                    <a:pt x="259" y="307"/>
                    <a:pt x="259" y="307"/>
                    <a:pt x="259" y="307"/>
                  </a:cubicBezTo>
                  <a:cubicBezTo>
                    <a:pt x="259" y="307"/>
                    <a:pt x="259" y="307"/>
                    <a:pt x="259" y="307"/>
                  </a:cubicBezTo>
                  <a:cubicBezTo>
                    <a:pt x="259" y="306"/>
                    <a:pt x="259" y="306"/>
                    <a:pt x="259" y="306"/>
                  </a:cubicBezTo>
                  <a:cubicBezTo>
                    <a:pt x="259" y="306"/>
                    <a:pt x="259" y="306"/>
                    <a:pt x="259" y="306"/>
                  </a:cubicBezTo>
                  <a:cubicBezTo>
                    <a:pt x="259" y="306"/>
                    <a:pt x="259" y="306"/>
                    <a:pt x="259" y="306"/>
                  </a:cubicBezTo>
                  <a:cubicBezTo>
                    <a:pt x="259" y="306"/>
                    <a:pt x="259" y="306"/>
                    <a:pt x="259" y="306"/>
                  </a:cubicBezTo>
                  <a:cubicBezTo>
                    <a:pt x="260" y="306"/>
                    <a:pt x="260" y="306"/>
                    <a:pt x="260" y="306"/>
                  </a:cubicBezTo>
                  <a:cubicBezTo>
                    <a:pt x="260" y="306"/>
                    <a:pt x="260" y="306"/>
                    <a:pt x="260" y="306"/>
                  </a:cubicBezTo>
                  <a:cubicBezTo>
                    <a:pt x="260" y="305"/>
                    <a:pt x="260" y="305"/>
                    <a:pt x="260" y="305"/>
                  </a:cubicBezTo>
                  <a:cubicBezTo>
                    <a:pt x="260" y="305"/>
                    <a:pt x="260" y="305"/>
                    <a:pt x="260" y="305"/>
                  </a:cubicBezTo>
                  <a:cubicBezTo>
                    <a:pt x="260" y="305"/>
                    <a:pt x="260" y="305"/>
                    <a:pt x="260" y="305"/>
                  </a:cubicBezTo>
                  <a:cubicBezTo>
                    <a:pt x="260" y="305"/>
                    <a:pt x="260" y="305"/>
                    <a:pt x="260" y="305"/>
                  </a:cubicBezTo>
                  <a:cubicBezTo>
                    <a:pt x="261" y="305"/>
                    <a:pt x="261" y="305"/>
                    <a:pt x="261" y="305"/>
                  </a:cubicBezTo>
                  <a:cubicBezTo>
                    <a:pt x="261" y="305"/>
                    <a:pt x="261" y="305"/>
                    <a:pt x="261" y="305"/>
                  </a:cubicBezTo>
                  <a:cubicBezTo>
                    <a:pt x="261" y="304"/>
                    <a:pt x="261" y="304"/>
                    <a:pt x="261" y="304"/>
                  </a:cubicBezTo>
                  <a:cubicBezTo>
                    <a:pt x="261" y="304"/>
                    <a:pt x="261" y="304"/>
                    <a:pt x="261" y="304"/>
                  </a:cubicBezTo>
                  <a:cubicBezTo>
                    <a:pt x="261" y="304"/>
                    <a:pt x="261" y="304"/>
                    <a:pt x="261" y="304"/>
                  </a:cubicBezTo>
                  <a:cubicBezTo>
                    <a:pt x="261" y="304"/>
                    <a:pt x="261" y="304"/>
                    <a:pt x="261" y="304"/>
                  </a:cubicBezTo>
                  <a:cubicBezTo>
                    <a:pt x="262" y="304"/>
                    <a:pt x="262" y="304"/>
                    <a:pt x="262" y="304"/>
                  </a:cubicBezTo>
                  <a:cubicBezTo>
                    <a:pt x="262" y="304"/>
                    <a:pt x="262" y="304"/>
                    <a:pt x="262" y="304"/>
                  </a:cubicBezTo>
                  <a:cubicBezTo>
                    <a:pt x="262" y="304"/>
                    <a:pt x="262" y="304"/>
                    <a:pt x="262" y="304"/>
                  </a:cubicBezTo>
                  <a:cubicBezTo>
                    <a:pt x="262" y="303"/>
                    <a:pt x="262" y="303"/>
                    <a:pt x="262" y="303"/>
                  </a:cubicBezTo>
                  <a:cubicBezTo>
                    <a:pt x="262" y="303"/>
                    <a:pt x="262" y="303"/>
                    <a:pt x="262" y="303"/>
                  </a:cubicBezTo>
                  <a:cubicBezTo>
                    <a:pt x="262" y="303"/>
                    <a:pt x="262" y="303"/>
                    <a:pt x="262" y="303"/>
                  </a:cubicBezTo>
                  <a:cubicBezTo>
                    <a:pt x="263" y="303"/>
                    <a:pt x="263" y="303"/>
                    <a:pt x="263" y="303"/>
                  </a:cubicBezTo>
                  <a:cubicBezTo>
                    <a:pt x="263" y="303"/>
                    <a:pt x="263" y="303"/>
                    <a:pt x="263" y="303"/>
                  </a:cubicBezTo>
                  <a:cubicBezTo>
                    <a:pt x="263" y="303"/>
                    <a:pt x="263" y="303"/>
                    <a:pt x="263" y="303"/>
                  </a:cubicBezTo>
                  <a:cubicBezTo>
                    <a:pt x="263" y="302"/>
                    <a:pt x="263" y="302"/>
                    <a:pt x="263" y="302"/>
                  </a:cubicBezTo>
                  <a:cubicBezTo>
                    <a:pt x="263" y="302"/>
                    <a:pt x="263" y="302"/>
                    <a:pt x="263" y="302"/>
                  </a:cubicBezTo>
                  <a:cubicBezTo>
                    <a:pt x="263" y="302"/>
                    <a:pt x="263" y="302"/>
                    <a:pt x="263" y="302"/>
                  </a:cubicBezTo>
                  <a:cubicBezTo>
                    <a:pt x="263" y="302"/>
                    <a:pt x="263" y="302"/>
                    <a:pt x="263" y="302"/>
                  </a:cubicBezTo>
                  <a:cubicBezTo>
                    <a:pt x="264" y="302"/>
                    <a:pt x="264" y="302"/>
                    <a:pt x="264" y="302"/>
                  </a:cubicBezTo>
                  <a:cubicBezTo>
                    <a:pt x="264" y="302"/>
                    <a:pt x="264" y="302"/>
                    <a:pt x="264" y="302"/>
                  </a:cubicBezTo>
                  <a:cubicBezTo>
                    <a:pt x="264" y="301"/>
                    <a:pt x="264" y="301"/>
                    <a:pt x="264" y="301"/>
                  </a:cubicBezTo>
                  <a:cubicBezTo>
                    <a:pt x="264" y="301"/>
                    <a:pt x="264" y="301"/>
                    <a:pt x="264" y="301"/>
                  </a:cubicBezTo>
                  <a:cubicBezTo>
                    <a:pt x="264" y="301"/>
                    <a:pt x="264" y="301"/>
                    <a:pt x="264" y="301"/>
                  </a:cubicBezTo>
                  <a:cubicBezTo>
                    <a:pt x="264" y="301"/>
                    <a:pt x="264" y="301"/>
                    <a:pt x="264" y="301"/>
                  </a:cubicBezTo>
                  <a:cubicBezTo>
                    <a:pt x="265" y="301"/>
                    <a:pt x="265" y="301"/>
                    <a:pt x="265" y="301"/>
                  </a:cubicBezTo>
                  <a:cubicBezTo>
                    <a:pt x="265" y="301"/>
                    <a:pt x="265" y="301"/>
                    <a:pt x="265" y="301"/>
                  </a:cubicBezTo>
                  <a:lnTo>
                    <a:pt x="271" y="294"/>
                  </a:lnTo>
                  <a:close/>
                  <a:moveTo>
                    <a:pt x="244" y="374"/>
                  </a:moveTo>
                  <a:cubicBezTo>
                    <a:pt x="233" y="362"/>
                    <a:pt x="233" y="362"/>
                    <a:pt x="233" y="362"/>
                  </a:cubicBezTo>
                  <a:cubicBezTo>
                    <a:pt x="233" y="332"/>
                    <a:pt x="233" y="332"/>
                    <a:pt x="233" y="332"/>
                  </a:cubicBezTo>
                  <a:cubicBezTo>
                    <a:pt x="242" y="323"/>
                    <a:pt x="242" y="323"/>
                    <a:pt x="242" y="323"/>
                  </a:cubicBezTo>
                  <a:cubicBezTo>
                    <a:pt x="233" y="314"/>
                    <a:pt x="233" y="314"/>
                    <a:pt x="233" y="314"/>
                  </a:cubicBezTo>
                  <a:cubicBezTo>
                    <a:pt x="233" y="289"/>
                    <a:pt x="233" y="289"/>
                    <a:pt x="233" y="289"/>
                  </a:cubicBezTo>
                  <a:cubicBezTo>
                    <a:pt x="244" y="301"/>
                    <a:pt x="244" y="301"/>
                    <a:pt x="244" y="301"/>
                  </a:cubicBezTo>
                  <a:cubicBezTo>
                    <a:pt x="244" y="343"/>
                    <a:pt x="244" y="343"/>
                    <a:pt x="244" y="343"/>
                  </a:cubicBezTo>
                  <a:cubicBezTo>
                    <a:pt x="243" y="344"/>
                    <a:pt x="243" y="344"/>
                    <a:pt x="243" y="344"/>
                  </a:cubicBezTo>
                  <a:cubicBezTo>
                    <a:pt x="244" y="346"/>
                    <a:pt x="244" y="346"/>
                    <a:pt x="244" y="346"/>
                  </a:cubicBezTo>
                  <a:cubicBezTo>
                    <a:pt x="244" y="374"/>
                    <a:pt x="244" y="374"/>
                    <a:pt x="244" y="374"/>
                  </a:cubicBezTo>
                  <a:close/>
                  <a:moveTo>
                    <a:pt x="233" y="105"/>
                  </a:moveTo>
                  <a:cubicBezTo>
                    <a:pt x="244" y="116"/>
                    <a:pt x="244" y="116"/>
                    <a:pt x="244" y="116"/>
                  </a:cubicBezTo>
                  <a:cubicBezTo>
                    <a:pt x="244" y="144"/>
                    <a:pt x="244" y="144"/>
                    <a:pt x="244" y="144"/>
                  </a:cubicBezTo>
                  <a:cubicBezTo>
                    <a:pt x="237" y="137"/>
                    <a:pt x="237" y="137"/>
                    <a:pt x="237" y="137"/>
                  </a:cubicBezTo>
                  <a:cubicBezTo>
                    <a:pt x="233" y="141"/>
                    <a:pt x="233" y="141"/>
                    <a:pt x="233" y="141"/>
                  </a:cubicBezTo>
                  <a:cubicBezTo>
                    <a:pt x="233" y="105"/>
                    <a:pt x="233" y="105"/>
                    <a:pt x="233" y="105"/>
                  </a:cubicBezTo>
                  <a:close/>
                  <a:moveTo>
                    <a:pt x="244" y="165"/>
                  </a:moveTo>
                  <a:cubicBezTo>
                    <a:pt x="244" y="201"/>
                    <a:pt x="244" y="201"/>
                    <a:pt x="244" y="201"/>
                  </a:cubicBezTo>
                  <a:cubicBezTo>
                    <a:pt x="240" y="205"/>
                    <a:pt x="240" y="205"/>
                    <a:pt x="240" y="205"/>
                  </a:cubicBezTo>
                  <a:cubicBezTo>
                    <a:pt x="244" y="210"/>
                    <a:pt x="244" y="210"/>
                    <a:pt x="244" y="210"/>
                  </a:cubicBezTo>
                  <a:cubicBezTo>
                    <a:pt x="244" y="235"/>
                    <a:pt x="244" y="235"/>
                    <a:pt x="244" y="235"/>
                  </a:cubicBezTo>
                  <a:cubicBezTo>
                    <a:pt x="233" y="223"/>
                    <a:pt x="233" y="223"/>
                    <a:pt x="233" y="223"/>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4" y="190"/>
                    <a:pt x="234" y="190"/>
                    <a:pt x="234" y="190"/>
                  </a:cubicBezTo>
                  <a:cubicBezTo>
                    <a:pt x="234" y="190"/>
                    <a:pt x="234" y="190"/>
                    <a:pt x="234" y="190"/>
                  </a:cubicBezTo>
                  <a:cubicBezTo>
                    <a:pt x="234" y="190"/>
                    <a:pt x="234" y="190"/>
                    <a:pt x="234" y="190"/>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5" y="189"/>
                    <a:pt x="235" y="189"/>
                    <a:pt x="235" y="189"/>
                  </a:cubicBezTo>
                  <a:cubicBezTo>
                    <a:pt x="235" y="189"/>
                    <a:pt x="235" y="189"/>
                    <a:pt x="235" y="189"/>
                  </a:cubicBezTo>
                  <a:cubicBezTo>
                    <a:pt x="235" y="189"/>
                    <a:pt x="235" y="189"/>
                    <a:pt x="235" y="189"/>
                  </a:cubicBezTo>
                  <a:cubicBezTo>
                    <a:pt x="235" y="188"/>
                    <a:pt x="235" y="188"/>
                    <a:pt x="235" y="188"/>
                  </a:cubicBezTo>
                  <a:cubicBezTo>
                    <a:pt x="235" y="188"/>
                    <a:pt x="235" y="188"/>
                    <a:pt x="235" y="188"/>
                  </a:cubicBezTo>
                  <a:cubicBezTo>
                    <a:pt x="235" y="188"/>
                    <a:pt x="235" y="188"/>
                    <a:pt x="235" y="188"/>
                  </a:cubicBezTo>
                  <a:cubicBezTo>
                    <a:pt x="235" y="188"/>
                    <a:pt x="235" y="188"/>
                    <a:pt x="235" y="188"/>
                  </a:cubicBezTo>
                  <a:cubicBezTo>
                    <a:pt x="236" y="188"/>
                    <a:pt x="236" y="188"/>
                    <a:pt x="236" y="188"/>
                  </a:cubicBezTo>
                  <a:cubicBezTo>
                    <a:pt x="236" y="188"/>
                    <a:pt x="236" y="188"/>
                    <a:pt x="236" y="188"/>
                  </a:cubicBezTo>
                  <a:cubicBezTo>
                    <a:pt x="236" y="188"/>
                    <a:pt x="236" y="188"/>
                    <a:pt x="236" y="188"/>
                  </a:cubicBezTo>
                  <a:cubicBezTo>
                    <a:pt x="236" y="188"/>
                    <a:pt x="236" y="188"/>
                    <a:pt x="236" y="188"/>
                  </a:cubicBezTo>
                  <a:cubicBezTo>
                    <a:pt x="236" y="187"/>
                    <a:pt x="236" y="187"/>
                    <a:pt x="236" y="187"/>
                  </a:cubicBezTo>
                  <a:cubicBezTo>
                    <a:pt x="236" y="187"/>
                    <a:pt x="236" y="187"/>
                    <a:pt x="236" y="187"/>
                  </a:cubicBezTo>
                  <a:cubicBezTo>
                    <a:pt x="236" y="187"/>
                    <a:pt x="236" y="187"/>
                    <a:pt x="236" y="187"/>
                  </a:cubicBezTo>
                  <a:cubicBezTo>
                    <a:pt x="237" y="187"/>
                    <a:pt x="237" y="187"/>
                    <a:pt x="237" y="187"/>
                  </a:cubicBezTo>
                  <a:cubicBezTo>
                    <a:pt x="237" y="187"/>
                    <a:pt x="237" y="187"/>
                    <a:pt x="237" y="187"/>
                  </a:cubicBezTo>
                  <a:cubicBezTo>
                    <a:pt x="237" y="187"/>
                    <a:pt x="237" y="187"/>
                    <a:pt x="237" y="187"/>
                  </a:cubicBezTo>
                  <a:cubicBezTo>
                    <a:pt x="237" y="187"/>
                    <a:pt x="237" y="187"/>
                    <a:pt x="237" y="187"/>
                  </a:cubicBezTo>
                  <a:cubicBezTo>
                    <a:pt x="237" y="186"/>
                    <a:pt x="237" y="186"/>
                    <a:pt x="237" y="186"/>
                  </a:cubicBezTo>
                  <a:cubicBezTo>
                    <a:pt x="237" y="186"/>
                    <a:pt x="237" y="186"/>
                    <a:pt x="237" y="186"/>
                  </a:cubicBezTo>
                  <a:cubicBezTo>
                    <a:pt x="237" y="186"/>
                    <a:pt x="237" y="186"/>
                    <a:pt x="237" y="186"/>
                  </a:cubicBezTo>
                  <a:cubicBezTo>
                    <a:pt x="237" y="186"/>
                    <a:pt x="237" y="186"/>
                    <a:pt x="237" y="186"/>
                  </a:cubicBezTo>
                  <a:cubicBezTo>
                    <a:pt x="238" y="186"/>
                    <a:pt x="238" y="186"/>
                    <a:pt x="238" y="186"/>
                  </a:cubicBezTo>
                  <a:cubicBezTo>
                    <a:pt x="238" y="186"/>
                    <a:pt x="238" y="186"/>
                    <a:pt x="238" y="186"/>
                  </a:cubicBezTo>
                  <a:cubicBezTo>
                    <a:pt x="238" y="186"/>
                    <a:pt x="238" y="186"/>
                    <a:pt x="238" y="186"/>
                  </a:cubicBezTo>
                  <a:cubicBezTo>
                    <a:pt x="238" y="185"/>
                    <a:pt x="238" y="185"/>
                    <a:pt x="238" y="185"/>
                  </a:cubicBezTo>
                  <a:cubicBezTo>
                    <a:pt x="238" y="185"/>
                    <a:pt x="238" y="185"/>
                    <a:pt x="238" y="185"/>
                  </a:cubicBezTo>
                  <a:cubicBezTo>
                    <a:pt x="238" y="185"/>
                    <a:pt x="238" y="185"/>
                    <a:pt x="238" y="185"/>
                  </a:cubicBezTo>
                  <a:cubicBezTo>
                    <a:pt x="238" y="185"/>
                    <a:pt x="238" y="185"/>
                    <a:pt x="238" y="185"/>
                  </a:cubicBezTo>
                  <a:cubicBezTo>
                    <a:pt x="239" y="185"/>
                    <a:pt x="239" y="185"/>
                    <a:pt x="239" y="185"/>
                  </a:cubicBezTo>
                  <a:cubicBezTo>
                    <a:pt x="239" y="185"/>
                    <a:pt x="239" y="185"/>
                    <a:pt x="239" y="185"/>
                  </a:cubicBezTo>
                  <a:cubicBezTo>
                    <a:pt x="239" y="185"/>
                    <a:pt x="239" y="185"/>
                    <a:pt x="239" y="185"/>
                  </a:cubicBezTo>
                  <a:cubicBezTo>
                    <a:pt x="239" y="184"/>
                    <a:pt x="239" y="184"/>
                    <a:pt x="239" y="184"/>
                  </a:cubicBezTo>
                  <a:cubicBezTo>
                    <a:pt x="239" y="184"/>
                    <a:pt x="239" y="184"/>
                    <a:pt x="239" y="184"/>
                  </a:cubicBezTo>
                  <a:cubicBezTo>
                    <a:pt x="233" y="178"/>
                    <a:pt x="233" y="178"/>
                    <a:pt x="233" y="178"/>
                  </a:cubicBezTo>
                  <a:cubicBezTo>
                    <a:pt x="233" y="153"/>
                    <a:pt x="233" y="153"/>
                    <a:pt x="233" y="153"/>
                  </a:cubicBezTo>
                  <a:cubicBezTo>
                    <a:pt x="244" y="165"/>
                    <a:pt x="244" y="165"/>
                    <a:pt x="244" y="165"/>
                  </a:cubicBezTo>
                  <a:close/>
                  <a:moveTo>
                    <a:pt x="244" y="250"/>
                  </a:moveTo>
                  <a:cubicBezTo>
                    <a:pt x="244" y="272"/>
                    <a:pt x="244" y="272"/>
                    <a:pt x="244" y="272"/>
                  </a:cubicBezTo>
                  <a:cubicBezTo>
                    <a:pt x="240" y="276"/>
                    <a:pt x="240" y="276"/>
                    <a:pt x="240" y="276"/>
                  </a:cubicBezTo>
                  <a:cubicBezTo>
                    <a:pt x="240" y="276"/>
                    <a:pt x="240" y="276"/>
                    <a:pt x="240" y="276"/>
                  </a:cubicBezTo>
                  <a:cubicBezTo>
                    <a:pt x="240" y="276"/>
                    <a:pt x="240" y="276"/>
                    <a:pt x="240" y="276"/>
                  </a:cubicBezTo>
                  <a:cubicBezTo>
                    <a:pt x="240" y="276"/>
                    <a:pt x="240" y="276"/>
                    <a:pt x="240" y="276"/>
                  </a:cubicBezTo>
                  <a:cubicBezTo>
                    <a:pt x="239" y="276"/>
                    <a:pt x="239" y="276"/>
                    <a:pt x="239" y="276"/>
                  </a:cubicBezTo>
                  <a:cubicBezTo>
                    <a:pt x="239" y="276"/>
                    <a:pt x="239" y="276"/>
                    <a:pt x="239" y="276"/>
                  </a:cubicBezTo>
                  <a:cubicBezTo>
                    <a:pt x="239" y="277"/>
                    <a:pt x="239" y="277"/>
                    <a:pt x="239" y="277"/>
                  </a:cubicBezTo>
                  <a:cubicBezTo>
                    <a:pt x="239" y="277"/>
                    <a:pt x="239" y="277"/>
                    <a:pt x="239" y="277"/>
                  </a:cubicBezTo>
                  <a:cubicBezTo>
                    <a:pt x="239" y="277"/>
                    <a:pt x="239" y="277"/>
                    <a:pt x="239" y="277"/>
                  </a:cubicBezTo>
                  <a:cubicBezTo>
                    <a:pt x="239" y="277"/>
                    <a:pt x="239" y="277"/>
                    <a:pt x="239" y="277"/>
                  </a:cubicBezTo>
                  <a:cubicBezTo>
                    <a:pt x="238" y="277"/>
                    <a:pt x="238" y="277"/>
                    <a:pt x="238" y="277"/>
                  </a:cubicBezTo>
                  <a:cubicBezTo>
                    <a:pt x="238" y="277"/>
                    <a:pt x="238" y="277"/>
                    <a:pt x="238" y="277"/>
                  </a:cubicBezTo>
                  <a:cubicBezTo>
                    <a:pt x="238" y="278"/>
                    <a:pt x="238" y="278"/>
                    <a:pt x="238" y="278"/>
                  </a:cubicBezTo>
                  <a:cubicBezTo>
                    <a:pt x="238" y="278"/>
                    <a:pt x="238" y="278"/>
                    <a:pt x="238" y="278"/>
                  </a:cubicBezTo>
                  <a:cubicBezTo>
                    <a:pt x="238" y="278"/>
                    <a:pt x="238" y="278"/>
                    <a:pt x="238" y="278"/>
                  </a:cubicBezTo>
                  <a:cubicBezTo>
                    <a:pt x="238" y="278"/>
                    <a:pt x="238" y="278"/>
                    <a:pt x="238" y="278"/>
                  </a:cubicBezTo>
                  <a:cubicBezTo>
                    <a:pt x="237" y="278"/>
                    <a:pt x="237" y="278"/>
                    <a:pt x="237" y="278"/>
                  </a:cubicBezTo>
                  <a:cubicBezTo>
                    <a:pt x="237" y="278"/>
                    <a:pt x="237" y="278"/>
                    <a:pt x="237" y="278"/>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6" y="279"/>
                    <a:pt x="236" y="279"/>
                    <a:pt x="236" y="279"/>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5" y="280"/>
                    <a:pt x="235" y="280"/>
                    <a:pt x="235" y="280"/>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4" y="281"/>
                    <a:pt x="234" y="281"/>
                    <a:pt x="234" y="281"/>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3" y="282"/>
                    <a:pt x="233" y="282"/>
                    <a:pt x="233" y="282"/>
                  </a:cubicBezTo>
                  <a:cubicBezTo>
                    <a:pt x="233" y="282"/>
                    <a:pt x="233" y="282"/>
                    <a:pt x="233" y="282"/>
                  </a:cubicBezTo>
                  <a:cubicBezTo>
                    <a:pt x="233" y="283"/>
                    <a:pt x="233" y="283"/>
                    <a:pt x="233" y="283"/>
                  </a:cubicBezTo>
                  <a:cubicBezTo>
                    <a:pt x="233" y="283"/>
                    <a:pt x="233" y="283"/>
                    <a:pt x="233" y="283"/>
                  </a:cubicBezTo>
                  <a:cubicBezTo>
                    <a:pt x="233" y="261"/>
                    <a:pt x="233" y="261"/>
                    <a:pt x="233" y="261"/>
                  </a:cubicBezTo>
                  <a:cubicBezTo>
                    <a:pt x="242" y="253"/>
                    <a:pt x="242" y="253"/>
                    <a:pt x="242" y="253"/>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3" y="252"/>
                    <a:pt x="243" y="252"/>
                    <a:pt x="243" y="252"/>
                  </a:cubicBezTo>
                  <a:cubicBezTo>
                    <a:pt x="243" y="252"/>
                    <a:pt x="243" y="252"/>
                    <a:pt x="243" y="252"/>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4" y="251"/>
                    <a:pt x="244" y="251"/>
                    <a:pt x="244" y="251"/>
                  </a:cubicBezTo>
                  <a:cubicBezTo>
                    <a:pt x="244" y="251"/>
                    <a:pt x="244" y="251"/>
                    <a:pt x="244" y="251"/>
                  </a:cubicBezTo>
                  <a:cubicBezTo>
                    <a:pt x="244" y="250"/>
                    <a:pt x="244" y="250"/>
                    <a:pt x="244" y="250"/>
                  </a:cubicBezTo>
                  <a:cubicBezTo>
                    <a:pt x="244" y="250"/>
                    <a:pt x="244" y="250"/>
                    <a:pt x="244" y="250"/>
                  </a:cubicBezTo>
                  <a:cubicBezTo>
                    <a:pt x="244" y="250"/>
                    <a:pt x="244" y="250"/>
                    <a:pt x="244" y="250"/>
                  </a:cubicBezTo>
                  <a:cubicBezTo>
                    <a:pt x="244" y="250"/>
                    <a:pt x="244" y="250"/>
                    <a:pt x="244" y="250"/>
                  </a:cubicBezTo>
                  <a:close/>
                  <a:moveTo>
                    <a:pt x="233" y="362"/>
                  </a:moveTo>
                  <a:cubicBezTo>
                    <a:pt x="209" y="338"/>
                    <a:pt x="209" y="338"/>
                    <a:pt x="209" y="338"/>
                  </a:cubicBezTo>
                  <a:cubicBezTo>
                    <a:pt x="209" y="310"/>
                    <a:pt x="209" y="310"/>
                    <a:pt x="209" y="310"/>
                  </a:cubicBezTo>
                  <a:cubicBezTo>
                    <a:pt x="232" y="333"/>
                    <a:pt x="232" y="333"/>
                    <a:pt x="232" y="333"/>
                  </a:cubicBezTo>
                  <a:cubicBezTo>
                    <a:pt x="233" y="332"/>
                    <a:pt x="233" y="332"/>
                    <a:pt x="233" y="332"/>
                  </a:cubicBezTo>
                  <a:cubicBezTo>
                    <a:pt x="233" y="362"/>
                    <a:pt x="233" y="362"/>
                    <a:pt x="233" y="362"/>
                  </a:cubicBezTo>
                  <a:close/>
                  <a:moveTo>
                    <a:pt x="209" y="80"/>
                  </a:moveTo>
                  <a:cubicBezTo>
                    <a:pt x="233" y="105"/>
                    <a:pt x="233" y="105"/>
                    <a:pt x="233" y="105"/>
                  </a:cubicBezTo>
                  <a:cubicBezTo>
                    <a:pt x="233" y="141"/>
                    <a:pt x="233" y="141"/>
                    <a:pt x="233" y="141"/>
                  </a:cubicBezTo>
                  <a:cubicBezTo>
                    <a:pt x="227" y="147"/>
                    <a:pt x="227" y="147"/>
                    <a:pt x="227" y="147"/>
                  </a:cubicBezTo>
                  <a:cubicBezTo>
                    <a:pt x="233" y="153"/>
                    <a:pt x="233" y="153"/>
                    <a:pt x="233" y="153"/>
                  </a:cubicBezTo>
                  <a:cubicBezTo>
                    <a:pt x="233" y="178"/>
                    <a:pt x="233" y="178"/>
                    <a:pt x="233" y="178"/>
                  </a:cubicBezTo>
                  <a:cubicBezTo>
                    <a:pt x="214" y="159"/>
                    <a:pt x="214" y="159"/>
                    <a:pt x="214" y="159"/>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3" y="160"/>
                    <a:pt x="213" y="160"/>
                    <a:pt x="213" y="160"/>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2" y="161"/>
                    <a:pt x="212" y="161"/>
                    <a:pt x="212" y="161"/>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1" y="162"/>
                    <a:pt x="211" y="162"/>
                    <a:pt x="211" y="162"/>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0" y="163"/>
                    <a:pt x="210" y="163"/>
                    <a:pt x="210" y="163"/>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09" y="164"/>
                    <a:pt x="209" y="164"/>
                    <a:pt x="209" y="164"/>
                  </a:cubicBezTo>
                  <a:cubicBezTo>
                    <a:pt x="209" y="164"/>
                    <a:pt x="209" y="164"/>
                    <a:pt x="209" y="164"/>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29"/>
                    <a:pt x="209" y="129"/>
                    <a:pt x="209" y="129"/>
                  </a:cubicBezTo>
                  <a:cubicBezTo>
                    <a:pt x="216" y="136"/>
                    <a:pt x="216" y="136"/>
                    <a:pt x="216" y="136"/>
                  </a:cubicBezTo>
                  <a:cubicBezTo>
                    <a:pt x="219" y="133"/>
                    <a:pt x="223" y="130"/>
                    <a:pt x="226" y="126"/>
                  </a:cubicBezTo>
                  <a:cubicBezTo>
                    <a:pt x="209" y="109"/>
                    <a:pt x="209" y="109"/>
                    <a:pt x="209" y="109"/>
                  </a:cubicBezTo>
                  <a:cubicBezTo>
                    <a:pt x="209" y="80"/>
                    <a:pt x="209" y="80"/>
                    <a:pt x="209" y="80"/>
                  </a:cubicBezTo>
                  <a:close/>
                  <a:moveTo>
                    <a:pt x="233" y="190"/>
                  </a:moveTo>
                  <a:cubicBezTo>
                    <a:pt x="233" y="223"/>
                    <a:pt x="233" y="223"/>
                    <a:pt x="233" y="223"/>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6" y="218"/>
                    <a:pt x="226" y="218"/>
                    <a:pt x="226" y="218"/>
                  </a:cubicBezTo>
                  <a:cubicBezTo>
                    <a:pt x="226" y="218"/>
                    <a:pt x="226" y="218"/>
                    <a:pt x="226" y="218"/>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9"/>
                    <a:pt x="225" y="219"/>
                    <a:pt x="225" y="219"/>
                  </a:cubicBezTo>
                  <a:cubicBezTo>
                    <a:pt x="225" y="219"/>
                    <a:pt x="225" y="219"/>
                    <a:pt x="225" y="219"/>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4" y="220"/>
                    <a:pt x="224" y="220"/>
                    <a:pt x="224" y="220"/>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3" y="221"/>
                    <a:pt x="223" y="221"/>
                    <a:pt x="223" y="221"/>
                  </a:cubicBezTo>
                  <a:cubicBezTo>
                    <a:pt x="223" y="221"/>
                    <a:pt x="223" y="221"/>
                    <a:pt x="223" y="221"/>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2" y="222"/>
                    <a:pt x="222" y="222"/>
                    <a:pt x="222" y="222"/>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1" y="223"/>
                    <a:pt x="221" y="223"/>
                    <a:pt x="221" y="223"/>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0" y="224"/>
                    <a:pt x="220" y="224"/>
                    <a:pt x="220" y="224"/>
                  </a:cubicBezTo>
                  <a:cubicBezTo>
                    <a:pt x="220" y="224"/>
                    <a:pt x="220" y="224"/>
                    <a:pt x="220" y="224"/>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19" y="225"/>
                    <a:pt x="219" y="225"/>
                    <a:pt x="219" y="225"/>
                  </a:cubicBezTo>
                  <a:cubicBezTo>
                    <a:pt x="219" y="225"/>
                    <a:pt x="219" y="225"/>
                    <a:pt x="219" y="225"/>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8" y="226"/>
                    <a:pt x="218" y="226"/>
                    <a:pt x="218" y="226"/>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7" y="227"/>
                    <a:pt x="217" y="227"/>
                    <a:pt x="217" y="227"/>
                  </a:cubicBezTo>
                  <a:cubicBezTo>
                    <a:pt x="217" y="227"/>
                    <a:pt x="217" y="227"/>
                    <a:pt x="217" y="227"/>
                  </a:cubicBezTo>
                  <a:cubicBezTo>
                    <a:pt x="217" y="228"/>
                    <a:pt x="217" y="228"/>
                    <a:pt x="217" y="228"/>
                  </a:cubicBezTo>
                  <a:cubicBezTo>
                    <a:pt x="217" y="228"/>
                    <a:pt x="217" y="228"/>
                    <a:pt x="217" y="228"/>
                  </a:cubicBezTo>
                  <a:cubicBezTo>
                    <a:pt x="209" y="236"/>
                    <a:pt x="209" y="236"/>
                    <a:pt x="209" y="236"/>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10" y="214"/>
                    <a:pt x="210" y="214"/>
                    <a:pt x="210" y="214"/>
                  </a:cubicBezTo>
                  <a:cubicBezTo>
                    <a:pt x="210" y="214"/>
                    <a:pt x="210" y="214"/>
                    <a:pt x="210" y="214"/>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1" y="213"/>
                    <a:pt x="211" y="213"/>
                    <a:pt x="211" y="213"/>
                  </a:cubicBezTo>
                  <a:cubicBezTo>
                    <a:pt x="211" y="213"/>
                    <a:pt x="211" y="213"/>
                    <a:pt x="211" y="213"/>
                  </a:cubicBezTo>
                  <a:cubicBezTo>
                    <a:pt x="211" y="213"/>
                    <a:pt x="211" y="213"/>
                    <a:pt x="211" y="213"/>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2" y="212"/>
                    <a:pt x="212" y="212"/>
                    <a:pt x="212" y="212"/>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3" y="211"/>
                    <a:pt x="213" y="211"/>
                    <a:pt x="213" y="211"/>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4" y="210"/>
                    <a:pt x="214" y="210"/>
                    <a:pt x="214" y="210"/>
                  </a:cubicBezTo>
                  <a:cubicBezTo>
                    <a:pt x="214" y="210"/>
                    <a:pt x="214" y="210"/>
                    <a:pt x="214" y="210"/>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5" y="209"/>
                    <a:pt x="215" y="209"/>
                    <a:pt x="215" y="209"/>
                  </a:cubicBezTo>
                  <a:cubicBezTo>
                    <a:pt x="215" y="209"/>
                    <a:pt x="215" y="209"/>
                    <a:pt x="215" y="209"/>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6" y="208"/>
                    <a:pt x="216" y="208"/>
                    <a:pt x="216" y="208"/>
                  </a:cubicBezTo>
                  <a:cubicBezTo>
                    <a:pt x="216" y="208"/>
                    <a:pt x="216" y="208"/>
                    <a:pt x="216" y="208"/>
                  </a:cubicBezTo>
                  <a:cubicBezTo>
                    <a:pt x="216" y="208"/>
                    <a:pt x="216" y="208"/>
                    <a:pt x="216" y="208"/>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29" y="194"/>
                    <a:pt x="229" y="194"/>
                    <a:pt x="229" y="194"/>
                  </a:cubicBezTo>
                  <a:cubicBezTo>
                    <a:pt x="229" y="194"/>
                    <a:pt x="229" y="194"/>
                    <a:pt x="229" y="194"/>
                  </a:cubicBezTo>
                  <a:cubicBezTo>
                    <a:pt x="229" y="194"/>
                    <a:pt x="229" y="194"/>
                    <a:pt x="229" y="194"/>
                  </a:cubicBezTo>
                  <a:cubicBezTo>
                    <a:pt x="229" y="194"/>
                    <a:pt x="229" y="194"/>
                    <a:pt x="229" y="194"/>
                  </a:cubicBezTo>
                  <a:cubicBezTo>
                    <a:pt x="230" y="194"/>
                    <a:pt x="230" y="194"/>
                    <a:pt x="230" y="194"/>
                  </a:cubicBezTo>
                  <a:cubicBezTo>
                    <a:pt x="230" y="194"/>
                    <a:pt x="230" y="194"/>
                    <a:pt x="230" y="194"/>
                  </a:cubicBezTo>
                  <a:cubicBezTo>
                    <a:pt x="230" y="194"/>
                    <a:pt x="230" y="194"/>
                    <a:pt x="230" y="194"/>
                  </a:cubicBezTo>
                  <a:cubicBezTo>
                    <a:pt x="230" y="194"/>
                    <a:pt x="230" y="194"/>
                    <a:pt x="230" y="194"/>
                  </a:cubicBezTo>
                  <a:cubicBezTo>
                    <a:pt x="230" y="193"/>
                    <a:pt x="230" y="193"/>
                    <a:pt x="230" y="193"/>
                  </a:cubicBezTo>
                  <a:cubicBezTo>
                    <a:pt x="230" y="193"/>
                    <a:pt x="230" y="193"/>
                    <a:pt x="230" y="193"/>
                  </a:cubicBezTo>
                  <a:cubicBezTo>
                    <a:pt x="230" y="193"/>
                    <a:pt x="230" y="193"/>
                    <a:pt x="230" y="193"/>
                  </a:cubicBezTo>
                  <a:cubicBezTo>
                    <a:pt x="230" y="193"/>
                    <a:pt x="230" y="193"/>
                    <a:pt x="230" y="193"/>
                  </a:cubicBezTo>
                  <a:cubicBezTo>
                    <a:pt x="231" y="193"/>
                    <a:pt x="231" y="193"/>
                    <a:pt x="231" y="193"/>
                  </a:cubicBezTo>
                  <a:cubicBezTo>
                    <a:pt x="231" y="193"/>
                    <a:pt x="231" y="193"/>
                    <a:pt x="231" y="193"/>
                  </a:cubicBezTo>
                  <a:cubicBezTo>
                    <a:pt x="231" y="193"/>
                    <a:pt x="231" y="193"/>
                    <a:pt x="231" y="193"/>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2" y="192"/>
                    <a:pt x="232" y="192"/>
                    <a:pt x="232" y="192"/>
                  </a:cubicBezTo>
                  <a:cubicBezTo>
                    <a:pt x="232" y="192"/>
                    <a:pt x="232" y="192"/>
                    <a:pt x="232" y="192"/>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3" y="191"/>
                    <a:pt x="233" y="191"/>
                    <a:pt x="233" y="191"/>
                  </a:cubicBezTo>
                  <a:cubicBezTo>
                    <a:pt x="233" y="191"/>
                    <a:pt x="233" y="191"/>
                    <a:pt x="233" y="191"/>
                  </a:cubicBezTo>
                  <a:cubicBezTo>
                    <a:pt x="233" y="191"/>
                    <a:pt x="233" y="191"/>
                    <a:pt x="233" y="191"/>
                  </a:cubicBezTo>
                  <a:cubicBezTo>
                    <a:pt x="233" y="190"/>
                    <a:pt x="233" y="190"/>
                    <a:pt x="233" y="190"/>
                  </a:cubicBezTo>
                  <a:close/>
                  <a:moveTo>
                    <a:pt x="233" y="261"/>
                  </a:move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6"/>
                    <a:pt x="229" y="266"/>
                    <a:pt x="229" y="266"/>
                  </a:cubicBezTo>
                  <a:cubicBezTo>
                    <a:pt x="229" y="266"/>
                    <a:pt x="229" y="266"/>
                    <a:pt x="229"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7"/>
                    <a:pt x="228" y="267"/>
                    <a:pt x="228" y="267"/>
                  </a:cubicBezTo>
                  <a:cubicBezTo>
                    <a:pt x="228" y="267"/>
                    <a:pt x="228" y="267"/>
                    <a:pt x="228"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8"/>
                    <a:pt x="227" y="268"/>
                    <a:pt x="227"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9"/>
                    <a:pt x="226" y="269"/>
                    <a:pt x="226"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70"/>
                    <a:pt x="225" y="270"/>
                    <a:pt x="225"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1"/>
                    <a:pt x="224" y="271"/>
                    <a:pt x="224"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2"/>
                    <a:pt x="223" y="272"/>
                    <a:pt x="223" y="272"/>
                  </a:cubicBezTo>
                  <a:cubicBezTo>
                    <a:pt x="223" y="272"/>
                    <a:pt x="223" y="272"/>
                    <a:pt x="223"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3"/>
                    <a:pt x="222" y="273"/>
                    <a:pt x="222" y="273"/>
                  </a:cubicBezTo>
                  <a:cubicBezTo>
                    <a:pt x="222" y="273"/>
                    <a:pt x="222" y="273"/>
                    <a:pt x="222"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4"/>
                    <a:pt x="221" y="274"/>
                    <a:pt x="221"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5"/>
                    <a:pt x="220" y="275"/>
                    <a:pt x="220" y="275"/>
                  </a:cubicBezTo>
                  <a:cubicBezTo>
                    <a:pt x="219" y="275"/>
                    <a:pt x="219" y="275"/>
                    <a:pt x="219" y="275"/>
                  </a:cubicBezTo>
                  <a:cubicBezTo>
                    <a:pt x="219" y="275"/>
                    <a:pt x="219" y="275"/>
                    <a:pt x="219" y="275"/>
                  </a:cubicBezTo>
                  <a:cubicBezTo>
                    <a:pt x="219" y="275"/>
                    <a:pt x="219" y="275"/>
                    <a:pt x="219" y="275"/>
                  </a:cubicBezTo>
                  <a:cubicBezTo>
                    <a:pt x="219" y="275"/>
                    <a:pt x="219" y="275"/>
                    <a:pt x="219" y="275"/>
                  </a:cubicBezTo>
                  <a:cubicBezTo>
                    <a:pt x="209" y="285"/>
                    <a:pt x="209" y="285"/>
                    <a:pt x="209" y="285"/>
                  </a:cubicBezTo>
                  <a:cubicBezTo>
                    <a:pt x="209" y="307"/>
                    <a:pt x="209" y="307"/>
                    <a:pt x="209" y="307"/>
                  </a:cubicBezTo>
                  <a:cubicBezTo>
                    <a:pt x="217" y="298"/>
                    <a:pt x="217" y="298"/>
                    <a:pt x="217" y="298"/>
                  </a:cubicBezTo>
                  <a:cubicBezTo>
                    <a:pt x="233" y="314"/>
                    <a:pt x="233" y="314"/>
                    <a:pt x="233" y="314"/>
                  </a:cubicBezTo>
                  <a:cubicBezTo>
                    <a:pt x="233" y="289"/>
                    <a:pt x="233" y="289"/>
                    <a:pt x="233" y="289"/>
                  </a:cubicBezTo>
                  <a:cubicBezTo>
                    <a:pt x="230" y="286"/>
                    <a:pt x="230" y="286"/>
                    <a:pt x="230" y="286"/>
                  </a:cubicBezTo>
                  <a:cubicBezTo>
                    <a:pt x="230" y="286"/>
                    <a:pt x="230" y="286"/>
                    <a:pt x="230" y="286"/>
                  </a:cubicBezTo>
                  <a:cubicBezTo>
                    <a:pt x="230" y="286"/>
                    <a:pt x="230" y="286"/>
                    <a:pt x="230" y="286"/>
                  </a:cubicBezTo>
                  <a:cubicBezTo>
                    <a:pt x="230" y="286"/>
                    <a:pt x="230" y="286"/>
                    <a:pt x="230" y="286"/>
                  </a:cubicBezTo>
                  <a:cubicBezTo>
                    <a:pt x="230" y="285"/>
                    <a:pt x="230" y="285"/>
                    <a:pt x="230"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4"/>
                    <a:pt x="231" y="284"/>
                    <a:pt x="231" y="284"/>
                  </a:cubicBezTo>
                  <a:cubicBezTo>
                    <a:pt x="231" y="284"/>
                    <a:pt x="231" y="284"/>
                    <a:pt x="231" y="284"/>
                  </a:cubicBezTo>
                  <a:cubicBezTo>
                    <a:pt x="232" y="284"/>
                    <a:pt x="232" y="284"/>
                    <a:pt x="232" y="284"/>
                  </a:cubicBezTo>
                  <a:cubicBezTo>
                    <a:pt x="232" y="284"/>
                    <a:pt x="232" y="284"/>
                    <a:pt x="232" y="284"/>
                  </a:cubicBezTo>
                  <a:cubicBezTo>
                    <a:pt x="232" y="284"/>
                    <a:pt x="232" y="284"/>
                    <a:pt x="232" y="284"/>
                  </a:cubicBezTo>
                  <a:cubicBezTo>
                    <a:pt x="232" y="284"/>
                    <a:pt x="232" y="284"/>
                    <a:pt x="232" y="284"/>
                  </a:cubicBezTo>
                  <a:cubicBezTo>
                    <a:pt x="232" y="283"/>
                    <a:pt x="232" y="283"/>
                    <a:pt x="232" y="283"/>
                  </a:cubicBezTo>
                  <a:cubicBezTo>
                    <a:pt x="232" y="283"/>
                    <a:pt x="232" y="283"/>
                    <a:pt x="232" y="283"/>
                  </a:cubicBezTo>
                  <a:cubicBezTo>
                    <a:pt x="233" y="283"/>
                    <a:pt x="233" y="283"/>
                    <a:pt x="233" y="283"/>
                  </a:cubicBezTo>
                  <a:cubicBezTo>
                    <a:pt x="233" y="283"/>
                    <a:pt x="233" y="283"/>
                    <a:pt x="233" y="283"/>
                  </a:cubicBezTo>
                  <a:cubicBezTo>
                    <a:pt x="233" y="283"/>
                    <a:pt x="233" y="283"/>
                    <a:pt x="233" y="283"/>
                  </a:cubicBezTo>
                  <a:cubicBezTo>
                    <a:pt x="233" y="283"/>
                    <a:pt x="233" y="283"/>
                    <a:pt x="233" y="283"/>
                  </a:cubicBezTo>
                  <a:lnTo>
                    <a:pt x="233" y="261"/>
                  </a:lnTo>
                  <a:close/>
                  <a:moveTo>
                    <a:pt x="209" y="338"/>
                  </a:moveTo>
                  <a:cubicBezTo>
                    <a:pt x="198" y="327"/>
                    <a:pt x="198" y="327"/>
                    <a:pt x="198" y="327"/>
                  </a:cubicBezTo>
                  <a:cubicBezTo>
                    <a:pt x="198" y="296"/>
                    <a:pt x="198" y="296"/>
                    <a:pt x="198" y="296"/>
                  </a:cubicBezTo>
                  <a:cubicBezTo>
                    <a:pt x="209" y="285"/>
                    <a:pt x="209" y="285"/>
                    <a:pt x="209" y="285"/>
                  </a:cubicBezTo>
                  <a:cubicBezTo>
                    <a:pt x="209" y="307"/>
                    <a:pt x="209" y="307"/>
                    <a:pt x="209" y="307"/>
                  </a:cubicBezTo>
                  <a:cubicBezTo>
                    <a:pt x="207" y="308"/>
                    <a:pt x="207" y="308"/>
                    <a:pt x="207" y="308"/>
                  </a:cubicBezTo>
                  <a:cubicBezTo>
                    <a:pt x="209" y="310"/>
                    <a:pt x="209" y="310"/>
                    <a:pt x="209" y="310"/>
                  </a:cubicBezTo>
                  <a:cubicBezTo>
                    <a:pt x="209" y="338"/>
                    <a:pt x="209" y="338"/>
                    <a:pt x="209" y="338"/>
                  </a:cubicBezTo>
                  <a:close/>
                  <a:moveTo>
                    <a:pt x="198" y="69"/>
                  </a:moveTo>
                  <a:cubicBezTo>
                    <a:pt x="209" y="80"/>
                    <a:pt x="209" y="80"/>
                    <a:pt x="209" y="80"/>
                  </a:cubicBezTo>
                  <a:cubicBezTo>
                    <a:pt x="209" y="109"/>
                    <a:pt x="209" y="109"/>
                    <a:pt x="209" y="109"/>
                  </a:cubicBezTo>
                  <a:cubicBezTo>
                    <a:pt x="202" y="101"/>
                    <a:pt x="202" y="101"/>
                    <a:pt x="202" y="101"/>
                  </a:cubicBezTo>
                  <a:cubicBezTo>
                    <a:pt x="198" y="105"/>
                    <a:pt x="198" y="105"/>
                    <a:pt x="198" y="105"/>
                  </a:cubicBezTo>
                  <a:cubicBezTo>
                    <a:pt x="198" y="69"/>
                    <a:pt x="198" y="69"/>
                    <a:pt x="198" y="69"/>
                  </a:cubicBezTo>
                  <a:close/>
                  <a:moveTo>
                    <a:pt x="209" y="129"/>
                  </a:moveTo>
                  <a:cubicBezTo>
                    <a:pt x="209" y="165"/>
                    <a:pt x="209" y="165"/>
                    <a:pt x="209" y="165"/>
                  </a:cubicBezTo>
                  <a:cubicBezTo>
                    <a:pt x="209" y="165"/>
                    <a:pt x="209" y="165"/>
                    <a:pt x="209" y="165"/>
                  </a:cubicBezTo>
                  <a:cubicBezTo>
                    <a:pt x="208" y="165"/>
                    <a:pt x="208" y="165"/>
                    <a:pt x="208" y="165"/>
                  </a:cubicBezTo>
                  <a:cubicBezTo>
                    <a:pt x="208" y="165"/>
                    <a:pt x="208" y="165"/>
                    <a:pt x="208" y="165"/>
                  </a:cubicBezTo>
                  <a:cubicBezTo>
                    <a:pt x="208" y="165"/>
                    <a:pt x="208" y="165"/>
                    <a:pt x="208" y="165"/>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7" y="166"/>
                    <a:pt x="207" y="166"/>
                    <a:pt x="207" y="166"/>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6" y="167"/>
                    <a:pt x="206" y="167"/>
                    <a:pt x="206" y="167"/>
                  </a:cubicBezTo>
                  <a:cubicBezTo>
                    <a:pt x="206" y="167"/>
                    <a:pt x="206" y="167"/>
                    <a:pt x="206" y="167"/>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5" y="168"/>
                    <a:pt x="205" y="168"/>
                    <a:pt x="205" y="168"/>
                  </a:cubicBezTo>
                  <a:cubicBezTo>
                    <a:pt x="205" y="168"/>
                    <a:pt x="205" y="168"/>
                    <a:pt x="205" y="168"/>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4" y="169"/>
                    <a:pt x="204" y="169"/>
                    <a:pt x="204" y="169"/>
                  </a:cubicBezTo>
                  <a:cubicBezTo>
                    <a:pt x="204" y="170"/>
                    <a:pt x="204" y="170"/>
                    <a:pt x="204" y="170"/>
                  </a:cubicBezTo>
                  <a:cubicBezTo>
                    <a:pt x="198" y="176"/>
                    <a:pt x="198" y="176"/>
                    <a:pt x="198" y="176"/>
                  </a:cubicBezTo>
                  <a:cubicBezTo>
                    <a:pt x="198" y="155"/>
                    <a:pt x="198" y="155"/>
                    <a:pt x="198" y="155"/>
                  </a:cubicBezTo>
                  <a:cubicBezTo>
                    <a:pt x="204" y="149"/>
                    <a:pt x="204" y="149"/>
                    <a:pt x="204" y="149"/>
                  </a:cubicBezTo>
                  <a:cubicBezTo>
                    <a:pt x="198" y="142"/>
                    <a:pt x="198" y="142"/>
                    <a:pt x="198" y="142"/>
                  </a:cubicBezTo>
                  <a:cubicBezTo>
                    <a:pt x="198" y="118"/>
                    <a:pt x="198" y="118"/>
                    <a:pt x="198" y="118"/>
                  </a:cubicBezTo>
                  <a:cubicBezTo>
                    <a:pt x="209" y="129"/>
                    <a:pt x="209" y="129"/>
                    <a:pt x="209" y="129"/>
                  </a:cubicBezTo>
                  <a:close/>
                  <a:moveTo>
                    <a:pt x="209" y="214"/>
                  </a:moveTo>
                  <a:cubicBezTo>
                    <a:pt x="209" y="236"/>
                    <a:pt x="209" y="236"/>
                    <a:pt x="209" y="236"/>
                  </a:cubicBezTo>
                  <a:cubicBezTo>
                    <a:pt x="205" y="240"/>
                    <a:pt x="205" y="240"/>
                    <a:pt x="205" y="240"/>
                  </a:cubicBezTo>
                  <a:cubicBezTo>
                    <a:pt x="205" y="240"/>
                    <a:pt x="205" y="240"/>
                    <a:pt x="205" y="240"/>
                  </a:cubicBezTo>
                  <a:cubicBezTo>
                    <a:pt x="205" y="240"/>
                    <a:pt x="205" y="240"/>
                    <a:pt x="205" y="240"/>
                  </a:cubicBezTo>
                  <a:cubicBezTo>
                    <a:pt x="204" y="240"/>
                    <a:pt x="204" y="240"/>
                    <a:pt x="204" y="240"/>
                  </a:cubicBezTo>
                  <a:cubicBezTo>
                    <a:pt x="204" y="240"/>
                    <a:pt x="204" y="240"/>
                    <a:pt x="204" y="240"/>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3" y="241"/>
                    <a:pt x="203" y="241"/>
                    <a:pt x="203" y="241"/>
                  </a:cubicBezTo>
                  <a:cubicBezTo>
                    <a:pt x="203" y="241"/>
                    <a:pt x="203" y="241"/>
                    <a:pt x="203" y="241"/>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2" y="242"/>
                    <a:pt x="202" y="242"/>
                    <a:pt x="202" y="242"/>
                  </a:cubicBezTo>
                  <a:cubicBezTo>
                    <a:pt x="202" y="242"/>
                    <a:pt x="202" y="242"/>
                    <a:pt x="202" y="242"/>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1" y="243"/>
                    <a:pt x="201" y="243"/>
                    <a:pt x="201" y="243"/>
                  </a:cubicBezTo>
                  <a:cubicBezTo>
                    <a:pt x="201" y="243"/>
                    <a:pt x="201" y="243"/>
                    <a:pt x="201" y="243"/>
                  </a:cubicBezTo>
                  <a:cubicBezTo>
                    <a:pt x="201" y="243"/>
                    <a:pt x="201" y="243"/>
                    <a:pt x="201" y="243"/>
                  </a:cubicBezTo>
                  <a:cubicBezTo>
                    <a:pt x="201" y="244"/>
                    <a:pt x="201" y="244"/>
                    <a:pt x="201" y="244"/>
                  </a:cubicBezTo>
                  <a:cubicBezTo>
                    <a:pt x="201" y="244"/>
                    <a:pt x="201" y="244"/>
                    <a:pt x="201" y="244"/>
                  </a:cubicBezTo>
                  <a:cubicBezTo>
                    <a:pt x="201" y="244"/>
                    <a:pt x="201" y="244"/>
                    <a:pt x="201" y="244"/>
                  </a:cubicBezTo>
                  <a:cubicBezTo>
                    <a:pt x="201" y="244"/>
                    <a:pt x="201" y="244"/>
                    <a:pt x="201" y="244"/>
                  </a:cubicBezTo>
                  <a:cubicBezTo>
                    <a:pt x="200" y="244"/>
                    <a:pt x="200" y="244"/>
                    <a:pt x="200" y="244"/>
                  </a:cubicBezTo>
                  <a:cubicBezTo>
                    <a:pt x="200" y="244"/>
                    <a:pt x="200" y="244"/>
                    <a:pt x="200" y="244"/>
                  </a:cubicBezTo>
                  <a:cubicBezTo>
                    <a:pt x="200" y="244"/>
                    <a:pt x="200" y="244"/>
                    <a:pt x="200" y="244"/>
                  </a:cubicBezTo>
                  <a:cubicBezTo>
                    <a:pt x="200" y="245"/>
                    <a:pt x="200" y="245"/>
                    <a:pt x="200" y="245"/>
                  </a:cubicBezTo>
                  <a:cubicBezTo>
                    <a:pt x="200" y="245"/>
                    <a:pt x="200" y="245"/>
                    <a:pt x="200" y="245"/>
                  </a:cubicBezTo>
                  <a:cubicBezTo>
                    <a:pt x="200" y="245"/>
                    <a:pt x="200" y="245"/>
                    <a:pt x="200" y="245"/>
                  </a:cubicBezTo>
                  <a:cubicBezTo>
                    <a:pt x="200" y="245"/>
                    <a:pt x="200" y="245"/>
                    <a:pt x="200" y="245"/>
                  </a:cubicBezTo>
                  <a:cubicBezTo>
                    <a:pt x="199" y="245"/>
                    <a:pt x="199" y="245"/>
                    <a:pt x="199" y="245"/>
                  </a:cubicBezTo>
                  <a:cubicBezTo>
                    <a:pt x="199" y="245"/>
                    <a:pt x="199" y="245"/>
                    <a:pt x="199" y="245"/>
                  </a:cubicBezTo>
                  <a:cubicBezTo>
                    <a:pt x="199" y="245"/>
                    <a:pt x="199" y="245"/>
                    <a:pt x="199" y="245"/>
                  </a:cubicBezTo>
                  <a:cubicBezTo>
                    <a:pt x="199" y="246"/>
                    <a:pt x="199" y="246"/>
                    <a:pt x="199" y="246"/>
                  </a:cubicBezTo>
                  <a:cubicBezTo>
                    <a:pt x="199" y="246"/>
                    <a:pt x="199" y="246"/>
                    <a:pt x="199" y="246"/>
                  </a:cubicBezTo>
                  <a:cubicBezTo>
                    <a:pt x="199" y="246"/>
                    <a:pt x="199" y="246"/>
                    <a:pt x="199" y="246"/>
                  </a:cubicBezTo>
                  <a:cubicBezTo>
                    <a:pt x="199" y="246"/>
                    <a:pt x="199" y="246"/>
                    <a:pt x="199" y="246"/>
                  </a:cubicBezTo>
                  <a:cubicBezTo>
                    <a:pt x="198" y="246"/>
                    <a:pt x="198" y="246"/>
                    <a:pt x="198" y="246"/>
                  </a:cubicBezTo>
                  <a:cubicBezTo>
                    <a:pt x="198" y="246"/>
                    <a:pt x="198" y="246"/>
                    <a:pt x="198" y="246"/>
                  </a:cubicBezTo>
                  <a:cubicBezTo>
                    <a:pt x="198" y="246"/>
                    <a:pt x="198" y="246"/>
                    <a:pt x="198" y="246"/>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26"/>
                    <a:pt x="198" y="226"/>
                    <a:pt x="198" y="226"/>
                  </a:cubicBezTo>
                  <a:cubicBezTo>
                    <a:pt x="206" y="217"/>
                    <a:pt x="206" y="217"/>
                    <a:pt x="206" y="217"/>
                  </a:cubicBezTo>
                  <a:cubicBezTo>
                    <a:pt x="206" y="217"/>
                    <a:pt x="206" y="217"/>
                    <a:pt x="206" y="217"/>
                  </a:cubicBezTo>
                  <a:cubicBezTo>
                    <a:pt x="207" y="217"/>
                    <a:pt x="207" y="217"/>
                    <a:pt x="207" y="217"/>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8" y="216"/>
                    <a:pt x="208" y="216"/>
                    <a:pt x="208" y="216"/>
                  </a:cubicBezTo>
                  <a:cubicBezTo>
                    <a:pt x="208" y="216"/>
                    <a:pt x="208" y="216"/>
                    <a:pt x="208" y="216"/>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9" y="215"/>
                    <a:pt x="209" y="215"/>
                    <a:pt x="209" y="215"/>
                  </a:cubicBezTo>
                  <a:cubicBezTo>
                    <a:pt x="209" y="214"/>
                    <a:pt x="209" y="214"/>
                    <a:pt x="209" y="214"/>
                  </a:cubicBezTo>
                  <a:close/>
                  <a:moveTo>
                    <a:pt x="198" y="327"/>
                  </a:moveTo>
                  <a:cubicBezTo>
                    <a:pt x="186" y="315"/>
                    <a:pt x="186" y="315"/>
                    <a:pt x="186" y="315"/>
                  </a:cubicBezTo>
                  <a:cubicBezTo>
                    <a:pt x="186" y="287"/>
                    <a:pt x="186" y="287"/>
                    <a:pt x="186" y="287"/>
                  </a:cubicBezTo>
                  <a:cubicBezTo>
                    <a:pt x="196" y="297"/>
                    <a:pt x="196" y="297"/>
                    <a:pt x="196" y="297"/>
                  </a:cubicBezTo>
                  <a:cubicBezTo>
                    <a:pt x="198" y="296"/>
                    <a:pt x="198" y="296"/>
                    <a:pt x="198" y="296"/>
                  </a:cubicBezTo>
                  <a:cubicBezTo>
                    <a:pt x="198" y="327"/>
                    <a:pt x="198" y="327"/>
                    <a:pt x="198" y="327"/>
                  </a:cubicBezTo>
                  <a:close/>
                  <a:moveTo>
                    <a:pt x="186" y="57"/>
                  </a:moveTo>
                  <a:cubicBezTo>
                    <a:pt x="198" y="69"/>
                    <a:pt x="198" y="69"/>
                    <a:pt x="198" y="69"/>
                  </a:cubicBezTo>
                  <a:cubicBezTo>
                    <a:pt x="198" y="105"/>
                    <a:pt x="198" y="105"/>
                    <a:pt x="198" y="105"/>
                  </a:cubicBezTo>
                  <a:cubicBezTo>
                    <a:pt x="191" y="111"/>
                    <a:pt x="191" y="111"/>
                    <a:pt x="191" y="111"/>
                  </a:cubicBezTo>
                  <a:cubicBezTo>
                    <a:pt x="198" y="118"/>
                    <a:pt x="198" y="118"/>
                    <a:pt x="198" y="118"/>
                  </a:cubicBezTo>
                  <a:cubicBezTo>
                    <a:pt x="198" y="142"/>
                    <a:pt x="198" y="142"/>
                    <a:pt x="198" y="142"/>
                  </a:cubicBezTo>
                  <a:cubicBezTo>
                    <a:pt x="186" y="131"/>
                    <a:pt x="186" y="131"/>
                    <a:pt x="186" y="131"/>
                  </a:cubicBezTo>
                  <a:cubicBezTo>
                    <a:pt x="186" y="95"/>
                    <a:pt x="186" y="95"/>
                    <a:pt x="186" y="95"/>
                  </a:cubicBezTo>
                  <a:cubicBezTo>
                    <a:pt x="191" y="90"/>
                    <a:pt x="191" y="90"/>
                    <a:pt x="191" y="90"/>
                  </a:cubicBezTo>
                  <a:cubicBezTo>
                    <a:pt x="186" y="86"/>
                    <a:pt x="186" y="86"/>
                    <a:pt x="186" y="86"/>
                  </a:cubicBezTo>
                  <a:cubicBezTo>
                    <a:pt x="186" y="57"/>
                    <a:pt x="186" y="57"/>
                    <a:pt x="186" y="57"/>
                  </a:cubicBezTo>
                  <a:close/>
                  <a:moveTo>
                    <a:pt x="198" y="155"/>
                  </a:moveTo>
                  <a:cubicBezTo>
                    <a:pt x="198" y="176"/>
                    <a:pt x="198" y="176"/>
                    <a:pt x="198" y="176"/>
                  </a:cubicBezTo>
                  <a:cubicBezTo>
                    <a:pt x="192" y="182"/>
                    <a:pt x="192" y="182"/>
                    <a:pt x="192" y="182"/>
                  </a:cubicBezTo>
                  <a:cubicBezTo>
                    <a:pt x="192" y="182"/>
                    <a:pt x="192" y="182"/>
                    <a:pt x="192" y="182"/>
                  </a:cubicBezTo>
                  <a:cubicBezTo>
                    <a:pt x="191" y="182"/>
                    <a:pt x="191" y="182"/>
                    <a:pt x="191" y="182"/>
                  </a:cubicBezTo>
                  <a:cubicBezTo>
                    <a:pt x="191" y="182"/>
                    <a:pt x="191" y="182"/>
                    <a:pt x="191" y="182"/>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0" y="183"/>
                    <a:pt x="190" y="183"/>
                    <a:pt x="190" y="183"/>
                  </a:cubicBezTo>
                  <a:cubicBezTo>
                    <a:pt x="190" y="183"/>
                    <a:pt x="190" y="183"/>
                    <a:pt x="190" y="183"/>
                  </a:cubicBezTo>
                  <a:cubicBezTo>
                    <a:pt x="190" y="183"/>
                    <a:pt x="190" y="183"/>
                    <a:pt x="190" y="183"/>
                  </a:cubicBezTo>
                  <a:cubicBezTo>
                    <a:pt x="190" y="183"/>
                    <a:pt x="190" y="183"/>
                    <a:pt x="190" y="183"/>
                  </a:cubicBezTo>
                  <a:cubicBezTo>
                    <a:pt x="190" y="184"/>
                    <a:pt x="190" y="184"/>
                    <a:pt x="190" y="184"/>
                  </a:cubicBezTo>
                  <a:cubicBezTo>
                    <a:pt x="190" y="184"/>
                    <a:pt x="190" y="184"/>
                    <a:pt x="190" y="184"/>
                  </a:cubicBezTo>
                  <a:cubicBezTo>
                    <a:pt x="190" y="184"/>
                    <a:pt x="190" y="184"/>
                    <a:pt x="190" y="184"/>
                  </a:cubicBezTo>
                  <a:cubicBezTo>
                    <a:pt x="189" y="184"/>
                    <a:pt x="189" y="184"/>
                    <a:pt x="189" y="184"/>
                  </a:cubicBezTo>
                  <a:cubicBezTo>
                    <a:pt x="189" y="184"/>
                    <a:pt x="189" y="184"/>
                    <a:pt x="189" y="184"/>
                  </a:cubicBezTo>
                  <a:cubicBezTo>
                    <a:pt x="189" y="184"/>
                    <a:pt x="189" y="184"/>
                    <a:pt x="189" y="184"/>
                  </a:cubicBezTo>
                  <a:cubicBezTo>
                    <a:pt x="189" y="184"/>
                    <a:pt x="189" y="184"/>
                    <a:pt x="189" y="184"/>
                  </a:cubicBezTo>
                  <a:cubicBezTo>
                    <a:pt x="189" y="185"/>
                    <a:pt x="189" y="185"/>
                    <a:pt x="189" y="185"/>
                  </a:cubicBezTo>
                  <a:cubicBezTo>
                    <a:pt x="189" y="185"/>
                    <a:pt x="189" y="185"/>
                    <a:pt x="189" y="185"/>
                  </a:cubicBezTo>
                  <a:cubicBezTo>
                    <a:pt x="189" y="185"/>
                    <a:pt x="189" y="185"/>
                    <a:pt x="189" y="185"/>
                  </a:cubicBezTo>
                  <a:cubicBezTo>
                    <a:pt x="189" y="185"/>
                    <a:pt x="189" y="185"/>
                    <a:pt x="189" y="185"/>
                  </a:cubicBezTo>
                  <a:cubicBezTo>
                    <a:pt x="188" y="185"/>
                    <a:pt x="188" y="185"/>
                    <a:pt x="188" y="185"/>
                  </a:cubicBezTo>
                  <a:cubicBezTo>
                    <a:pt x="188" y="185"/>
                    <a:pt x="188" y="185"/>
                    <a:pt x="188" y="185"/>
                  </a:cubicBezTo>
                  <a:cubicBezTo>
                    <a:pt x="188" y="185"/>
                    <a:pt x="188" y="185"/>
                    <a:pt x="188" y="185"/>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7" y="186"/>
                    <a:pt x="187" y="186"/>
                    <a:pt x="187" y="186"/>
                  </a:cubicBezTo>
                  <a:cubicBezTo>
                    <a:pt x="187" y="186"/>
                    <a:pt x="187" y="186"/>
                    <a:pt x="187" y="186"/>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6" y="187"/>
                    <a:pt x="186" y="187"/>
                    <a:pt x="186" y="187"/>
                  </a:cubicBezTo>
                  <a:cubicBezTo>
                    <a:pt x="186" y="187"/>
                    <a:pt x="186" y="187"/>
                    <a:pt x="186" y="187"/>
                  </a:cubicBezTo>
                  <a:cubicBezTo>
                    <a:pt x="186" y="187"/>
                    <a:pt x="186" y="187"/>
                    <a:pt x="186" y="187"/>
                  </a:cubicBezTo>
                  <a:cubicBezTo>
                    <a:pt x="186" y="151"/>
                    <a:pt x="186" y="151"/>
                    <a:pt x="186" y="151"/>
                  </a:cubicBezTo>
                  <a:cubicBezTo>
                    <a:pt x="194" y="159"/>
                    <a:pt x="194" y="159"/>
                    <a:pt x="194" y="159"/>
                  </a:cubicBezTo>
                  <a:cubicBezTo>
                    <a:pt x="198" y="155"/>
                    <a:pt x="198" y="155"/>
                    <a:pt x="198" y="155"/>
                  </a:cubicBezTo>
                  <a:close/>
                  <a:moveTo>
                    <a:pt x="198" y="226"/>
                  </a:moveTo>
                  <a:cubicBezTo>
                    <a:pt x="198" y="247"/>
                    <a:pt x="198" y="247"/>
                    <a:pt x="198" y="247"/>
                  </a:cubicBezTo>
                  <a:cubicBezTo>
                    <a:pt x="198" y="247"/>
                    <a:pt x="198" y="247"/>
                    <a:pt x="198" y="247"/>
                  </a:cubicBezTo>
                  <a:cubicBezTo>
                    <a:pt x="197" y="247"/>
                    <a:pt x="197" y="247"/>
                    <a:pt x="197" y="247"/>
                  </a:cubicBezTo>
                  <a:cubicBezTo>
                    <a:pt x="197" y="247"/>
                    <a:pt x="197" y="247"/>
                    <a:pt x="197" y="247"/>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6" y="248"/>
                    <a:pt x="196" y="248"/>
                    <a:pt x="196" y="248"/>
                  </a:cubicBezTo>
                  <a:cubicBezTo>
                    <a:pt x="196" y="248"/>
                    <a:pt x="196" y="248"/>
                    <a:pt x="196" y="248"/>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5" y="249"/>
                    <a:pt x="195" y="249"/>
                    <a:pt x="195" y="249"/>
                  </a:cubicBezTo>
                  <a:cubicBezTo>
                    <a:pt x="195" y="249"/>
                    <a:pt x="195" y="249"/>
                    <a:pt x="195" y="249"/>
                  </a:cubicBezTo>
                  <a:cubicBezTo>
                    <a:pt x="195" y="249"/>
                    <a:pt x="195" y="249"/>
                    <a:pt x="195" y="249"/>
                  </a:cubicBezTo>
                  <a:cubicBezTo>
                    <a:pt x="195" y="249"/>
                    <a:pt x="195" y="249"/>
                    <a:pt x="195" y="249"/>
                  </a:cubicBezTo>
                  <a:cubicBezTo>
                    <a:pt x="195" y="250"/>
                    <a:pt x="195" y="250"/>
                    <a:pt x="195" y="250"/>
                  </a:cubicBezTo>
                  <a:cubicBezTo>
                    <a:pt x="195" y="250"/>
                    <a:pt x="195" y="250"/>
                    <a:pt x="195" y="250"/>
                  </a:cubicBezTo>
                  <a:cubicBezTo>
                    <a:pt x="195" y="250"/>
                    <a:pt x="195" y="250"/>
                    <a:pt x="195" y="250"/>
                  </a:cubicBezTo>
                  <a:cubicBezTo>
                    <a:pt x="194" y="250"/>
                    <a:pt x="194" y="250"/>
                    <a:pt x="194" y="250"/>
                  </a:cubicBezTo>
                  <a:cubicBezTo>
                    <a:pt x="194" y="250"/>
                    <a:pt x="194" y="250"/>
                    <a:pt x="194" y="250"/>
                  </a:cubicBezTo>
                  <a:cubicBezTo>
                    <a:pt x="186" y="258"/>
                    <a:pt x="186" y="258"/>
                    <a:pt x="186" y="258"/>
                  </a:cubicBezTo>
                  <a:cubicBezTo>
                    <a:pt x="186" y="237"/>
                    <a:pt x="186" y="237"/>
                    <a:pt x="186" y="237"/>
                  </a:cubicBezTo>
                  <a:lnTo>
                    <a:pt x="198" y="226"/>
                  </a:lnTo>
                  <a:close/>
                  <a:moveTo>
                    <a:pt x="186" y="315"/>
                  </a:moveTo>
                  <a:cubicBezTo>
                    <a:pt x="175" y="304"/>
                    <a:pt x="175" y="304"/>
                    <a:pt x="175" y="304"/>
                  </a:cubicBezTo>
                  <a:cubicBezTo>
                    <a:pt x="175" y="276"/>
                    <a:pt x="175" y="276"/>
                    <a:pt x="175" y="276"/>
                  </a:cubicBezTo>
                  <a:cubicBezTo>
                    <a:pt x="186" y="287"/>
                    <a:pt x="186" y="287"/>
                    <a:pt x="186" y="287"/>
                  </a:cubicBezTo>
                  <a:cubicBezTo>
                    <a:pt x="186" y="315"/>
                    <a:pt x="186" y="315"/>
                    <a:pt x="186" y="315"/>
                  </a:cubicBezTo>
                  <a:close/>
                  <a:moveTo>
                    <a:pt x="175" y="46"/>
                  </a:moveTo>
                  <a:cubicBezTo>
                    <a:pt x="186" y="57"/>
                    <a:pt x="186" y="57"/>
                    <a:pt x="186" y="57"/>
                  </a:cubicBezTo>
                  <a:cubicBezTo>
                    <a:pt x="186" y="86"/>
                    <a:pt x="186" y="86"/>
                    <a:pt x="186" y="86"/>
                  </a:cubicBezTo>
                  <a:cubicBezTo>
                    <a:pt x="175" y="74"/>
                    <a:pt x="175" y="74"/>
                    <a:pt x="175" y="74"/>
                  </a:cubicBezTo>
                  <a:cubicBezTo>
                    <a:pt x="175" y="46"/>
                    <a:pt x="175" y="46"/>
                    <a:pt x="175" y="46"/>
                  </a:cubicBezTo>
                  <a:close/>
                  <a:moveTo>
                    <a:pt x="186" y="95"/>
                  </a:moveTo>
                  <a:cubicBezTo>
                    <a:pt x="186" y="131"/>
                    <a:pt x="186" y="131"/>
                    <a:pt x="186" y="131"/>
                  </a:cubicBezTo>
                  <a:cubicBezTo>
                    <a:pt x="179" y="124"/>
                    <a:pt x="179" y="124"/>
                    <a:pt x="179" y="124"/>
                  </a:cubicBezTo>
                  <a:cubicBezTo>
                    <a:pt x="175" y="128"/>
                    <a:pt x="175" y="128"/>
                    <a:pt x="175" y="128"/>
                  </a:cubicBezTo>
                  <a:cubicBezTo>
                    <a:pt x="175" y="106"/>
                    <a:pt x="175" y="106"/>
                    <a:pt x="175" y="106"/>
                  </a:cubicBezTo>
                  <a:cubicBezTo>
                    <a:pt x="186" y="95"/>
                    <a:pt x="186" y="95"/>
                    <a:pt x="186" y="95"/>
                  </a:cubicBezTo>
                  <a:close/>
                  <a:moveTo>
                    <a:pt x="186" y="151"/>
                  </a:moveTo>
                  <a:cubicBezTo>
                    <a:pt x="186" y="187"/>
                    <a:pt x="186" y="187"/>
                    <a:pt x="186" y="187"/>
                  </a:cubicBezTo>
                  <a:cubicBezTo>
                    <a:pt x="186" y="187"/>
                    <a:pt x="186" y="187"/>
                    <a:pt x="186" y="187"/>
                  </a:cubicBezTo>
                  <a:cubicBezTo>
                    <a:pt x="186" y="188"/>
                    <a:pt x="186" y="188"/>
                    <a:pt x="186" y="188"/>
                  </a:cubicBezTo>
                  <a:cubicBezTo>
                    <a:pt x="186" y="188"/>
                    <a:pt x="186" y="188"/>
                    <a:pt x="186" y="188"/>
                  </a:cubicBezTo>
                  <a:cubicBezTo>
                    <a:pt x="186" y="188"/>
                    <a:pt x="186" y="188"/>
                    <a:pt x="186" y="188"/>
                  </a:cubicBezTo>
                  <a:cubicBezTo>
                    <a:pt x="186" y="188"/>
                    <a:pt x="186" y="188"/>
                    <a:pt x="186" y="188"/>
                  </a:cubicBezTo>
                  <a:cubicBezTo>
                    <a:pt x="185" y="188"/>
                    <a:pt x="185" y="188"/>
                    <a:pt x="185" y="188"/>
                  </a:cubicBezTo>
                  <a:cubicBezTo>
                    <a:pt x="185" y="188"/>
                    <a:pt x="185" y="188"/>
                    <a:pt x="185" y="188"/>
                  </a:cubicBezTo>
                  <a:cubicBezTo>
                    <a:pt x="185" y="188"/>
                    <a:pt x="185" y="188"/>
                    <a:pt x="185" y="188"/>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4" y="189"/>
                    <a:pt x="184" y="189"/>
                    <a:pt x="184" y="189"/>
                  </a:cubicBezTo>
                  <a:cubicBezTo>
                    <a:pt x="184" y="189"/>
                    <a:pt x="184" y="189"/>
                    <a:pt x="184" y="189"/>
                  </a:cubicBezTo>
                  <a:cubicBezTo>
                    <a:pt x="184" y="189"/>
                    <a:pt x="184" y="189"/>
                    <a:pt x="184" y="189"/>
                  </a:cubicBezTo>
                  <a:cubicBezTo>
                    <a:pt x="184" y="189"/>
                    <a:pt x="184" y="189"/>
                    <a:pt x="184" y="189"/>
                  </a:cubicBezTo>
                  <a:cubicBezTo>
                    <a:pt x="184" y="190"/>
                    <a:pt x="184" y="190"/>
                    <a:pt x="184" y="190"/>
                  </a:cubicBezTo>
                  <a:cubicBezTo>
                    <a:pt x="184" y="190"/>
                    <a:pt x="184" y="190"/>
                    <a:pt x="184" y="190"/>
                  </a:cubicBezTo>
                  <a:cubicBezTo>
                    <a:pt x="184" y="190"/>
                    <a:pt x="184" y="190"/>
                    <a:pt x="184" y="190"/>
                  </a:cubicBezTo>
                  <a:cubicBezTo>
                    <a:pt x="183" y="190"/>
                    <a:pt x="183" y="190"/>
                    <a:pt x="183" y="190"/>
                  </a:cubicBezTo>
                  <a:cubicBezTo>
                    <a:pt x="183" y="190"/>
                    <a:pt x="183" y="190"/>
                    <a:pt x="183" y="190"/>
                  </a:cubicBezTo>
                  <a:cubicBezTo>
                    <a:pt x="183" y="190"/>
                    <a:pt x="183" y="190"/>
                    <a:pt x="183" y="190"/>
                  </a:cubicBezTo>
                  <a:cubicBezTo>
                    <a:pt x="183" y="190"/>
                    <a:pt x="183" y="190"/>
                    <a:pt x="183" y="190"/>
                  </a:cubicBezTo>
                  <a:cubicBezTo>
                    <a:pt x="183" y="191"/>
                    <a:pt x="183" y="191"/>
                    <a:pt x="183" y="191"/>
                  </a:cubicBezTo>
                  <a:cubicBezTo>
                    <a:pt x="183" y="191"/>
                    <a:pt x="183" y="191"/>
                    <a:pt x="183" y="191"/>
                  </a:cubicBezTo>
                  <a:cubicBezTo>
                    <a:pt x="183" y="191"/>
                    <a:pt x="183" y="191"/>
                    <a:pt x="183" y="191"/>
                  </a:cubicBezTo>
                  <a:cubicBezTo>
                    <a:pt x="182" y="191"/>
                    <a:pt x="182" y="191"/>
                    <a:pt x="182" y="191"/>
                  </a:cubicBezTo>
                  <a:cubicBezTo>
                    <a:pt x="182" y="191"/>
                    <a:pt x="182" y="191"/>
                    <a:pt x="182" y="191"/>
                  </a:cubicBezTo>
                  <a:cubicBezTo>
                    <a:pt x="182" y="191"/>
                    <a:pt x="182" y="191"/>
                    <a:pt x="182" y="191"/>
                  </a:cubicBezTo>
                  <a:cubicBezTo>
                    <a:pt x="182" y="191"/>
                    <a:pt x="182" y="191"/>
                    <a:pt x="182" y="191"/>
                  </a:cubicBezTo>
                  <a:cubicBezTo>
                    <a:pt x="182" y="192"/>
                    <a:pt x="182" y="192"/>
                    <a:pt x="182" y="192"/>
                  </a:cubicBezTo>
                  <a:cubicBezTo>
                    <a:pt x="182" y="192"/>
                    <a:pt x="182" y="192"/>
                    <a:pt x="182" y="192"/>
                  </a:cubicBezTo>
                  <a:cubicBezTo>
                    <a:pt x="182" y="192"/>
                    <a:pt x="182" y="192"/>
                    <a:pt x="182" y="192"/>
                  </a:cubicBezTo>
                  <a:cubicBezTo>
                    <a:pt x="182" y="192"/>
                    <a:pt x="182" y="192"/>
                    <a:pt x="182" y="192"/>
                  </a:cubicBezTo>
                  <a:cubicBezTo>
                    <a:pt x="175" y="199"/>
                    <a:pt x="175" y="199"/>
                    <a:pt x="175" y="199"/>
                  </a:cubicBezTo>
                  <a:cubicBezTo>
                    <a:pt x="175" y="177"/>
                    <a:pt x="175" y="177"/>
                    <a:pt x="175" y="177"/>
                  </a:cubicBezTo>
                  <a:cubicBezTo>
                    <a:pt x="181" y="171"/>
                    <a:pt x="181" y="171"/>
                    <a:pt x="181" y="171"/>
                  </a:cubicBezTo>
                  <a:cubicBezTo>
                    <a:pt x="175" y="165"/>
                    <a:pt x="175" y="165"/>
                    <a:pt x="175" y="165"/>
                  </a:cubicBezTo>
                  <a:cubicBezTo>
                    <a:pt x="175" y="140"/>
                    <a:pt x="175" y="140"/>
                    <a:pt x="175" y="140"/>
                  </a:cubicBezTo>
                  <a:cubicBezTo>
                    <a:pt x="186" y="151"/>
                    <a:pt x="186" y="151"/>
                    <a:pt x="186" y="151"/>
                  </a:cubicBezTo>
                  <a:close/>
                  <a:moveTo>
                    <a:pt x="186" y="237"/>
                  </a:moveTo>
                  <a:cubicBezTo>
                    <a:pt x="186" y="258"/>
                    <a:pt x="186" y="258"/>
                    <a:pt x="186" y="258"/>
                  </a:cubicBezTo>
                  <a:cubicBezTo>
                    <a:pt x="175" y="269"/>
                    <a:pt x="175" y="269"/>
                    <a:pt x="175" y="269"/>
                  </a:cubicBezTo>
                  <a:cubicBezTo>
                    <a:pt x="175" y="230"/>
                    <a:pt x="175" y="230"/>
                    <a:pt x="175" y="230"/>
                  </a:cubicBezTo>
                  <a:cubicBezTo>
                    <a:pt x="184" y="239"/>
                    <a:pt x="184" y="239"/>
                    <a:pt x="184" y="239"/>
                  </a:cubicBezTo>
                  <a:lnTo>
                    <a:pt x="186" y="237"/>
                  </a:lnTo>
                  <a:close/>
                  <a:moveTo>
                    <a:pt x="175" y="304"/>
                  </a:moveTo>
                  <a:cubicBezTo>
                    <a:pt x="169" y="298"/>
                    <a:pt x="169" y="298"/>
                    <a:pt x="169" y="298"/>
                  </a:cubicBezTo>
                  <a:cubicBezTo>
                    <a:pt x="164" y="292"/>
                    <a:pt x="164" y="292"/>
                    <a:pt x="164" y="292"/>
                  </a:cubicBezTo>
                  <a:cubicBezTo>
                    <a:pt x="164" y="259"/>
                    <a:pt x="164" y="259"/>
                    <a:pt x="164" y="259"/>
                  </a:cubicBezTo>
                  <a:cubicBezTo>
                    <a:pt x="171" y="252"/>
                    <a:pt x="171" y="252"/>
                    <a:pt x="171" y="252"/>
                  </a:cubicBezTo>
                  <a:cubicBezTo>
                    <a:pt x="164" y="244"/>
                    <a:pt x="164" y="244"/>
                    <a:pt x="164" y="244"/>
                  </a:cubicBezTo>
                  <a:cubicBezTo>
                    <a:pt x="164" y="219"/>
                    <a:pt x="164" y="219"/>
                    <a:pt x="164" y="219"/>
                  </a:cubicBezTo>
                  <a:cubicBezTo>
                    <a:pt x="175" y="230"/>
                    <a:pt x="175" y="230"/>
                    <a:pt x="175" y="230"/>
                  </a:cubicBezTo>
                  <a:cubicBezTo>
                    <a:pt x="175" y="269"/>
                    <a:pt x="175" y="269"/>
                    <a:pt x="175" y="269"/>
                  </a:cubicBezTo>
                  <a:cubicBezTo>
                    <a:pt x="172" y="273"/>
                    <a:pt x="172" y="273"/>
                    <a:pt x="172" y="273"/>
                  </a:cubicBezTo>
                  <a:cubicBezTo>
                    <a:pt x="175" y="276"/>
                    <a:pt x="175" y="276"/>
                    <a:pt x="175" y="276"/>
                  </a:cubicBezTo>
                  <a:cubicBezTo>
                    <a:pt x="175" y="304"/>
                    <a:pt x="175" y="304"/>
                    <a:pt x="175" y="304"/>
                  </a:cubicBezTo>
                  <a:close/>
                  <a:moveTo>
                    <a:pt x="164" y="35"/>
                  </a:moveTo>
                  <a:cubicBezTo>
                    <a:pt x="175" y="46"/>
                    <a:pt x="175" y="46"/>
                    <a:pt x="175" y="46"/>
                  </a:cubicBezTo>
                  <a:cubicBezTo>
                    <a:pt x="175" y="74"/>
                    <a:pt x="175" y="74"/>
                    <a:pt x="175" y="74"/>
                  </a:cubicBezTo>
                  <a:cubicBezTo>
                    <a:pt x="166" y="66"/>
                    <a:pt x="166" y="66"/>
                    <a:pt x="166" y="66"/>
                  </a:cubicBezTo>
                  <a:cubicBezTo>
                    <a:pt x="164" y="68"/>
                    <a:pt x="164" y="68"/>
                    <a:pt x="164" y="68"/>
                  </a:cubicBezTo>
                  <a:cubicBezTo>
                    <a:pt x="164" y="35"/>
                    <a:pt x="164" y="35"/>
                    <a:pt x="164" y="35"/>
                  </a:cubicBezTo>
                  <a:close/>
                  <a:moveTo>
                    <a:pt x="175" y="106"/>
                  </a:moveTo>
                  <a:cubicBezTo>
                    <a:pt x="175" y="128"/>
                    <a:pt x="175" y="128"/>
                    <a:pt x="175" y="128"/>
                  </a:cubicBezTo>
                  <a:cubicBezTo>
                    <a:pt x="169" y="134"/>
                    <a:pt x="169" y="134"/>
                    <a:pt x="169" y="134"/>
                  </a:cubicBezTo>
                  <a:cubicBezTo>
                    <a:pt x="175" y="140"/>
                    <a:pt x="175" y="140"/>
                    <a:pt x="175" y="140"/>
                  </a:cubicBezTo>
                  <a:cubicBezTo>
                    <a:pt x="175" y="165"/>
                    <a:pt x="175" y="165"/>
                    <a:pt x="175" y="165"/>
                  </a:cubicBezTo>
                  <a:cubicBezTo>
                    <a:pt x="164" y="153"/>
                    <a:pt x="164" y="153"/>
                    <a:pt x="164" y="153"/>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5" y="117"/>
                    <a:pt x="165" y="117"/>
                    <a:pt x="165" y="117"/>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6" y="116"/>
                    <a:pt x="166" y="116"/>
                    <a:pt x="166" y="116"/>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7" y="115"/>
                    <a:pt x="167" y="115"/>
                    <a:pt x="167" y="115"/>
                  </a:cubicBezTo>
                  <a:cubicBezTo>
                    <a:pt x="167" y="115"/>
                    <a:pt x="167" y="115"/>
                    <a:pt x="167" y="115"/>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75" y="106"/>
                    <a:pt x="175" y="106"/>
                    <a:pt x="175" y="106"/>
                  </a:cubicBezTo>
                  <a:close/>
                  <a:moveTo>
                    <a:pt x="175" y="177"/>
                  </a:moveTo>
                  <a:cubicBezTo>
                    <a:pt x="175" y="199"/>
                    <a:pt x="175" y="199"/>
                    <a:pt x="175" y="199"/>
                  </a:cubicBezTo>
                  <a:cubicBezTo>
                    <a:pt x="164" y="210"/>
                    <a:pt x="164" y="210"/>
                    <a:pt x="164" y="210"/>
                  </a:cubicBezTo>
                  <a:cubicBezTo>
                    <a:pt x="164" y="174"/>
                    <a:pt x="164" y="174"/>
                    <a:pt x="164" y="174"/>
                  </a:cubicBezTo>
                  <a:cubicBezTo>
                    <a:pt x="171" y="181"/>
                    <a:pt x="171" y="181"/>
                    <a:pt x="171" y="181"/>
                  </a:cubicBezTo>
                  <a:lnTo>
                    <a:pt x="175" y="177"/>
                  </a:lnTo>
                  <a:close/>
                  <a:moveTo>
                    <a:pt x="164" y="292"/>
                  </a:moveTo>
                  <a:cubicBezTo>
                    <a:pt x="152" y="281"/>
                    <a:pt x="152" y="281"/>
                    <a:pt x="152" y="281"/>
                  </a:cubicBezTo>
                  <a:cubicBezTo>
                    <a:pt x="152" y="253"/>
                    <a:pt x="152" y="253"/>
                    <a:pt x="152" y="253"/>
                  </a:cubicBezTo>
                  <a:cubicBezTo>
                    <a:pt x="161" y="262"/>
                    <a:pt x="161" y="262"/>
                    <a:pt x="161" y="262"/>
                  </a:cubicBezTo>
                  <a:cubicBezTo>
                    <a:pt x="164" y="259"/>
                    <a:pt x="164" y="259"/>
                    <a:pt x="164" y="259"/>
                  </a:cubicBezTo>
                  <a:cubicBezTo>
                    <a:pt x="164" y="292"/>
                    <a:pt x="164" y="292"/>
                    <a:pt x="164" y="292"/>
                  </a:cubicBezTo>
                  <a:close/>
                  <a:moveTo>
                    <a:pt x="152" y="23"/>
                  </a:moveTo>
                  <a:cubicBezTo>
                    <a:pt x="164" y="35"/>
                    <a:pt x="164" y="35"/>
                    <a:pt x="164" y="35"/>
                  </a:cubicBezTo>
                  <a:cubicBezTo>
                    <a:pt x="164" y="68"/>
                    <a:pt x="164" y="68"/>
                    <a:pt x="164" y="68"/>
                  </a:cubicBezTo>
                  <a:cubicBezTo>
                    <a:pt x="152" y="79"/>
                    <a:pt x="152" y="79"/>
                    <a:pt x="152" y="79"/>
                  </a:cubicBezTo>
                  <a:cubicBezTo>
                    <a:pt x="152" y="58"/>
                    <a:pt x="152" y="58"/>
                    <a:pt x="152" y="58"/>
                  </a:cubicBezTo>
                  <a:cubicBezTo>
                    <a:pt x="155" y="55"/>
                    <a:pt x="155" y="55"/>
                    <a:pt x="155" y="55"/>
                  </a:cubicBezTo>
                  <a:cubicBezTo>
                    <a:pt x="152" y="52"/>
                    <a:pt x="152" y="52"/>
                    <a:pt x="152" y="52"/>
                  </a:cubicBezTo>
                  <a:cubicBezTo>
                    <a:pt x="152" y="23"/>
                    <a:pt x="152" y="23"/>
                    <a:pt x="152" y="23"/>
                  </a:cubicBezTo>
                  <a:close/>
                  <a:moveTo>
                    <a:pt x="164" y="117"/>
                  </a:moveTo>
                  <a:cubicBezTo>
                    <a:pt x="164" y="153"/>
                    <a:pt x="164" y="153"/>
                    <a:pt x="164" y="153"/>
                  </a:cubicBezTo>
                  <a:cubicBezTo>
                    <a:pt x="156" y="146"/>
                    <a:pt x="156" y="146"/>
                    <a:pt x="156" y="146"/>
                  </a:cubicBezTo>
                  <a:cubicBezTo>
                    <a:pt x="152" y="150"/>
                    <a:pt x="152" y="150"/>
                    <a:pt x="152" y="150"/>
                  </a:cubicBezTo>
                  <a:cubicBezTo>
                    <a:pt x="152" y="129"/>
                    <a:pt x="152" y="129"/>
                    <a:pt x="152" y="129"/>
                  </a:cubicBezTo>
                  <a:cubicBezTo>
                    <a:pt x="158" y="123"/>
                    <a:pt x="158" y="123"/>
                    <a:pt x="158" y="123"/>
                  </a:cubicBezTo>
                  <a:cubicBezTo>
                    <a:pt x="158" y="123"/>
                    <a:pt x="158" y="123"/>
                    <a:pt x="158" y="123"/>
                  </a:cubicBezTo>
                  <a:cubicBezTo>
                    <a:pt x="158" y="123"/>
                    <a:pt x="158" y="123"/>
                    <a:pt x="158" y="123"/>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60" y="122"/>
                    <a:pt x="160" y="122"/>
                    <a:pt x="160" y="122"/>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2" y="120"/>
                    <a:pt x="162" y="120"/>
                    <a:pt x="162" y="120"/>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3" y="119"/>
                    <a:pt x="163" y="119"/>
                    <a:pt x="163" y="119"/>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4" y="117"/>
                    <a:pt x="164" y="117"/>
                    <a:pt x="164" y="117"/>
                  </a:cubicBezTo>
                  <a:close/>
                  <a:moveTo>
                    <a:pt x="164" y="174"/>
                  </a:moveTo>
                  <a:cubicBezTo>
                    <a:pt x="164" y="210"/>
                    <a:pt x="164" y="210"/>
                    <a:pt x="164" y="210"/>
                  </a:cubicBezTo>
                  <a:cubicBezTo>
                    <a:pt x="159" y="214"/>
                    <a:pt x="159" y="214"/>
                    <a:pt x="159" y="214"/>
                  </a:cubicBezTo>
                  <a:cubicBezTo>
                    <a:pt x="164" y="219"/>
                    <a:pt x="164" y="219"/>
                    <a:pt x="164" y="219"/>
                  </a:cubicBezTo>
                  <a:cubicBezTo>
                    <a:pt x="164" y="244"/>
                    <a:pt x="164" y="244"/>
                    <a:pt x="164" y="244"/>
                  </a:cubicBezTo>
                  <a:cubicBezTo>
                    <a:pt x="152" y="232"/>
                    <a:pt x="152" y="232"/>
                    <a:pt x="152" y="232"/>
                  </a:cubicBezTo>
                  <a:cubicBezTo>
                    <a:pt x="152" y="199"/>
                    <a:pt x="152" y="199"/>
                    <a:pt x="152" y="199"/>
                  </a:cubicBezTo>
                  <a:cubicBezTo>
                    <a:pt x="152" y="199"/>
                    <a:pt x="152" y="199"/>
                    <a:pt x="152"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8"/>
                    <a:pt x="153" y="198"/>
                    <a:pt x="153" y="198"/>
                  </a:cubicBezTo>
                  <a:cubicBezTo>
                    <a:pt x="153" y="198"/>
                    <a:pt x="153" y="198"/>
                    <a:pt x="153"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7"/>
                    <a:pt x="154" y="197"/>
                    <a:pt x="154" y="197"/>
                  </a:cubicBezTo>
                  <a:cubicBezTo>
                    <a:pt x="154" y="197"/>
                    <a:pt x="154" y="197"/>
                    <a:pt x="154"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6"/>
                    <a:pt x="155" y="196"/>
                    <a:pt x="155" y="196"/>
                  </a:cubicBezTo>
                  <a:cubicBezTo>
                    <a:pt x="155" y="196"/>
                    <a:pt x="155" y="196"/>
                    <a:pt x="155"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5"/>
                    <a:pt x="156" y="195"/>
                    <a:pt x="156" y="195"/>
                  </a:cubicBezTo>
                  <a:cubicBezTo>
                    <a:pt x="156" y="195"/>
                    <a:pt x="156" y="195"/>
                    <a:pt x="156"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4"/>
                    <a:pt x="157" y="194"/>
                    <a:pt x="157"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9" y="193"/>
                    <a:pt x="159" y="193"/>
                    <a:pt x="159" y="193"/>
                  </a:cubicBezTo>
                  <a:cubicBezTo>
                    <a:pt x="152" y="187"/>
                    <a:pt x="152" y="187"/>
                    <a:pt x="152" y="187"/>
                  </a:cubicBezTo>
                  <a:cubicBezTo>
                    <a:pt x="152" y="163"/>
                    <a:pt x="152" y="163"/>
                    <a:pt x="152" y="163"/>
                  </a:cubicBezTo>
                  <a:lnTo>
                    <a:pt x="164" y="174"/>
                  </a:lnTo>
                  <a:close/>
                  <a:moveTo>
                    <a:pt x="152" y="281"/>
                  </a:moveTo>
                  <a:cubicBezTo>
                    <a:pt x="138" y="267"/>
                    <a:pt x="138" y="267"/>
                    <a:pt x="138" y="267"/>
                  </a:cubicBezTo>
                  <a:cubicBezTo>
                    <a:pt x="138" y="238"/>
                    <a:pt x="138" y="238"/>
                    <a:pt x="138" y="238"/>
                  </a:cubicBezTo>
                  <a:cubicBezTo>
                    <a:pt x="152" y="253"/>
                    <a:pt x="152" y="253"/>
                    <a:pt x="152" y="253"/>
                  </a:cubicBezTo>
                  <a:cubicBezTo>
                    <a:pt x="152" y="281"/>
                    <a:pt x="152" y="281"/>
                    <a:pt x="152" y="281"/>
                  </a:cubicBezTo>
                  <a:close/>
                  <a:moveTo>
                    <a:pt x="138" y="9"/>
                  </a:moveTo>
                  <a:cubicBezTo>
                    <a:pt x="152" y="23"/>
                    <a:pt x="152" y="23"/>
                    <a:pt x="152" y="23"/>
                  </a:cubicBezTo>
                  <a:cubicBezTo>
                    <a:pt x="152" y="52"/>
                    <a:pt x="152" y="52"/>
                    <a:pt x="152" y="52"/>
                  </a:cubicBezTo>
                  <a:cubicBezTo>
                    <a:pt x="138" y="37"/>
                    <a:pt x="138" y="37"/>
                    <a:pt x="138" y="37"/>
                  </a:cubicBezTo>
                  <a:cubicBezTo>
                    <a:pt x="138" y="9"/>
                    <a:pt x="138" y="9"/>
                    <a:pt x="138" y="9"/>
                  </a:cubicBezTo>
                  <a:close/>
                  <a:moveTo>
                    <a:pt x="152" y="58"/>
                  </a:moveTo>
                  <a:cubicBezTo>
                    <a:pt x="152" y="79"/>
                    <a:pt x="152" y="79"/>
                    <a:pt x="152" y="79"/>
                  </a:cubicBezTo>
                  <a:cubicBezTo>
                    <a:pt x="144" y="88"/>
                    <a:pt x="144" y="88"/>
                    <a:pt x="144" y="88"/>
                  </a:cubicBezTo>
                  <a:cubicBezTo>
                    <a:pt x="144" y="88"/>
                    <a:pt x="144" y="88"/>
                    <a:pt x="144" y="88"/>
                  </a:cubicBezTo>
                  <a:cubicBezTo>
                    <a:pt x="143" y="88"/>
                    <a:pt x="143" y="88"/>
                    <a:pt x="143" y="88"/>
                  </a:cubicBezTo>
                  <a:cubicBezTo>
                    <a:pt x="143" y="88"/>
                    <a:pt x="143" y="88"/>
                    <a:pt x="143" y="88"/>
                  </a:cubicBezTo>
                  <a:cubicBezTo>
                    <a:pt x="143" y="88"/>
                    <a:pt x="143" y="88"/>
                    <a:pt x="143" y="88"/>
                  </a:cubicBezTo>
                  <a:cubicBezTo>
                    <a:pt x="143" y="89"/>
                    <a:pt x="143" y="89"/>
                    <a:pt x="143" y="89"/>
                  </a:cubicBezTo>
                  <a:cubicBezTo>
                    <a:pt x="143" y="89"/>
                    <a:pt x="143" y="89"/>
                    <a:pt x="143" y="89"/>
                  </a:cubicBezTo>
                  <a:cubicBezTo>
                    <a:pt x="143" y="89"/>
                    <a:pt x="143" y="89"/>
                    <a:pt x="143" y="89"/>
                  </a:cubicBezTo>
                  <a:cubicBezTo>
                    <a:pt x="143" y="89"/>
                    <a:pt x="143" y="89"/>
                    <a:pt x="143" y="89"/>
                  </a:cubicBezTo>
                  <a:cubicBezTo>
                    <a:pt x="142" y="89"/>
                    <a:pt x="142" y="89"/>
                    <a:pt x="142" y="89"/>
                  </a:cubicBezTo>
                  <a:cubicBezTo>
                    <a:pt x="142" y="89"/>
                    <a:pt x="142" y="89"/>
                    <a:pt x="142" y="89"/>
                  </a:cubicBezTo>
                  <a:cubicBezTo>
                    <a:pt x="142" y="89"/>
                    <a:pt x="142" y="89"/>
                    <a:pt x="142" y="89"/>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1" y="90"/>
                    <a:pt x="141" y="90"/>
                    <a:pt x="141" y="90"/>
                  </a:cubicBezTo>
                  <a:cubicBezTo>
                    <a:pt x="141" y="90"/>
                    <a:pt x="141" y="90"/>
                    <a:pt x="141" y="90"/>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0" y="91"/>
                    <a:pt x="140" y="91"/>
                    <a:pt x="140" y="91"/>
                  </a:cubicBezTo>
                  <a:cubicBezTo>
                    <a:pt x="140" y="91"/>
                    <a:pt x="140" y="91"/>
                    <a:pt x="140" y="91"/>
                  </a:cubicBezTo>
                  <a:cubicBezTo>
                    <a:pt x="140" y="91"/>
                    <a:pt x="140" y="91"/>
                    <a:pt x="140" y="91"/>
                  </a:cubicBezTo>
                  <a:cubicBezTo>
                    <a:pt x="140" y="91"/>
                    <a:pt x="140" y="91"/>
                    <a:pt x="140" y="91"/>
                  </a:cubicBezTo>
                  <a:cubicBezTo>
                    <a:pt x="140" y="92"/>
                    <a:pt x="140" y="92"/>
                    <a:pt x="140" y="92"/>
                  </a:cubicBezTo>
                  <a:cubicBezTo>
                    <a:pt x="140" y="92"/>
                    <a:pt x="140" y="92"/>
                    <a:pt x="140" y="92"/>
                  </a:cubicBezTo>
                  <a:cubicBezTo>
                    <a:pt x="140" y="92"/>
                    <a:pt x="140" y="92"/>
                    <a:pt x="140" y="92"/>
                  </a:cubicBezTo>
                  <a:cubicBezTo>
                    <a:pt x="139" y="92"/>
                    <a:pt x="139" y="92"/>
                    <a:pt x="139" y="92"/>
                  </a:cubicBezTo>
                  <a:cubicBezTo>
                    <a:pt x="139" y="92"/>
                    <a:pt x="139" y="92"/>
                    <a:pt x="139" y="92"/>
                  </a:cubicBezTo>
                  <a:cubicBezTo>
                    <a:pt x="139" y="92"/>
                    <a:pt x="139" y="92"/>
                    <a:pt x="139" y="92"/>
                  </a:cubicBezTo>
                  <a:cubicBezTo>
                    <a:pt x="139" y="92"/>
                    <a:pt x="139" y="92"/>
                    <a:pt x="139" y="92"/>
                  </a:cubicBezTo>
                  <a:cubicBezTo>
                    <a:pt x="139" y="93"/>
                    <a:pt x="139" y="93"/>
                    <a:pt x="139" y="93"/>
                  </a:cubicBezTo>
                  <a:cubicBezTo>
                    <a:pt x="139" y="93"/>
                    <a:pt x="139" y="93"/>
                    <a:pt x="139" y="93"/>
                  </a:cubicBezTo>
                  <a:cubicBezTo>
                    <a:pt x="139" y="93"/>
                    <a:pt x="139" y="93"/>
                    <a:pt x="139" y="93"/>
                  </a:cubicBezTo>
                  <a:cubicBezTo>
                    <a:pt x="138" y="93"/>
                    <a:pt x="138" y="93"/>
                    <a:pt x="138" y="93"/>
                  </a:cubicBezTo>
                  <a:cubicBezTo>
                    <a:pt x="138" y="93"/>
                    <a:pt x="138" y="93"/>
                    <a:pt x="138" y="93"/>
                  </a:cubicBezTo>
                  <a:cubicBezTo>
                    <a:pt x="138" y="93"/>
                    <a:pt x="138" y="93"/>
                    <a:pt x="138" y="93"/>
                  </a:cubicBezTo>
                  <a:cubicBezTo>
                    <a:pt x="138" y="93"/>
                    <a:pt x="138" y="93"/>
                    <a:pt x="138" y="93"/>
                  </a:cubicBezTo>
                  <a:cubicBezTo>
                    <a:pt x="138" y="94"/>
                    <a:pt x="138" y="94"/>
                    <a:pt x="138" y="94"/>
                  </a:cubicBezTo>
                  <a:cubicBezTo>
                    <a:pt x="138" y="94"/>
                    <a:pt x="138" y="94"/>
                    <a:pt x="138" y="94"/>
                  </a:cubicBezTo>
                  <a:cubicBezTo>
                    <a:pt x="138" y="58"/>
                    <a:pt x="138" y="58"/>
                    <a:pt x="138" y="58"/>
                  </a:cubicBezTo>
                  <a:cubicBezTo>
                    <a:pt x="145" y="65"/>
                    <a:pt x="145" y="65"/>
                    <a:pt x="145" y="65"/>
                  </a:cubicBezTo>
                  <a:cubicBezTo>
                    <a:pt x="152" y="58"/>
                    <a:pt x="152" y="58"/>
                    <a:pt x="152" y="58"/>
                  </a:cubicBezTo>
                  <a:close/>
                  <a:moveTo>
                    <a:pt x="152" y="129"/>
                  </a:moveTo>
                  <a:cubicBezTo>
                    <a:pt x="152" y="150"/>
                    <a:pt x="152" y="150"/>
                    <a:pt x="152" y="150"/>
                  </a:cubicBezTo>
                  <a:cubicBezTo>
                    <a:pt x="146" y="156"/>
                    <a:pt x="146" y="156"/>
                    <a:pt x="146" y="156"/>
                  </a:cubicBezTo>
                  <a:cubicBezTo>
                    <a:pt x="152" y="163"/>
                    <a:pt x="152" y="163"/>
                    <a:pt x="152" y="163"/>
                  </a:cubicBezTo>
                  <a:cubicBezTo>
                    <a:pt x="152" y="187"/>
                    <a:pt x="152" y="187"/>
                    <a:pt x="152" y="187"/>
                  </a:cubicBezTo>
                  <a:cubicBezTo>
                    <a:pt x="138" y="173"/>
                    <a:pt x="138" y="173"/>
                    <a:pt x="138" y="173"/>
                  </a:cubicBezTo>
                  <a:cubicBezTo>
                    <a:pt x="138" y="143"/>
                    <a:pt x="138" y="143"/>
                    <a:pt x="138" y="143"/>
                  </a:cubicBezTo>
                  <a:cubicBezTo>
                    <a:pt x="138" y="143"/>
                    <a:pt x="138" y="143"/>
                    <a:pt x="138" y="143"/>
                  </a:cubicBezTo>
                  <a:cubicBezTo>
                    <a:pt x="138" y="143"/>
                    <a:pt x="138" y="143"/>
                    <a:pt x="138" y="143"/>
                  </a:cubicBezTo>
                  <a:cubicBezTo>
                    <a:pt x="138" y="142"/>
                    <a:pt x="138" y="142"/>
                    <a:pt x="138"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1"/>
                    <a:pt x="139" y="141"/>
                    <a:pt x="139"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0"/>
                    <a:pt x="140" y="140"/>
                    <a:pt x="140"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39"/>
                    <a:pt x="141" y="139"/>
                    <a:pt x="141"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7"/>
                    <a:pt x="143" y="137"/>
                    <a:pt x="143"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6"/>
                    <a:pt x="144" y="136"/>
                    <a:pt x="144"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5"/>
                    <a:pt x="145" y="135"/>
                    <a:pt x="145" y="135"/>
                  </a:cubicBezTo>
                  <a:cubicBezTo>
                    <a:pt x="146" y="135"/>
                    <a:pt x="146" y="135"/>
                    <a:pt x="146" y="135"/>
                  </a:cubicBezTo>
                  <a:cubicBezTo>
                    <a:pt x="152" y="129"/>
                    <a:pt x="152" y="129"/>
                    <a:pt x="152" y="129"/>
                  </a:cubicBezTo>
                  <a:close/>
                  <a:moveTo>
                    <a:pt x="152" y="199"/>
                  </a:moveTo>
                  <a:cubicBezTo>
                    <a:pt x="152" y="232"/>
                    <a:pt x="152" y="232"/>
                    <a:pt x="152" y="232"/>
                  </a:cubicBezTo>
                  <a:cubicBezTo>
                    <a:pt x="147" y="227"/>
                    <a:pt x="147" y="227"/>
                    <a:pt x="147" y="227"/>
                  </a:cubicBezTo>
                  <a:cubicBezTo>
                    <a:pt x="138" y="235"/>
                    <a:pt x="138" y="235"/>
                    <a:pt x="138" y="235"/>
                  </a:cubicBezTo>
                  <a:cubicBezTo>
                    <a:pt x="138" y="214"/>
                    <a:pt x="138" y="214"/>
                    <a:pt x="138" y="214"/>
                  </a:cubicBezTo>
                  <a:cubicBezTo>
                    <a:pt x="148" y="204"/>
                    <a:pt x="148" y="204"/>
                    <a:pt x="148" y="204"/>
                  </a:cubicBezTo>
                  <a:cubicBezTo>
                    <a:pt x="148" y="204"/>
                    <a:pt x="148" y="204"/>
                    <a:pt x="148" y="204"/>
                  </a:cubicBezTo>
                  <a:cubicBezTo>
                    <a:pt x="148" y="204"/>
                    <a:pt x="148" y="204"/>
                    <a:pt x="148" y="204"/>
                  </a:cubicBezTo>
                  <a:cubicBezTo>
                    <a:pt x="148" y="203"/>
                    <a:pt x="148" y="203"/>
                    <a:pt x="148"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2"/>
                    <a:pt x="149" y="202"/>
                    <a:pt x="149"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1"/>
                    <a:pt x="150" y="201"/>
                    <a:pt x="150"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0"/>
                    <a:pt x="151" y="200"/>
                    <a:pt x="151" y="200"/>
                  </a:cubicBezTo>
                  <a:cubicBezTo>
                    <a:pt x="151" y="200"/>
                    <a:pt x="151" y="200"/>
                    <a:pt x="151"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lnTo>
                    <a:pt x="152" y="199"/>
                  </a:lnTo>
                  <a:close/>
                  <a:moveTo>
                    <a:pt x="138" y="267"/>
                  </a:moveTo>
                  <a:cubicBezTo>
                    <a:pt x="127" y="255"/>
                    <a:pt x="127" y="255"/>
                    <a:pt x="127" y="255"/>
                  </a:cubicBezTo>
                  <a:cubicBezTo>
                    <a:pt x="127" y="225"/>
                    <a:pt x="127" y="225"/>
                    <a:pt x="127" y="225"/>
                  </a:cubicBezTo>
                  <a:cubicBezTo>
                    <a:pt x="138" y="214"/>
                    <a:pt x="138" y="214"/>
                    <a:pt x="138" y="214"/>
                  </a:cubicBezTo>
                  <a:cubicBezTo>
                    <a:pt x="138" y="235"/>
                    <a:pt x="138" y="235"/>
                    <a:pt x="138" y="235"/>
                  </a:cubicBezTo>
                  <a:cubicBezTo>
                    <a:pt x="136" y="237"/>
                    <a:pt x="136" y="237"/>
                    <a:pt x="136" y="237"/>
                  </a:cubicBezTo>
                  <a:cubicBezTo>
                    <a:pt x="138" y="238"/>
                    <a:pt x="138" y="238"/>
                    <a:pt x="138" y="238"/>
                  </a:cubicBezTo>
                  <a:cubicBezTo>
                    <a:pt x="138" y="267"/>
                    <a:pt x="138" y="267"/>
                    <a:pt x="138" y="267"/>
                  </a:cubicBezTo>
                  <a:close/>
                  <a:moveTo>
                    <a:pt x="127" y="3"/>
                  </a:moveTo>
                  <a:cubicBezTo>
                    <a:pt x="129" y="0"/>
                    <a:pt x="129" y="0"/>
                    <a:pt x="129" y="0"/>
                  </a:cubicBezTo>
                  <a:cubicBezTo>
                    <a:pt x="138" y="9"/>
                    <a:pt x="138" y="9"/>
                    <a:pt x="138" y="9"/>
                  </a:cubicBezTo>
                  <a:cubicBezTo>
                    <a:pt x="138" y="37"/>
                    <a:pt x="138" y="37"/>
                    <a:pt x="138" y="37"/>
                  </a:cubicBezTo>
                  <a:cubicBezTo>
                    <a:pt x="131" y="30"/>
                    <a:pt x="131" y="30"/>
                    <a:pt x="131" y="30"/>
                  </a:cubicBezTo>
                  <a:cubicBezTo>
                    <a:pt x="127" y="34"/>
                    <a:pt x="127" y="34"/>
                    <a:pt x="127" y="34"/>
                  </a:cubicBezTo>
                  <a:cubicBezTo>
                    <a:pt x="127" y="3"/>
                    <a:pt x="127" y="3"/>
                    <a:pt x="127" y="3"/>
                  </a:cubicBezTo>
                  <a:close/>
                  <a:moveTo>
                    <a:pt x="138" y="58"/>
                  </a:moveTo>
                  <a:cubicBezTo>
                    <a:pt x="138" y="94"/>
                    <a:pt x="138" y="94"/>
                    <a:pt x="138" y="94"/>
                  </a:cubicBezTo>
                  <a:cubicBezTo>
                    <a:pt x="138" y="94"/>
                    <a:pt x="138" y="94"/>
                    <a:pt x="138" y="94"/>
                  </a:cubicBezTo>
                  <a:cubicBezTo>
                    <a:pt x="138" y="94"/>
                    <a:pt x="138" y="94"/>
                    <a:pt x="138" y="94"/>
                  </a:cubicBezTo>
                  <a:cubicBezTo>
                    <a:pt x="138" y="94"/>
                    <a:pt x="138" y="94"/>
                    <a:pt x="138" y="94"/>
                  </a:cubicBezTo>
                  <a:cubicBezTo>
                    <a:pt x="138" y="94"/>
                    <a:pt x="138" y="94"/>
                    <a:pt x="138" y="94"/>
                  </a:cubicBezTo>
                  <a:cubicBezTo>
                    <a:pt x="137" y="94"/>
                    <a:pt x="137" y="94"/>
                    <a:pt x="137" y="94"/>
                  </a:cubicBezTo>
                  <a:cubicBezTo>
                    <a:pt x="137" y="94"/>
                    <a:pt x="137" y="94"/>
                    <a:pt x="137" y="94"/>
                  </a:cubicBezTo>
                  <a:cubicBezTo>
                    <a:pt x="137" y="94"/>
                    <a:pt x="137" y="94"/>
                    <a:pt x="137" y="94"/>
                  </a:cubicBezTo>
                  <a:cubicBezTo>
                    <a:pt x="137" y="95"/>
                    <a:pt x="137" y="95"/>
                    <a:pt x="137" y="95"/>
                  </a:cubicBezTo>
                  <a:cubicBezTo>
                    <a:pt x="137" y="95"/>
                    <a:pt x="137" y="95"/>
                    <a:pt x="137" y="95"/>
                  </a:cubicBezTo>
                  <a:cubicBezTo>
                    <a:pt x="137" y="95"/>
                    <a:pt x="137" y="95"/>
                    <a:pt x="137" y="95"/>
                  </a:cubicBezTo>
                  <a:cubicBezTo>
                    <a:pt x="137" y="95"/>
                    <a:pt x="137" y="95"/>
                    <a:pt x="137" y="95"/>
                  </a:cubicBezTo>
                  <a:cubicBezTo>
                    <a:pt x="136" y="95"/>
                    <a:pt x="136" y="95"/>
                    <a:pt x="136" y="95"/>
                  </a:cubicBezTo>
                  <a:cubicBezTo>
                    <a:pt x="136" y="95"/>
                    <a:pt x="136" y="95"/>
                    <a:pt x="136" y="95"/>
                  </a:cubicBezTo>
                  <a:cubicBezTo>
                    <a:pt x="136" y="95"/>
                    <a:pt x="136" y="95"/>
                    <a:pt x="136" y="95"/>
                  </a:cubicBezTo>
                  <a:cubicBezTo>
                    <a:pt x="136" y="96"/>
                    <a:pt x="136" y="96"/>
                    <a:pt x="136" y="96"/>
                  </a:cubicBezTo>
                  <a:cubicBezTo>
                    <a:pt x="136" y="96"/>
                    <a:pt x="136" y="96"/>
                    <a:pt x="136" y="96"/>
                  </a:cubicBezTo>
                  <a:cubicBezTo>
                    <a:pt x="136" y="96"/>
                    <a:pt x="136" y="96"/>
                    <a:pt x="136" y="96"/>
                  </a:cubicBezTo>
                  <a:cubicBezTo>
                    <a:pt x="136" y="96"/>
                    <a:pt x="136" y="96"/>
                    <a:pt x="136" y="96"/>
                  </a:cubicBezTo>
                  <a:cubicBezTo>
                    <a:pt x="135" y="96"/>
                    <a:pt x="135" y="96"/>
                    <a:pt x="135" y="96"/>
                  </a:cubicBezTo>
                  <a:cubicBezTo>
                    <a:pt x="135" y="96"/>
                    <a:pt x="135" y="96"/>
                    <a:pt x="135" y="96"/>
                  </a:cubicBezTo>
                  <a:cubicBezTo>
                    <a:pt x="135" y="96"/>
                    <a:pt x="135" y="96"/>
                    <a:pt x="135" y="96"/>
                  </a:cubicBezTo>
                  <a:cubicBezTo>
                    <a:pt x="135" y="96"/>
                    <a:pt x="135" y="96"/>
                    <a:pt x="135" y="96"/>
                  </a:cubicBezTo>
                  <a:cubicBezTo>
                    <a:pt x="135" y="97"/>
                    <a:pt x="135" y="97"/>
                    <a:pt x="135" y="97"/>
                  </a:cubicBezTo>
                  <a:cubicBezTo>
                    <a:pt x="135" y="97"/>
                    <a:pt x="135" y="97"/>
                    <a:pt x="135" y="97"/>
                  </a:cubicBezTo>
                  <a:cubicBezTo>
                    <a:pt x="135" y="97"/>
                    <a:pt x="135" y="97"/>
                    <a:pt x="135" y="97"/>
                  </a:cubicBezTo>
                  <a:cubicBezTo>
                    <a:pt x="135" y="97"/>
                    <a:pt x="135" y="97"/>
                    <a:pt x="135" y="97"/>
                  </a:cubicBezTo>
                  <a:cubicBezTo>
                    <a:pt x="134" y="97"/>
                    <a:pt x="134" y="97"/>
                    <a:pt x="134" y="97"/>
                  </a:cubicBezTo>
                  <a:cubicBezTo>
                    <a:pt x="134" y="97"/>
                    <a:pt x="134" y="97"/>
                    <a:pt x="134" y="97"/>
                  </a:cubicBezTo>
                  <a:cubicBezTo>
                    <a:pt x="134" y="97"/>
                    <a:pt x="134" y="97"/>
                    <a:pt x="134" y="97"/>
                  </a:cubicBezTo>
                  <a:cubicBezTo>
                    <a:pt x="134" y="97"/>
                    <a:pt x="134" y="97"/>
                    <a:pt x="134" y="97"/>
                  </a:cubicBezTo>
                  <a:cubicBezTo>
                    <a:pt x="134" y="98"/>
                    <a:pt x="134" y="98"/>
                    <a:pt x="134" y="98"/>
                  </a:cubicBezTo>
                  <a:cubicBezTo>
                    <a:pt x="134" y="98"/>
                    <a:pt x="134" y="98"/>
                    <a:pt x="134" y="98"/>
                  </a:cubicBezTo>
                  <a:cubicBezTo>
                    <a:pt x="134" y="98"/>
                    <a:pt x="134" y="98"/>
                    <a:pt x="134" y="98"/>
                  </a:cubicBezTo>
                  <a:cubicBezTo>
                    <a:pt x="133" y="98"/>
                    <a:pt x="133" y="98"/>
                    <a:pt x="133" y="98"/>
                  </a:cubicBezTo>
                  <a:cubicBezTo>
                    <a:pt x="127" y="105"/>
                    <a:pt x="127" y="105"/>
                    <a:pt x="127" y="105"/>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2"/>
                    <a:pt x="127" y="82"/>
                    <a:pt x="127"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1"/>
                    <a:pt x="128" y="81"/>
                    <a:pt x="128"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0"/>
                    <a:pt x="129" y="80"/>
                    <a:pt x="129"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79"/>
                    <a:pt x="130" y="79"/>
                    <a:pt x="130" y="79"/>
                  </a:cubicBezTo>
                  <a:cubicBezTo>
                    <a:pt x="130" y="79"/>
                    <a:pt x="130" y="79"/>
                    <a:pt x="130"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3" y="77"/>
                    <a:pt x="133" y="77"/>
                    <a:pt x="133" y="77"/>
                  </a:cubicBezTo>
                  <a:cubicBezTo>
                    <a:pt x="133" y="77"/>
                    <a:pt x="133" y="77"/>
                    <a:pt x="133" y="77"/>
                  </a:cubicBezTo>
                  <a:cubicBezTo>
                    <a:pt x="133" y="77"/>
                    <a:pt x="133" y="77"/>
                    <a:pt x="133" y="77"/>
                  </a:cubicBezTo>
                  <a:cubicBezTo>
                    <a:pt x="127" y="71"/>
                    <a:pt x="127" y="71"/>
                    <a:pt x="127" y="71"/>
                  </a:cubicBezTo>
                  <a:cubicBezTo>
                    <a:pt x="127" y="46"/>
                    <a:pt x="127" y="46"/>
                    <a:pt x="127" y="46"/>
                  </a:cubicBezTo>
                  <a:cubicBezTo>
                    <a:pt x="138" y="58"/>
                    <a:pt x="138" y="58"/>
                    <a:pt x="138" y="58"/>
                  </a:cubicBezTo>
                  <a:close/>
                  <a:moveTo>
                    <a:pt x="138" y="143"/>
                  </a:moveTo>
                  <a:cubicBezTo>
                    <a:pt x="138" y="173"/>
                    <a:pt x="138" y="173"/>
                    <a:pt x="138" y="173"/>
                  </a:cubicBezTo>
                  <a:cubicBezTo>
                    <a:pt x="134" y="168"/>
                    <a:pt x="134" y="168"/>
                    <a:pt x="134" y="168"/>
                  </a:cubicBezTo>
                  <a:cubicBezTo>
                    <a:pt x="134" y="169"/>
                    <a:pt x="134" y="169"/>
                    <a:pt x="134" y="169"/>
                  </a:cubicBezTo>
                  <a:cubicBezTo>
                    <a:pt x="134" y="169"/>
                    <a:pt x="134" y="169"/>
                    <a:pt x="134"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70"/>
                    <a:pt x="133" y="170"/>
                    <a:pt x="133" y="170"/>
                  </a:cubicBezTo>
                  <a:cubicBezTo>
                    <a:pt x="133" y="170"/>
                    <a:pt x="133" y="170"/>
                    <a:pt x="133"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1"/>
                    <a:pt x="132" y="171"/>
                    <a:pt x="132" y="171"/>
                  </a:cubicBezTo>
                  <a:cubicBezTo>
                    <a:pt x="132" y="171"/>
                    <a:pt x="132" y="171"/>
                    <a:pt x="132" y="171"/>
                  </a:cubicBezTo>
                  <a:cubicBezTo>
                    <a:pt x="132" y="171"/>
                    <a:pt x="132" y="171"/>
                    <a:pt x="132"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2"/>
                    <a:pt x="131" y="172"/>
                    <a:pt x="131" y="172"/>
                  </a:cubicBezTo>
                  <a:cubicBezTo>
                    <a:pt x="131" y="172"/>
                    <a:pt x="131" y="172"/>
                    <a:pt x="131" y="172"/>
                  </a:cubicBezTo>
                  <a:cubicBezTo>
                    <a:pt x="131" y="172"/>
                    <a:pt x="131" y="172"/>
                    <a:pt x="131"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3"/>
                    <a:pt x="130" y="173"/>
                    <a:pt x="130" y="173"/>
                  </a:cubicBezTo>
                  <a:cubicBezTo>
                    <a:pt x="130" y="173"/>
                    <a:pt x="130" y="173"/>
                    <a:pt x="130" y="173"/>
                  </a:cubicBezTo>
                  <a:cubicBezTo>
                    <a:pt x="130" y="173"/>
                    <a:pt x="130" y="173"/>
                    <a:pt x="130"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4"/>
                    <a:pt x="129" y="174"/>
                    <a:pt x="129" y="174"/>
                  </a:cubicBezTo>
                  <a:cubicBezTo>
                    <a:pt x="129" y="174"/>
                    <a:pt x="129" y="174"/>
                    <a:pt x="129" y="174"/>
                  </a:cubicBezTo>
                  <a:cubicBezTo>
                    <a:pt x="129" y="174"/>
                    <a:pt x="129" y="174"/>
                    <a:pt x="129"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5"/>
                    <a:pt x="128" y="175"/>
                    <a:pt x="128" y="175"/>
                  </a:cubicBezTo>
                  <a:cubicBezTo>
                    <a:pt x="128" y="175"/>
                    <a:pt x="128" y="175"/>
                    <a:pt x="128"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6"/>
                    <a:pt x="127" y="176"/>
                    <a:pt x="127" y="176"/>
                  </a:cubicBezTo>
                  <a:cubicBezTo>
                    <a:pt x="127" y="137"/>
                    <a:pt x="127" y="137"/>
                    <a:pt x="127" y="137"/>
                  </a:cubicBezTo>
                  <a:cubicBezTo>
                    <a:pt x="135" y="145"/>
                    <a:pt x="135" y="145"/>
                    <a:pt x="135"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3"/>
                    <a:pt x="137" y="143"/>
                    <a:pt x="137" y="143"/>
                  </a:cubicBezTo>
                  <a:cubicBezTo>
                    <a:pt x="138" y="143"/>
                    <a:pt x="138" y="143"/>
                    <a:pt x="138" y="143"/>
                  </a:cubicBezTo>
                  <a:cubicBezTo>
                    <a:pt x="138" y="143"/>
                    <a:pt x="138" y="143"/>
                    <a:pt x="138" y="143"/>
                  </a:cubicBezTo>
                  <a:cubicBezTo>
                    <a:pt x="138" y="143"/>
                    <a:pt x="138" y="143"/>
                    <a:pt x="138" y="143"/>
                  </a:cubicBezTo>
                  <a:close/>
                  <a:moveTo>
                    <a:pt x="127" y="255"/>
                  </a:moveTo>
                  <a:cubicBezTo>
                    <a:pt x="117" y="245"/>
                    <a:pt x="117" y="245"/>
                    <a:pt x="117" y="245"/>
                  </a:cubicBezTo>
                  <a:cubicBezTo>
                    <a:pt x="117" y="217"/>
                    <a:pt x="117" y="217"/>
                    <a:pt x="117" y="217"/>
                  </a:cubicBezTo>
                  <a:cubicBezTo>
                    <a:pt x="126" y="226"/>
                    <a:pt x="126" y="226"/>
                    <a:pt x="126" y="226"/>
                  </a:cubicBezTo>
                  <a:cubicBezTo>
                    <a:pt x="127" y="225"/>
                    <a:pt x="127" y="225"/>
                    <a:pt x="127" y="225"/>
                  </a:cubicBezTo>
                  <a:cubicBezTo>
                    <a:pt x="127" y="255"/>
                    <a:pt x="127" y="255"/>
                    <a:pt x="127" y="255"/>
                  </a:cubicBezTo>
                  <a:close/>
                  <a:moveTo>
                    <a:pt x="117" y="12"/>
                  </a:moveTo>
                  <a:cubicBezTo>
                    <a:pt x="127" y="3"/>
                    <a:pt x="127" y="3"/>
                    <a:pt x="127" y="3"/>
                  </a:cubicBezTo>
                  <a:cubicBezTo>
                    <a:pt x="127" y="34"/>
                    <a:pt x="127" y="34"/>
                    <a:pt x="127" y="34"/>
                  </a:cubicBezTo>
                  <a:cubicBezTo>
                    <a:pt x="120" y="40"/>
                    <a:pt x="120" y="40"/>
                    <a:pt x="120" y="40"/>
                  </a:cubicBezTo>
                  <a:cubicBezTo>
                    <a:pt x="127" y="46"/>
                    <a:pt x="127" y="46"/>
                    <a:pt x="127" y="46"/>
                  </a:cubicBezTo>
                  <a:cubicBezTo>
                    <a:pt x="127" y="71"/>
                    <a:pt x="127" y="71"/>
                    <a:pt x="127" y="71"/>
                  </a:cubicBezTo>
                  <a:cubicBezTo>
                    <a:pt x="117" y="61"/>
                    <a:pt x="117" y="61"/>
                    <a:pt x="117" y="61"/>
                  </a:cubicBezTo>
                  <a:cubicBezTo>
                    <a:pt x="117" y="12"/>
                    <a:pt x="117" y="12"/>
                    <a:pt x="117" y="12"/>
                  </a:cubicBezTo>
                  <a:close/>
                  <a:moveTo>
                    <a:pt x="127" y="83"/>
                  </a:moveTo>
                  <a:cubicBezTo>
                    <a:pt x="127" y="105"/>
                    <a:pt x="127" y="105"/>
                    <a:pt x="127" y="105"/>
                  </a:cubicBezTo>
                  <a:cubicBezTo>
                    <a:pt x="121" y="110"/>
                    <a:pt x="121" y="110"/>
                    <a:pt x="121" y="110"/>
                  </a:cubicBezTo>
                  <a:cubicBezTo>
                    <a:pt x="121" y="111"/>
                    <a:pt x="121" y="111"/>
                    <a:pt x="121" y="111"/>
                  </a:cubicBezTo>
                  <a:cubicBezTo>
                    <a:pt x="121" y="111"/>
                    <a:pt x="121" y="111"/>
                    <a:pt x="121" y="111"/>
                  </a:cubicBezTo>
                  <a:cubicBezTo>
                    <a:pt x="120" y="111"/>
                    <a:pt x="120" y="111"/>
                    <a:pt x="120" y="111"/>
                  </a:cubicBezTo>
                  <a:cubicBezTo>
                    <a:pt x="120" y="111"/>
                    <a:pt x="120" y="111"/>
                    <a:pt x="120" y="111"/>
                  </a:cubicBezTo>
                  <a:cubicBezTo>
                    <a:pt x="120" y="111"/>
                    <a:pt x="120" y="111"/>
                    <a:pt x="120" y="111"/>
                  </a:cubicBezTo>
                  <a:cubicBezTo>
                    <a:pt x="120" y="111"/>
                    <a:pt x="120" y="111"/>
                    <a:pt x="120" y="111"/>
                  </a:cubicBezTo>
                  <a:cubicBezTo>
                    <a:pt x="120" y="112"/>
                    <a:pt x="120" y="112"/>
                    <a:pt x="120" y="112"/>
                  </a:cubicBezTo>
                  <a:cubicBezTo>
                    <a:pt x="120" y="112"/>
                    <a:pt x="120" y="112"/>
                    <a:pt x="120" y="112"/>
                  </a:cubicBezTo>
                  <a:cubicBezTo>
                    <a:pt x="119" y="112"/>
                    <a:pt x="119" y="112"/>
                    <a:pt x="119" y="112"/>
                  </a:cubicBezTo>
                  <a:cubicBezTo>
                    <a:pt x="119" y="112"/>
                    <a:pt x="119" y="112"/>
                    <a:pt x="119" y="112"/>
                  </a:cubicBezTo>
                  <a:cubicBezTo>
                    <a:pt x="119" y="112"/>
                    <a:pt x="119" y="112"/>
                    <a:pt x="119" y="112"/>
                  </a:cubicBezTo>
                  <a:cubicBezTo>
                    <a:pt x="119" y="112"/>
                    <a:pt x="119" y="112"/>
                    <a:pt x="119" y="112"/>
                  </a:cubicBezTo>
                  <a:cubicBezTo>
                    <a:pt x="119" y="113"/>
                    <a:pt x="119" y="113"/>
                    <a:pt x="119" y="113"/>
                  </a:cubicBezTo>
                  <a:cubicBezTo>
                    <a:pt x="119" y="113"/>
                    <a:pt x="119" y="113"/>
                    <a:pt x="119"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4"/>
                    <a:pt x="118" y="114"/>
                    <a:pt x="118" y="114"/>
                  </a:cubicBezTo>
                  <a:cubicBezTo>
                    <a:pt x="118" y="114"/>
                    <a:pt x="118" y="114"/>
                    <a:pt x="118" y="114"/>
                  </a:cubicBezTo>
                  <a:cubicBezTo>
                    <a:pt x="117" y="114"/>
                    <a:pt x="117" y="114"/>
                    <a:pt x="117" y="114"/>
                  </a:cubicBezTo>
                  <a:cubicBezTo>
                    <a:pt x="117" y="114"/>
                    <a:pt x="117" y="114"/>
                    <a:pt x="117" y="114"/>
                  </a:cubicBezTo>
                  <a:cubicBezTo>
                    <a:pt x="117" y="114"/>
                    <a:pt x="117" y="114"/>
                    <a:pt x="117" y="114"/>
                  </a:cubicBezTo>
                  <a:cubicBezTo>
                    <a:pt x="117" y="114"/>
                    <a:pt x="117" y="114"/>
                    <a:pt x="117" y="114"/>
                  </a:cubicBezTo>
                  <a:cubicBezTo>
                    <a:pt x="117" y="93"/>
                    <a:pt x="117" y="93"/>
                    <a:pt x="117" y="93"/>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6"/>
                    <a:pt x="123" y="86"/>
                    <a:pt x="123"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5"/>
                    <a:pt x="124" y="85"/>
                    <a:pt x="124"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4"/>
                    <a:pt x="125" y="84"/>
                    <a:pt x="125"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3"/>
                    <a:pt x="126" y="83"/>
                    <a:pt x="126" y="83"/>
                  </a:cubicBezTo>
                  <a:cubicBezTo>
                    <a:pt x="127" y="83"/>
                    <a:pt x="127" y="83"/>
                    <a:pt x="127" y="83"/>
                  </a:cubicBezTo>
                  <a:cubicBezTo>
                    <a:pt x="127" y="83"/>
                    <a:pt x="127" y="83"/>
                    <a:pt x="127" y="83"/>
                  </a:cubicBezTo>
                  <a:close/>
                  <a:moveTo>
                    <a:pt x="127" y="137"/>
                  </a:moveTo>
                  <a:cubicBezTo>
                    <a:pt x="127" y="176"/>
                    <a:pt x="127" y="176"/>
                    <a:pt x="127" y="176"/>
                  </a:cubicBezTo>
                  <a:cubicBezTo>
                    <a:pt x="127" y="176"/>
                    <a:pt x="127" y="176"/>
                    <a:pt x="127" y="176"/>
                  </a:cubicBezTo>
                  <a:cubicBezTo>
                    <a:pt x="127" y="176"/>
                    <a:pt x="127" y="176"/>
                    <a:pt x="127"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7"/>
                    <a:pt x="126" y="177"/>
                    <a:pt x="126" y="177"/>
                  </a:cubicBezTo>
                  <a:cubicBezTo>
                    <a:pt x="126" y="177"/>
                    <a:pt x="126" y="177"/>
                    <a:pt x="126" y="177"/>
                  </a:cubicBezTo>
                  <a:cubicBezTo>
                    <a:pt x="126" y="177"/>
                    <a:pt x="126" y="177"/>
                    <a:pt x="126"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8"/>
                    <a:pt x="125" y="178"/>
                    <a:pt x="125" y="178"/>
                  </a:cubicBezTo>
                  <a:cubicBezTo>
                    <a:pt x="125" y="178"/>
                    <a:pt x="125" y="178"/>
                    <a:pt x="125" y="178"/>
                  </a:cubicBezTo>
                  <a:cubicBezTo>
                    <a:pt x="125" y="178"/>
                    <a:pt x="125" y="178"/>
                    <a:pt x="125"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9"/>
                    <a:pt x="124" y="179"/>
                    <a:pt x="124" y="179"/>
                  </a:cubicBezTo>
                  <a:cubicBezTo>
                    <a:pt x="124" y="179"/>
                    <a:pt x="124" y="179"/>
                    <a:pt x="124" y="179"/>
                  </a:cubicBezTo>
                  <a:cubicBezTo>
                    <a:pt x="123" y="179"/>
                    <a:pt x="123" y="179"/>
                    <a:pt x="123" y="179"/>
                  </a:cubicBezTo>
                  <a:cubicBezTo>
                    <a:pt x="117" y="185"/>
                    <a:pt x="117" y="185"/>
                    <a:pt x="117" y="185"/>
                  </a:cubicBezTo>
                  <a:cubicBezTo>
                    <a:pt x="117" y="164"/>
                    <a:pt x="117" y="164"/>
                    <a:pt x="117" y="164"/>
                  </a:cubicBezTo>
                  <a:cubicBezTo>
                    <a:pt x="123" y="158"/>
                    <a:pt x="123" y="158"/>
                    <a:pt x="123" y="158"/>
                  </a:cubicBezTo>
                  <a:cubicBezTo>
                    <a:pt x="117" y="151"/>
                    <a:pt x="117" y="151"/>
                    <a:pt x="117" y="151"/>
                  </a:cubicBezTo>
                  <a:cubicBezTo>
                    <a:pt x="117" y="127"/>
                    <a:pt x="117" y="127"/>
                    <a:pt x="117" y="127"/>
                  </a:cubicBezTo>
                  <a:lnTo>
                    <a:pt x="127" y="137"/>
                  </a:lnTo>
                  <a:close/>
                  <a:moveTo>
                    <a:pt x="117" y="245"/>
                  </a:moveTo>
                  <a:cubicBezTo>
                    <a:pt x="106" y="234"/>
                    <a:pt x="106" y="234"/>
                    <a:pt x="106" y="234"/>
                  </a:cubicBezTo>
                  <a:cubicBezTo>
                    <a:pt x="106" y="206"/>
                    <a:pt x="106" y="206"/>
                    <a:pt x="106" y="206"/>
                  </a:cubicBezTo>
                  <a:cubicBezTo>
                    <a:pt x="117" y="217"/>
                    <a:pt x="117" y="217"/>
                    <a:pt x="117" y="217"/>
                  </a:cubicBezTo>
                  <a:cubicBezTo>
                    <a:pt x="117" y="245"/>
                    <a:pt x="117" y="245"/>
                    <a:pt x="117" y="245"/>
                  </a:cubicBezTo>
                  <a:close/>
                  <a:moveTo>
                    <a:pt x="106" y="24"/>
                  </a:moveTo>
                  <a:cubicBezTo>
                    <a:pt x="117" y="12"/>
                    <a:pt x="117" y="12"/>
                    <a:pt x="117" y="12"/>
                  </a:cubicBezTo>
                  <a:cubicBezTo>
                    <a:pt x="117" y="61"/>
                    <a:pt x="117" y="61"/>
                    <a:pt x="117" y="61"/>
                  </a:cubicBezTo>
                  <a:cubicBezTo>
                    <a:pt x="108" y="52"/>
                    <a:pt x="108" y="52"/>
                    <a:pt x="108" y="52"/>
                  </a:cubicBezTo>
                  <a:cubicBezTo>
                    <a:pt x="108" y="52"/>
                    <a:pt x="108" y="52"/>
                    <a:pt x="108" y="52"/>
                  </a:cubicBezTo>
                  <a:cubicBezTo>
                    <a:pt x="108" y="52"/>
                    <a:pt x="108" y="52"/>
                    <a:pt x="108" y="52"/>
                  </a:cubicBezTo>
                  <a:cubicBezTo>
                    <a:pt x="108" y="53"/>
                    <a:pt x="108" y="53"/>
                    <a:pt x="108" y="53"/>
                  </a:cubicBezTo>
                  <a:cubicBezTo>
                    <a:pt x="108" y="53"/>
                    <a:pt x="108" y="53"/>
                    <a:pt x="108"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4"/>
                    <a:pt x="107" y="54"/>
                    <a:pt x="107" y="54"/>
                  </a:cubicBezTo>
                  <a:cubicBezTo>
                    <a:pt x="107" y="54"/>
                    <a:pt x="107" y="54"/>
                    <a:pt x="107" y="54"/>
                  </a:cubicBezTo>
                  <a:cubicBezTo>
                    <a:pt x="106" y="54"/>
                    <a:pt x="106" y="54"/>
                    <a:pt x="106" y="54"/>
                  </a:cubicBezTo>
                  <a:cubicBezTo>
                    <a:pt x="106" y="54"/>
                    <a:pt x="106" y="54"/>
                    <a:pt x="106" y="54"/>
                  </a:cubicBezTo>
                  <a:cubicBezTo>
                    <a:pt x="106" y="54"/>
                    <a:pt x="106" y="54"/>
                    <a:pt x="106" y="54"/>
                  </a:cubicBezTo>
                  <a:cubicBezTo>
                    <a:pt x="106" y="54"/>
                    <a:pt x="106" y="54"/>
                    <a:pt x="106" y="54"/>
                  </a:cubicBezTo>
                  <a:cubicBezTo>
                    <a:pt x="106" y="55"/>
                    <a:pt x="106" y="55"/>
                    <a:pt x="106" y="55"/>
                  </a:cubicBezTo>
                  <a:cubicBezTo>
                    <a:pt x="106" y="55"/>
                    <a:pt x="106" y="55"/>
                    <a:pt x="106" y="55"/>
                  </a:cubicBezTo>
                  <a:cubicBezTo>
                    <a:pt x="106" y="55"/>
                    <a:pt x="106" y="55"/>
                    <a:pt x="106" y="55"/>
                  </a:cubicBezTo>
                  <a:cubicBezTo>
                    <a:pt x="106" y="55"/>
                    <a:pt x="106" y="55"/>
                    <a:pt x="106" y="55"/>
                  </a:cubicBezTo>
                  <a:cubicBezTo>
                    <a:pt x="106" y="24"/>
                    <a:pt x="106" y="24"/>
                    <a:pt x="106" y="24"/>
                  </a:cubicBezTo>
                  <a:close/>
                  <a:moveTo>
                    <a:pt x="117" y="93"/>
                  </a:moveTo>
                  <a:cubicBezTo>
                    <a:pt x="117" y="114"/>
                    <a:pt x="117" y="114"/>
                    <a:pt x="117" y="114"/>
                  </a:cubicBezTo>
                  <a:cubicBezTo>
                    <a:pt x="117" y="114"/>
                    <a:pt x="117" y="114"/>
                    <a:pt x="117" y="114"/>
                  </a:cubicBezTo>
                  <a:cubicBezTo>
                    <a:pt x="117" y="115"/>
                    <a:pt x="117" y="115"/>
                    <a:pt x="117" y="115"/>
                  </a:cubicBezTo>
                  <a:cubicBezTo>
                    <a:pt x="117" y="115"/>
                    <a:pt x="117" y="115"/>
                    <a:pt x="117" y="115"/>
                  </a:cubicBezTo>
                  <a:cubicBezTo>
                    <a:pt x="116" y="115"/>
                    <a:pt x="116" y="115"/>
                    <a:pt x="116" y="115"/>
                  </a:cubicBezTo>
                  <a:cubicBezTo>
                    <a:pt x="116" y="115"/>
                    <a:pt x="116" y="115"/>
                    <a:pt x="116" y="115"/>
                  </a:cubicBezTo>
                  <a:cubicBezTo>
                    <a:pt x="116" y="115"/>
                    <a:pt x="116" y="115"/>
                    <a:pt x="116" y="115"/>
                  </a:cubicBezTo>
                  <a:cubicBezTo>
                    <a:pt x="116" y="115"/>
                    <a:pt x="116" y="115"/>
                    <a:pt x="116" y="115"/>
                  </a:cubicBezTo>
                  <a:cubicBezTo>
                    <a:pt x="116" y="116"/>
                    <a:pt x="116" y="116"/>
                    <a:pt x="116" y="116"/>
                  </a:cubicBezTo>
                  <a:cubicBezTo>
                    <a:pt x="116" y="116"/>
                    <a:pt x="116" y="116"/>
                    <a:pt x="116"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7"/>
                    <a:pt x="115" y="117"/>
                    <a:pt x="115" y="117"/>
                  </a:cubicBezTo>
                  <a:cubicBezTo>
                    <a:pt x="115" y="117"/>
                    <a:pt x="115" y="117"/>
                    <a:pt x="115" y="117"/>
                  </a:cubicBezTo>
                  <a:cubicBezTo>
                    <a:pt x="114" y="117"/>
                    <a:pt x="114" y="117"/>
                    <a:pt x="114" y="117"/>
                  </a:cubicBezTo>
                  <a:cubicBezTo>
                    <a:pt x="114" y="117"/>
                    <a:pt x="114" y="117"/>
                    <a:pt x="114" y="117"/>
                  </a:cubicBezTo>
                  <a:cubicBezTo>
                    <a:pt x="114" y="117"/>
                    <a:pt x="114" y="117"/>
                    <a:pt x="114" y="117"/>
                  </a:cubicBezTo>
                  <a:cubicBezTo>
                    <a:pt x="114" y="117"/>
                    <a:pt x="114" y="117"/>
                    <a:pt x="114" y="117"/>
                  </a:cubicBezTo>
                  <a:cubicBezTo>
                    <a:pt x="114" y="118"/>
                    <a:pt x="114" y="118"/>
                    <a:pt x="114" y="118"/>
                  </a:cubicBezTo>
                  <a:cubicBezTo>
                    <a:pt x="114" y="118"/>
                    <a:pt x="114" y="118"/>
                    <a:pt x="114" y="118"/>
                  </a:cubicBezTo>
                  <a:cubicBezTo>
                    <a:pt x="113" y="118"/>
                    <a:pt x="113" y="118"/>
                    <a:pt x="113" y="118"/>
                  </a:cubicBezTo>
                  <a:cubicBezTo>
                    <a:pt x="113" y="118"/>
                    <a:pt x="113" y="118"/>
                    <a:pt x="113" y="118"/>
                  </a:cubicBezTo>
                  <a:cubicBezTo>
                    <a:pt x="113" y="118"/>
                    <a:pt x="113" y="118"/>
                    <a:pt x="113" y="118"/>
                  </a:cubicBezTo>
                  <a:cubicBezTo>
                    <a:pt x="113" y="118"/>
                    <a:pt x="113" y="118"/>
                    <a:pt x="113" y="118"/>
                  </a:cubicBezTo>
                  <a:cubicBezTo>
                    <a:pt x="113" y="119"/>
                    <a:pt x="113" y="119"/>
                    <a:pt x="113" y="119"/>
                  </a:cubicBezTo>
                  <a:cubicBezTo>
                    <a:pt x="113" y="119"/>
                    <a:pt x="113" y="119"/>
                    <a:pt x="113"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20"/>
                    <a:pt x="112" y="120"/>
                    <a:pt x="112" y="120"/>
                  </a:cubicBezTo>
                  <a:cubicBezTo>
                    <a:pt x="112" y="120"/>
                    <a:pt x="112" y="120"/>
                    <a:pt x="112" y="120"/>
                  </a:cubicBezTo>
                  <a:cubicBezTo>
                    <a:pt x="111" y="120"/>
                    <a:pt x="111" y="120"/>
                    <a:pt x="111" y="120"/>
                  </a:cubicBezTo>
                  <a:cubicBezTo>
                    <a:pt x="111" y="120"/>
                    <a:pt x="111" y="120"/>
                    <a:pt x="111" y="120"/>
                  </a:cubicBezTo>
                  <a:cubicBezTo>
                    <a:pt x="111" y="120"/>
                    <a:pt x="111" y="120"/>
                    <a:pt x="111" y="120"/>
                  </a:cubicBezTo>
                  <a:cubicBezTo>
                    <a:pt x="111" y="120"/>
                    <a:pt x="111" y="120"/>
                    <a:pt x="111" y="120"/>
                  </a:cubicBezTo>
                  <a:cubicBezTo>
                    <a:pt x="111" y="121"/>
                    <a:pt x="111" y="121"/>
                    <a:pt x="111" y="121"/>
                  </a:cubicBezTo>
                  <a:cubicBezTo>
                    <a:pt x="117" y="127"/>
                    <a:pt x="117" y="127"/>
                    <a:pt x="117" y="127"/>
                  </a:cubicBezTo>
                  <a:cubicBezTo>
                    <a:pt x="117" y="151"/>
                    <a:pt x="117" y="151"/>
                    <a:pt x="117" y="151"/>
                  </a:cubicBezTo>
                  <a:cubicBezTo>
                    <a:pt x="106" y="140"/>
                    <a:pt x="106" y="140"/>
                    <a:pt x="106" y="140"/>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3"/>
                    <a:pt x="106" y="103"/>
                    <a:pt x="106" y="103"/>
                  </a:cubicBezTo>
                  <a:cubicBezTo>
                    <a:pt x="106" y="103"/>
                    <a:pt x="106" y="103"/>
                    <a:pt x="106" y="103"/>
                  </a:cubicBezTo>
                  <a:cubicBezTo>
                    <a:pt x="107" y="103"/>
                    <a:pt x="107" y="103"/>
                    <a:pt x="107" y="103"/>
                  </a:cubicBezTo>
                  <a:cubicBezTo>
                    <a:pt x="107" y="103"/>
                    <a:pt x="107" y="103"/>
                    <a:pt x="107" y="103"/>
                  </a:cubicBezTo>
                  <a:cubicBezTo>
                    <a:pt x="107" y="103"/>
                    <a:pt x="107" y="103"/>
                    <a:pt x="107" y="103"/>
                  </a:cubicBezTo>
                  <a:cubicBezTo>
                    <a:pt x="107" y="103"/>
                    <a:pt x="107" y="103"/>
                    <a:pt x="107" y="103"/>
                  </a:cubicBezTo>
                  <a:cubicBezTo>
                    <a:pt x="107" y="102"/>
                    <a:pt x="107" y="102"/>
                    <a:pt x="107" y="102"/>
                  </a:cubicBezTo>
                  <a:cubicBezTo>
                    <a:pt x="107" y="102"/>
                    <a:pt x="107" y="102"/>
                    <a:pt x="107" y="102"/>
                  </a:cubicBezTo>
                  <a:cubicBezTo>
                    <a:pt x="107" y="102"/>
                    <a:pt x="107" y="102"/>
                    <a:pt x="107" y="102"/>
                  </a:cubicBezTo>
                  <a:cubicBezTo>
                    <a:pt x="108" y="102"/>
                    <a:pt x="108" y="102"/>
                    <a:pt x="108" y="102"/>
                  </a:cubicBezTo>
                  <a:cubicBezTo>
                    <a:pt x="108" y="102"/>
                    <a:pt x="108" y="102"/>
                    <a:pt x="108" y="102"/>
                  </a:cubicBezTo>
                  <a:cubicBezTo>
                    <a:pt x="108" y="102"/>
                    <a:pt x="108" y="102"/>
                    <a:pt x="108" y="102"/>
                  </a:cubicBezTo>
                  <a:cubicBezTo>
                    <a:pt x="108" y="102"/>
                    <a:pt x="108" y="102"/>
                    <a:pt x="108" y="102"/>
                  </a:cubicBezTo>
                  <a:cubicBezTo>
                    <a:pt x="108" y="101"/>
                    <a:pt x="108" y="101"/>
                    <a:pt x="108" y="101"/>
                  </a:cubicBezTo>
                  <a:cubicBezTo>
                    <a:pt x="108" y="101"/>
                    <a:pt x="108" y="101"/>
                    <a:pt x="108" y="101"/>
                  </a:cubicBezTo>
                  <a:cubicBezTo>
                    <a:pt x="108" y="101"/>
                    <a:pt x="108" y="101"/>
                    <a:pt x="108"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0"/>
                    <a:pt x="109" y="100"/>
                    <a:pt x="109"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7" y="93"/>
                    <a:pt x="117" y="93"/>
                    <a:pt x="117" y="93"/>
                  </a:cubicBezTo>
                  <a:close/>
                  <a:moveTo>
                    <a:pt x="117" y="164"/>
                  </a:moveTo>
                  <a:cubicBezTo>
                    <a:pt x="117" y="185"/>
                    <a:pt x="117" y="185"/>
                    <a:pt x="117" y="185"/>
                  </a:cubicBezTo>
                  <a:cubicBezTo>
                    <a:pt x="106" y="196"/>
                    <a:pt x="106" y="196"/>
                    <a:pt x="106" y="196"/>
                  </a:cubicBezTo>
                  <a:cubicBezTo>
                    <a:pt x="106" y="161"/>
                    <a:pt x="106" y="161"/>
                    <a:pt x="106" y="161"/>
                  </a:cubicBezTo>
                  <a:cubicBezTo>
                    <a:pt x="113" y="168"/>
                    <a:pt x="113" y="168"/>
                    <a:pt x="113" y="168"/>
                  </a:cubicBezTo>
                  <a:lnTo>
                    <a:pt x="117" y="164"/>
                  </a:lnTo>
                  <a:close/>
                  <a:moveTo>
                    <a:pt x="106" y="234"/>
                  </a:moveTo>
                  <a:cubicBezTo>
                    <a:pt x="94" y="222"/>
                    <a:pt x="94" y="222"/>
                    <a:pt x="94" y="222"/>
                  </a:cubicBezTo>
                  <a:cubicBezTo>
                    <a:pt x="94" y="186"/>
                    <a:pt x="94" y="186"/>
                    <a:pt x="94" y="186"/>
                  </a:cubicBezTo>
                  <a:cubicBezTo>
                    <a:pt x="100" y="180"/>
                    <a:pt x="100" y="180"/>
                    <a:pt x="100" y="180"/>
                  </a:cubicBezTo>
                  <a:cubicBezTo>
                    <a:pt x="94" y="174"/>
                    <a:pt x="94" y="174"/>
                    <a:pt x="94" y="174"/>
                  </a:cubicBezTo>
                  <a:cubicBezTo>
                    <a:pt x="94" y="149"/>
                    <a:pt x="94" y="149"/>
                    <a:pt x="94" y="149"/>
                  </a:cubicBezTo>
                  <a:cubicBezTo>
                    <a:pt x="106" y="161"/>
                    <a:pt x="106" y="161"/>
                    <a:pt x="106" y="161"/>
                  </a:cubicBezTo>
                  <a:cubicBezTo>
                    <a:pt x="106" y="196"/>
                    <a:pt x="106" y="196"/>
                    <a:pt x="106" y="196"/>
                  </a:cubicBezTo>
                  <a:cubicBezTo>
                    <a:pt x="101" y="201"/>
                    <a:pt x="101" y="201"/>
                    <a:pt x="101" y="201"/>
                  </a:cubicBezTo>
                  <a:cubicBezTo>
                    <a:pt x="106" y="206"/>
                    <a:pt x="106" y="206"/>
                    <a:pt x="106" y="206"/>
                  </a:cubicBezTo>
                  <a:cubicBezTo>
                    <a:pt x="106" y="234"/>
                    <a:pt x="106" y="234"/>
                    <a:pt x="106" y="234"/>
                  </a:cubicBezTo>
                  <a:close/>
                  <a:moveTo>
                    <a:pt x="94" y="35"/>
                  </a:moveTo>
                  <a:cubicBezTo>
                    <a:pt x="106" y="24"/>
                    <a:pt x="106" y="24"/>
                    <a:pt x="106" y="24"/>
                  </a:cubicBezTo>
                  <a:cubicBezTo>
                    <a:pt x="106" y="55"/>
                    <a:pt x="106" y="55"/>
                    <a:pt x="106" y="55"/>
                  </a:cubicBezTo>
                  <a:cubicBezTo>
                    <a:pt x="105" y="55"/>
                    <a:pt x="105" y="55"/>
                    <a:pt x="105" y="55"/>
                  </a:cubicBezTo>
                  <a:cubicBezTo>
                    <a:pt x="105" y="55"/>
                    <a:pt x="105" y="55"/>
                    <a:pt x="105" y="55"/>
                  </a:cubicBezTo>
                  <a:cubicBezTo>
                    <a:pt x="105" y="55"/>
                    <a:pt x="105" y="55"/>
                    <a:pt x="105" y="55"/>
                  </a:cubicBezTo>
                  <a:cubicBezTo>
                    <a:pt x="105" y="55"/>
                    <a:pt x="105" y="55"/>
                    <a:pt x="105" y="55"/>
                  </a:cubicBezTo>
                  <a:cubicBezTo>
                    <a:pt x="105" y="56"/>
                    <a:pt x="105" y="56"/>
                    <a:pt x="105" y="56"/>
                  </a:cubicBezTo>
                  <a:cubicBezTo>
                    <a:pt x="105" y="56"/>
                    <a:pt x="105" y="56"/>
                    <a:pt x="105" y="56"/>
                  </a:cubicBezTo>
                  <a:cubicBezTo>
                    <a:pt x="105" y="56"/>
                    <a:pt x="105" y="56"/>
                    <a:pt x="105"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7"/>
                    <a:pt x="104" y="57"/>
                    <a:pt x="104"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8"/>
                    <a:pt x="103" y="58"/>
                    <a:pt x="103" y="58"/>
                  </a:cubicBezTo>
                  <a:cubicBezTo>
                    <a:pt x="103" y="58"/>
                    <a:pt x="103" y="58"/>
                    <a:pt x="103"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9"/>
                    <a:pt x="102" y="59"/>
                    <a:pt x="102" y="59"/>
                  </a:cubicBezTo>
                  <a:cubicBezTo>
                    <a:pt x="102" y="59"/>
                    <a:pt x="102" y="59"/>
                    <a:pt x="102"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60"/>
                    <a:pt x="101" y="60"/>
                    <a:pt x="101"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1"/>
                    <a:pt x="100" y="61"/>
                    <a:pt x="100" y="61"/>
                  </a:cubicBezTo>
                  <a:cubicBezTo>
                    <a:pt x="100" y="61"/>
                    <a:pt x="100" y="61"/>
                    <a:pt x="100" y="61"/>
                  </a:cubicBezTo>
                  <a:cubicBezTo>
                    <a:pt x="100" y="61"/>
                    <a:pt x="100" y="61"/>
                    <a:pt x="100" y="61"/>
                  </a:cubicBezTo>
                  <a:cubicBezTo>
                    <a:pt x="99" y="61"/>
                    <a:pt x="99" y="61"/>
                    <a:pt x="99" y="61"/>
                  </a:cubicBezTo>
                  <a:cubicBezTo>
                    <a:pt x="99" y="61"/>
                    <a:pt x="99" y="61"/>
                    <a:pt x="99" y="61"/>
                  </a:cubicBezTo>
                  <a:cubicBezTo>
                    <a:pt x="99" y="61"/>
                    <a:pt x="99" y="61"/>
                    <a:pt x="99" y="61"/>
                  </a:cubicBezTo>
                  <a:cubicBezTo>
                    <a:pt x="99" y="61"/>
                    <a:pt x="99" y="61"/>
                    <a:pt x="99" y="61"/>
                  </a:cubicBezTo>
                  <a:cubicBezTo>
                    <a:pt x="99" y="62"/>
                    <a:pt x="99" y="62"/>
                    <a:pt x="99" y="62"/>
                  </a:cubicBezTo>
                  <a:cubicBezTo>
                    <a:pt x="99" y="62"/>
                    <a:pt x="99" y="62"/>
                    <a:pt x="99" y="62"/>
                  </a:cubicBezTo>
                  <a:cubicBezTo>
                    <a:pt x="98" y="62"/>
                    <a:pt x="98" y="62"/>
                    <a:pt x="98" y="62"/>
                  </a:cubicBezTo>
                  <a:cubicBezTo>
                    <a:pt x="98" y="62"/>
                    <a:pt x="98" y="62"/>
                    <a:pt x="98" y="62"/>
                  </a:cubicBezTo>
                  <a:cubicBezTo>
                    <a:pt x="98" y="62"/>
                    <a:pt x="98" y="62"/>
                    <a:pt x="98" y="62"/>
                  </a:cubicBezTo>
                  <a:cubicBezTo>
                    <a:pt x="98" y="62"/>
                    <a:pt x="98" y="62"/>
                    <a:pt x="98" y="62"/>
                  </a:cubicBezTo>
                  <a:cubicBezTo>
                    <a:pt x="98" y="62"/>
                    <a:pt x="98" y="62"/>
                    <a:pt x="98" y="62"/>
                  </a:cubicBezTo>
                  <a:cubicBezTo>
                    <a:pt x="94" y="66"/>
                    <a:pt x="94" y="66"/>
                    <a:pt x="94" y="66"/>
                  </a:cubicBezTo>
                  <a:cubicBezTo>
                    <a:pt x="94" y="35"/>
                    <a:pt x="94" y="35"/>
                    <a:pt x="94" y="35"/>
                  </a:cubicBezTo>
                  <a:close/>
                  <a:moveTo>
                    <a:pt x="106" y="104"/>
                  </a:moveTo>
                  <a:cubicBezTo>
                    <a:pt x="106" y="140"/>
                    <a:pt x="106" y="140"/>
                    <a:pt x="106" y="140"/>
                  </a:cubicBezTo>
                  <a:cubicBezTo>
                    <a:pt x="98" y="133"/>
                    <a:pt x="98" y="133"/>
                    <a:pt x="98" y="133"/>
                  </a:cubicBezTo>
                  <a:cubicBezTo>
                    <a:pt x="94" y="137"/>
                    <a:pt x="94" y="137"/>
                    <a:pt x="94" y="137"/>
                  </a:cubicBezTo>
                  <a:cubicBezTo>
                    <a:pt x="94" y="115"/>
                    <a:pt x="94" y="115"/>
                    <a:pt x="94" y="115"/>
                  </a:cubicBezTo>
                  <a:cubicBezTo>
                    <a:pt x="100" y="110"/>
                    <a:pt x="100" y="110"/>
                    <a:pt x="100" y="110"/>
                  </a:cubicBezTo>
                  <a:cubicBezTo>
                    <a:pt x="100" y="110"/>
                    <a:pt x="100" y="110"/>
                    <a:pt x="100" y="110"/>
                  </a:cubicBezTo>
                  <a:cubicBezTo>
                    <a:pt x="100" y="109"/>
                    <a:pt x="100" y="109"/>
                    <a:pt x="100" y="109"/>
                  </a:cubicBezTo>
                  <a:cubicBezTo>
                    <a:pt x="100" y="109"/>
                    <a:pt x="100" y="109"/>
                    <a:pt x="100"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8"/>
                    <a:pt x="101" y="108"/>
                    <a:pt x="101" y="108"/>
                  </a:cubicBezTo>
                  <a:cubicBezTo>
                    <a:pt x="101" y="108"/>
                    <a:pt x="101" y="108"/>
                    <a:pt x="101" y="108"/>
                  </a:cubicBezTo>
                  <a:cubicBezTo>
                    <a:pt x="102" y="108"/>
                    <a:pt x="102" y="108"/>
                    <a:pt x="102" y="108"/>
                  </a:cubicBezTo>
                  <a:cubicBezTo>
                    <a:pt x="102" y="108"/>
                    <a:pt x="102" y="108"/>
                    <a:pt x="102" y="108"/>
                  </a:cubicBezTo>
                  <a:cubicBezTo>
                    <a:pt x="102" y="108"/>
                    <a:pt x="102" y="108"/>
                    <a:pt x="102" y="108"/>
                  </a:cubicBezTo>
                  <a:cubicBezTo>
                    <a:pt x="102" y="108"/>
                    <a:pt x="102" y="108"/>
                    <a:pt x="102" y="108"/>
                  </a:cubicBezTo>
                  <a:cubicBezTo>
                    <a:pt x="102" y="107"/>
                    <a:pt x="102" y="107"/>
                    <a:pt x="102" y="107"/>
                  </a:cubicBezTo>
                  <a:cubicBezTo>
                    <a:pt x="102" y="107"/>
                    <a:pt x="102" y="107"/>
                    <a:pt x="102" y="107"/>
                  </a:cubicBezTo>
                  <a:cubicBezTo>
                    <a:pt x="102" y="107"/>
                    <a:pt x="102" y="107"/>
                    <a:pt x="102" y="107"/>
                  </a:cubicBezTo>
                  <a:cubicBezTo>
                    <a:pt x="102" y="107"/>
                    <a:pt x="102" y="107"/>
                    <a:pt x="102" y="107"/>
                  </a:cubicBezTo>
                  <a:cubicBezTo>
                    <a:pt x="103" y="107"/>
                    <a:pt x="103" y="107"/>
                    <a:pt x="103" y="107"/>
                  </a:cubicBezTo>
                  <a:cubicBezTo>
                    <a:pt x="103" y="107"/>
                    <a:pt x="103" y="107"/>
                    <a:pt x="103" y="107"/>
                  </a:cubicBezTo>
                  <a:cubicBezTo>
                    <a:pt x="103" y="107"/>
                    <a:pt x="103" y="107"/>
                    <a:pt x="103" y="107"/>
                  </a:cubicBezTo>
                  <a:cubicBezTo>
                    <a:pt x="103" y="107"/>
                    <a:pt x="103" y="107"/>
                    <a:pt x="103" y="107"/>
                  </a:cubicBezTo>
                  <a:cubicBezTo>
                    <a:pt x="103" y="106"/>
                    <a:pt x="103" y="106"/>
                    <a:pt x="103" y="106"/>
                  </a:cubicBezTo>
                  <a:cubicBezTo>
                    <a:pt x="103" y="106"/>
                    <a:pt x="103" y="106"/>
                    <a:pt x="103"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5"/>
                    <a:pt x="104" y="105"/>
                    <a:pt x="104" y="105"/>
                  </a:cubicBezTo>
                  <a:cubicBezTo>
                    <a:pt x="104" y="105"/>
                    <a:pt x="104" y="105"/>
                    <a:pt x="104"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4"/>
                    <a:pt x="105" y="104"/>
                    <a:pt x="105" y="104"/>
                  </a:cubicBezTo>
                  <a:cubicBezTo>
                    <a:pt x="105" y="104"/>
                    <a:pt x="105" y="104"/>
                    <a:pt x="105" y="104"/>
                  </a:cubicBezTo>
                  <a:lnTo>
                    <a:pt x="106" y="104"/>
                  </a:lnTo>
                  <a:close/>
                  <a:moveTo>
                    <a:pt x="94" y="222"/>
                  </a:moveTo>
                  <a:cubicBezTo>
                    <a:pt x="81" y="210"/>
                    <a:pt x="81" y="210"/>
                    <a:pt x="81" y="210"/>
                  </a:cubicBezTo>
                  <a:cubicBezTo>
                    <a:pt x="81" y="181"/>
                    <a:pt x="81" y="181"/>
                    <a:pt x="81" y="181"/>
                  </a:cubicBezTo>
                  <a:cubicBezTo>
                    <a:pt x="90" y="190"/>
                    <a:pt x="90" y="190"/>
                    <a:pt x="90" y="190"/>
                  </a:cubicBezTo>
                  <a:cubicBezTo>
                    <a:pt x="94" y="186"/>
                    <a:pt x="94" y="186"/>
                    <a:pt x="94" y="186"/>
                  </a:cubicBezTo>
                  <a:cubicBezTo>
                    <a:pt x="94" y="222"/>
                    <a:pt x="94" y="222"/>
                    <a:pt x="94" y="222"/>
                  </a:cubicBezTo>
                  <a:close/>
                  <a:moveTo>
                    <a:pt x="81" y="48"/>
                  </a:moveTo>
                  <a:cubicBezTo>
                    <a:pt x="94" y="35"/>
                    <a:pt x="94" y="35"/>
                    <a:pt x="94" y="35"/>
                  </a:cubicBezTo>
                  <a:cubicBezTo>
                    <a:pt x="94" y="66"/>
                    <a:pt x="94" y="66"/>
                    <a:pt x="94" y="66"/>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6"/>
                    <a:pt x="85" y="76"/>
                    <a:pt x="85"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7"/>
                    <a:pt x="84" y="77"/>
                    <a:pt x="84" y="77"/>
                  </a:cubicBezTo>
                  <a:cubicBezTo>
                    <a:pt x="83" y="77"/>
                    <a:pt x="83" y="77"/>
                    <a:pt x="83" y="77"/>
                  </a:cubicBezTo>
                  <a:cubicBezTo>
                    <a:pt x="83" y="77"/>
                    <a:pt x="83" y="77"/>
                    <a:pt x="83" y="77"/>
                  </a:cubicBezTo>
                  <a:cubicBezTo>
                    <a:pt x="83" y="77"/>
                    <a:pt x="83" y="77"/>
                    <a:pt x="83" y="77"/>
                  </a:cubicBezTo>
                  <a:cubicBezTo>
                    <a:pt x="83" y="77"/>
                    <a:pt x="83" y="77"/>
                    <a:pt x="83" y="77"/>
                  </a:cubicBezTo>
                  <a:cubicBezTo>
                    <a:pt x="83" y="77"/>
                    <a:pt x="83" y="77"/>
                    <a:pt x="83" y="77"/>
                  </a:cubicBezTo>
                  <a:cubicBezTo>
                    <a:pt x="83" y="78"/>
                    <a:pt x="83" y="78"/>
                    <a:pt x="83" y="78"/>
                  </a:cubicBezTo>
                  <a:cubicBezTo>
                    <a:pt x="83" y="78"/>
                    <a:pt x="83" y="78"/>
                    <a:pt x="83" y="78"/>
                  </a:cubicBezTo>
                  <a:cubicBezTo>
                    <a:pt x="82" y="78"/>
                    <a:pt x="82" y="78"/>
                    <a:pt x="82" y="78"/>
                  </a:cubicBezTo>
                  <a:cubicBezTo>
                    <a:pt x="82" y="78"/>
                    <a:pt x="82" y="78"/>
                    <a:pt x="82" y="78"/>
                  </a:cubicBezTo>
                  <a:cubicBezTo>
                    <a:pt x="82" y="78"/>
                    <a:pt x="82" y="78"/>
                    <a:pt x="82" y="78"/>
                  </a:cubicBezTo>
                  <a:cubicBezTo>
                    <a:pt x="82" y="78"/>
                    <a:pt x="82" y="78"/>
                    <a:pt x="82" y="78"/>
                  </a:cubicBezTo>
                  <a:cubicBezTo>
                    <a:pt x="82" y="78"/>
                    <a:pt x="82" y="78"/>
                    <a:pt x="82" y="78"/>
                  </a:cubicBezTo>
                  <a:cubicBezTo>
                    <a:pt x="82" y="79"/>
                    <a:pt x="82" y="79"/>
                    <a:pt x="82" y="79"/>
                  </a:cubicBezTo>
                  <a:cubicBezTo>
                    <a:pt x="81" y="79"/>
                    <a:pt x="81" y="79"/>
                    <a:pt x="81" y="79"/>
                  </a:cubicBezTo>
                  <a:cubicBezTo>
                    <a:pt x="81" y="48"/>
                    <a:pt x="81" y="48"/>
                    <a:pt x="81" y="48"/>
                  </a:cubicBezTo>
                  <a:close/>
                  <a:moveTo>
                    <a:pt x="94" y="115"/>
                  </a:moveTo>
                  <a:cubicBezTo>
                    <a:pt x="94" y="137"/>
                    <a:pt x="94" y="137"/>
                    <a:pt x="94" y="137"/>
                  </a:cubicBezTo>
                  <a:cubicBezTo>
                    <a:pt x="88" y="143"/>
                    <a:pt x="88" y="143"/>
                    <a:pt x="88" y="143"/>
                  </a:cubicBezTo>
                  <a:cubicBezTo>
                    <a:pt x="94" y="149"/>
                    <a:pt x="94" y="149"/>
                    <a:pt x="94" y="149"/>
                  </a:cubicBezTo>
                  <a:cubicBezTo>
                    <a:pt x="94" y="174"/>
                    <a:pt x="94" y="174"/>
                    <a:pt x="94" y="174"/>
                  </a:cubicBezTo>
                  <a:cubicBezTo>
                    <a:pt x="81" y="161"/>
                    <a:pt x="81" y="161"/>
                    <a:pt x="81" y="161"/>
                  </a:cubicBezTo>
                  <a:cubicBezTo>
                    <a:pt x="81" y="128"/>
                    <a:pt x="81" y="128"/>
                    <a:pt x="81" y="128"/>
                  </a:cubicBezTo>
                  <a:cubicBezTo>
                    <a:pt x="82" y="128"/>
                    <a:pt x="82" y="128"/>
                    <a:pt x="82" y="128"/>
                  </a:cubicBezTo>
                  <a:cubicBezTo>
                    <a:pt x="82" y="128"/>
                    <a:pt x="82" y="128"/>
                    <a:pt x="82" y="128"/>
                  </a:cubicBezTo>
                  <a:cubicBezTo>
                    <a:pt x="82" y="128"/>
                    <a:pt x="82" y="128"/>
                    <a:pt x="82" y="128"/>
                  </a:cubicBezTo>
                  <a:cubicBezTo>
                    <a:pt x="82" y="128"/>
                    <a:pt x="82" y="128"/>
                    <a:pt x="82" y="128"/>
                  </a:cubicBezTo>
                  <a:cubicBezTo>
                    <a:pt x="82" y="127"/>
                    <a:pt x="82" y="127"/>
                    <a:pt x="82" y="127"/>
                  </a:cubicBezTo>
                  <a:cubicBezTo>
                    <a:pt x="82" y="127"/>
                    <a:pt x="82" y="127"/>
                    <a:pt x="82" y="127"/>
                  </a:cubicBezTo>
                  <a:cubicBezTo>
                    <a:pt x="82" y="127"/>
                    <a:pt x="82" y="127"/>
                    <a:pt x="82" y="127"/>
                  </a:cubicBezTo>
                  <a:cubicBezTo>
                    <a:pt x="83" y="127"/>
                    <a:pt x="83" y="127"/>
                    <a:pt x="83" y="127"/>
                  </a:cubicBezTo>
                  <a:cubicBezTo>
                    <a:pt x="83" y="127"/>
                    <a:pt x="83" y="127"/>
                    <a:pt x="83" y="127"/>
                  </a:cubicBezTo>
                  <a:cubicBezTo>
                    <a:pt x="83" y="127"/>
                    <a:pt x="83" y="127"/>
                    <a:pt x="83" y="127"/>
                  </a:cubicBezTo>
                  <a:cubicBezTo>
                    <a:pt x="83" y="127"/>
                    <a:pt x="83" y="127"/>
                    <a:pt x="83" y="127"/>
                  </a:cubicBezTo>
                  <a:cubicBezTo>
                    <a:pt x="83" y="126"/>
                    <a:pt x="83" y="126"/>
                    <a:pt x="83" y="126"/>
                  </a:cubicBezTo>
                  <a:cubicBezTo>
                    <a:pt x="83" y="126"/>
                    <a:pt x="83" y="126"/>
                    <a:pt x="83" y="126"/>
                  </a:cubicBezTo>
                  <a:cubicBezTo>
                    <a:pt x="83" y="126"/>
                    <a:pt x="83" y="126"/>
                    <a:pt x="83" y="126"/>
                  </a:cubicBezTo>
                  <a:cubicBezTo>
                    <a:pt x="84" y="126"/>
                    <a:pt x="84" y="126"/>
                    <a:pt x="84" y="126"/>
                  </a:cubicBezTo>
                  <a:cubicBezTo>
                    <a:pt x="84" y="126"/>
                    <a:pt x="84" y="126"/>
                    <a:pt x="84" y="126"/>
                  </a:cubicBezTo>
                  <a:cubicBezTo>
                    <a:pt x="84" y="126"/>
                    <a:pt x="84" y="126"/>
                    <a:pt x="84" y="126"/>
                  </a:cubicBezTo>
                  <a:cubicBezTo>
                    <a:pt x="84" y="125"/>
                    <a:pt x="84" y="125"/>
                    <a:pt x="84" y="125"/>
                  </a:cubicBezTo>
                  <a:cubicBezTo>
                    <a:pt x="84" y="125"/>
                    <a:pt x="84" y="125"/>
                    <a:pt x="84" y="125"/>
                  </a:cubicBezTo>
                  <a:cubicBezTo>
                    <a:pt x="84" y="125"/>
                    <a:pt x="84" y="125"/>
                    <a:pt x="84" y="125"/>
                  </a:cubicBezTo>
                  <a:cubicBezTo>
                    <a:pt x="84" y="125"/>
                    <a:pt x="84" y="125"/>
                    <a:pt x="84" y="125"/>
                  </a:cubicBezTo>
                  <a:cubicBezTo>
                    <a:pt x="85" y="125"/>
                    <a:pt x="85" y="125"/>
                    <a:pt x="85" y="125"/>
                  </a:cubicBezTo>
                  <a:cubicBezTo>
                    <a:pt x="85" y="125"/>
                    <a:pt x="85" y="125"/>
                    <a:pt x="85" y="125"/>
                  </a:cubicBezTo>
                  <a:cubicBezTo>
                    <a:pt x="85" y="125"/>
                    <a:pt x="85" y="125"/>
                    <a:pt x="85" y="125"/>
                  </a:cubicBezTo>
                  <a:cubicBezTo>
                    <a:pt x="85" y="124"/>
                    <a:pt x="85" y="124"/>
                    <a:pt x="85" y="124"/>
                  </a:cubicBezTo>
                  <a:cubicBezTo>
                    <a:pt x="85" y="124"/>
                    <a:pt x="85" y="124"/>
                    <a:pt x="85" y="124"/>
                  </a:cubicBezTo>
                  <a:cubicBezTo>
                    <a:pt x="85" y="124"/>
                    <a:pt x="85" y="124"/>
                    <a:pt x="85" y="124"/>
                  </a:cubicBezTo>
                  <a:cubicBezTo>
                    <a:pt x="85" y="124"/>
                    <a:pt x="85" y="124"/>
                    <a:pt x="85" y="124"/>
                  </a:cubicBezTo>
                  <a:cubicBezTo>
                    <a:pt x="86" y="124"/>
                    <a:pt x="86" y="124"/>
                    <a:pt x="86" y="124"/>
                  </a:cubicBezTo>
                  <a:cubicBezTo>
                    <a:pt x="86" y="124"/>
                    <a:pt x="86" y="124"/>
                    <a:pt x="86" y="124"/>
                  </a:cubicBezTo>
                  <a:cubicBezTo>
                    <a:pt x="86" y="124"/>
                    <a:pt x="86" y="124"/>
                    <a:pt x="86" y="124"/>
                  </a:cubicBezTo>
                  <a:cubicBezTo>
                    <a:pt x="86" y="124"/>
                    <a:pt x="86" y="124"/>
                    <a:pt x="86" y="124"/>
                  </a:cubicBezTo>
                  <a:cubicBezTo>
                    <a:pt x="86" y="123"/>
                    <a:pt x="86" y="123"/>
                    <a:pt x="86" y="123"/>
                  </a:cubicBezTo>
                  <a:cubicBezTo>
                    <a:pt x="86" y="123"/>
                    <a:pt x="86" y="123"/>
                    <a:pt x="86" y="123"/>
                  </a:cubicBezTo>
                  <a:cubicBezTo>
                    <a:pt x="86" y="123"/>
                    <a:pt x="86" y="123"/>
                    <a:pt x="86" y="123"/>
                  </a:cubicBezTo>
                  <a:cubicBezTo>
                    <a:pt x="86" y="123"/>
                    <a:pt x="86" y="123"/>
                    <a:pt x="86" y="123"/>
                  </a:cubicBezTo>
                  <a:cubicBezTo>
                    <a:pt x="87" y="123"/>
                    <a:pt x="87" y="123"/>
                    <a:pt x="87" y="123"/>
                  </a:cubicBezTo>
                  <a:cubicBezTo>
                    <a:pt x="87" y="123"/>
                    <a:pt x="87" y="123"/>
                    <a:pt x="87" y="123"/>
                  </a:cubicBezTo>
                  <a:cubicBezTo>
                    <a:pt x="87" y="123"/>
                    <a:pt x="87" y="123"/>
                    <a:pt x="87" y="123"/>
                  </a:cubicBezTo>
                  <a:cubicBezTo>
                    <a:pt x="87" y="122"/>
                    <a:pt x="87" y="122"/>
                    <a:pt x="87" y="122"/>
                  </a:cubicBezTo>
                  <a:cubicBezTo>
                    <a:pt x="87" y="122"/>
                    <a:pt x="87" y="122"/>
                    <a:pt x="87" y="122"/>
                  </a:cubicBezTo>
                  <a:cubicBezTo>
                    <a:pt x="87" y="122"/>
                    <a:pt x="87" y="122"/>
                    <a:pt x="87" y="122"/>
                  </a:cubicBezTo>
                  <a:cubicBezTo>
                    <a:pt x="88" y="122"/>
                    <a:pt x="88" y="122"/>
                    <a:pt x="88" y="122"/>
                  </a:cubicBezTo>
                  <a:lnTo>
                    <a:pt x="94" y="115"/>
                  </a:lnTo>
                  <a:close/>
                  <a:moveTo>
                    <a:pt x="81" y="210"/>
                  </a:moveTo>
                  <a:cubicBezTo>
                    <a:pt x="0" y="128"/>
                    <a:pt x="0" y="128"/>
                    <a:pt x="0" y="128"/>
                  </a:cubicBezTo>
                  <a:cubicBezTo>
                    <a:pt x="81" y="48"/>
                    <a:pt x="81" y="48"/>
                    <a:pt x="81" y="48"/>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1"/>
                    <a:pt x="80" y="81"/>
                    <a:pt x="80"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2"/>
                    <a:pt x="79" y="82"/>
                    <a:pt x="79"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4"/>
                    <a:pt x="77" y="84"/>
                    <a:pt x="77"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5" y="85"/>
                    <a:pt x="75" y="85"/>
                    <a:pt x="75" y="85"/>
                  </a:cubicBezTo>
                  <a:cubicBezTo>
                    <a:pt x="75" y="85"/>
                    <a:pt x="75" y="85"/>
                    <a:pt x="75" y="85"/>
                  </a:cubicBezTo>
                  <a:cubicBezTo>
                    <a:pt x="63" y="97"/>
                    <a:pt x="63" y="97"/>
                    <a:pt x="63" y="97"/>
                  </a:cubicBezTo>
                  <a:cubicBezTo>
                    <a:pt x="63" y="97"/>
                    <a:pt x="63" y="97"/>
                    <a:pt x="63" y="97"/>
                  </a:cubicBezTo>
                  <a:cubicBezTo>
                    <a:pt x="63" y="97"/>
                    <a:pt x="63" y="97"/>
                    <a:pt x="63" y="97"/>
                  </a:cubicBezTo>
                  <a:cubicBezTo>
                    <a:pt x="62" y="97"/>
                    <a:pt x="62" y="97"/>
                    <a:pt x="62" y="97"/>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1" y="98"/>
                    <a:pt x="61" y="98"/>
                    <a:pt x="61" y="98"/>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0" y="99"/>
                    <a:pt x="60" y="99"/>
                    <a:pt x="60" y="99"/>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6" y="103"/>
                    <a:pt x="56" y="103"/>
                    <a:pt x="56" y="103"/>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5" y="104"/>
                    <a:pt x="55" y="104"/>
                    <a:pt x="55" y="104"/>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4" y="105"/>
                    <a:pt x="54" y="105"/>
                    <a:pt x="54" y="105"/>
                  </a:cubicBezTo>
                  <a:cubicBezTo>
                    <a:pt x="54" y="105"/>
                    <a:pt x="54" y="105"/>
                    <a:pt x="54" y="105"/>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3" y="106"/>
                    <a:pt x="53" y="106"/>
                    <a:pt x="53" y="106"/>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30" y="130"/>
                    <a:pt x="30" y="130"/>
                    <a:pt x="30" y="130"/>
                  </a:cubicBezTo>
                  <a:cubicBezTo>
                    <a:pt x="38" y="138"/>
                    <a:pt x="47" y="146"/>
                    <a:pt x="55" y="155"/>
                  </a:cubicBezTo>
                  <a:cubicBezTo>
                    <a:pt x="77" y="132"/>
                    <a:pt x="77" y="132"/>
                    <a:pt x="77" y="132"/>
                  </a:cubicBezTo>
                  <a:cubicBezTo>
                    <a:pt x="77" y="132"/>
                    <a:pt x="77" y="132"/>
                    <a:pt x="77" y="132"/>
                  </a:cubicBezTo>
                  <a:cubicBezTo>
                    <a:pt x="78" y="132"/>
                    <a:pt x="78" y="132"/>
                    <a:pt x="78" y="132"/>
                  </a:cubicBezTo>
                  <a:cubicBezTo>
                    <a:pt x="78" y="132"/>
                    <a:pt x="78" y="132"/>
                    <a:pt x="78" y="132"/>
                  </a:cubicBezTo>
                  <a:cubicBezTo>
                    <a:pt x="78" y="132"/>
                    <a:pt x="78" y="132"/>
                    <a:pt x="78" y="132"/>
                  </a:cubicBezTo>
                  <a:cubicBezTo>
                    <a:pt x="78" y="132"/>
                    <a:pt x="78" y="132"/>
                    <a:pt x="78" y="132"/>
                  </a:cubicBezTo>
                  <a:cubicBezTo>
                    <a:pt x="78" y="131"/>
                    <a:pt x="78" y="131"/>
                    <a:pt x="78" y="131"/>
                  </a:cubicBezTo>
                  <a:cubicBezTo>
                    <a:pt x="78" y="131"/>
                    <a:pt x="78" y="131"/>
                    <a:pt x="78" y="131"/>
                  </a:cubicBezTo>
                  <a:cubicBezTo>
                    <a:pt x="78" y="131"/>
                    <a:pt x="78" y="131"/>
                    <a:pt x="78" y="131"/>
                  </a:cubicBezTo>
                  <a:cubicBezTo>
                    <a:pt x="79" y="131"/>
                    <a:pt x="79" y="131"/>
                    <a:pt x="79" y="131"/>
                  </a:cubicBezTo>
                  <a:cubicBezTo>
                    <a:pt x="79" y="131"/>
                    <a:pt x="79" y="131"/>
                    <a:pt x="79" y="131"/>
                  </a:cubicBezTo>
                  <a:cubicBezTo>
                    <a:pt x="79" y="131"/>
                    <a:pt x="79" y="131"/>
                    <a:pt x="79" y="131"/>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80" y="130"/>
                    <a:pt x="80" y="130"/>
                    <a:pt x="80" y="130"/>
                  </a:cubicBezTo>
                  <a:cubicBezTo>
                    <a:pt x="80" y="130"/>
                    <a:pt x="80" y="130"/>
                    <a:pt x="80" y="130"/>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1" y="129"/>
                    <a:pt x="81" y="129"/>
                    <a:pt x="81" y="129"/>
                  </a:cubicBezTo>
                  <a:cubicBezTo>
                    <a:pt x="81" y="129"/>
                    <a:pt x="81" y="129"/>
                    <a:pt x="81" y="129"/>
                  </a:cubicBezTo>
                  <a:cubicBezTo>
                    <a:pt x="81" y="129"/>
                    <a:pt x="81" y="129"/>
                    <a:pt x="81" y="129"/>
                  </a:cubicBezTo>
                  <a:cubicBezTo>
                    <a:pt x="81" y="128"/>
                    <a:pt x="81" y="128"/>
                    <a:pt x="81" y="128"/>
                  </a:cubicBezTo>
                  <a:cubicBezTo>
                    <a:pt x="81" y="128"/>
                    <a:pt x="81" y="128"/>
                    <a:pt x="81" y="128"/>
                  </a:cubicBezTo>
                  <a:cubicBezTo>
                    <a:pt x="81" y="128"/>
                    <a:pt x="81" y="128"/>
                    <a:pt x="81" y="128"/>
                  </a:cubicBezTo>
                  <a:cubicBezTo>
                    <a:pt x="81" y="128"/>
                    <a:pt x="81" y="128"/>
                    <a:pt x="81" y="128"/>
                  </a:cubicBezTo>
                  <a:cubicBezTo>
                    <a:pt x="81" y="161"/>
                    <a:pt x="81" y="161"/>
                    <a:pt x="81" y="161"/>
                  </a:cubicBezTo>
                  <a:cubicBezTo>
                    <a:pt x="76" y="155"/>
                    <a:pt x="76" y="155"/>
                    <a:pt x="76" y="155"/>
                  </a:cubicBezTo>
                  <a:cubicBezTo>
                    <a:pt x="72" y="159"/>
                    <a:pt x="69" y="162"/>
                    <a:pt x="66" y="165"/>
                  </a:cubicBezTo>
                  <a:cubicBezTo>
                    <a:pt x="81" y="181"/>
                    <a:pt x="81" y="181"/>
                    <a:pt x="81" y="181"/>
                  </a:cubicBezTo>
                  <a:lnTo>
                    <a:pt x="81" y="21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5" name="íslidé">
              <a:extLst>
                <a:ext uri="{FF2B5EF4-FFF2-40B4-BE49-F238E27FC236}">
                  <a16:creationId xmlns:a16="http://schemas.microsoft.com/office/drawing/2014/main" id="{DBBFB816-A6B7-4304-A333-D9508F1D9530}"/>
                </a:ext>
              </a:extLst>
            </p:cNvPr>
            <p:cNvSpPr/>
            <p:nvPr/>
          </p:nvSpPr>
          <p:spPr bwMode="auto">
            <a:xfrm flipH="1">
              <a:off x="4582110" y="3055278"/>
              <a:ext cx="439048" cy="426417"/>
            </a:xfrm>
            <a:custGeom>
              <a:avLst/>
              <a:gdLst>
                <a:gd name="T0" fmla="*/ 213 w 262"/>
                <a:gd name="T1" fmla="*/ 161 h 261"/>
                <a:gd name="T2" fmla="*/ 223 w 262"/>
                <a:gd name="T3" fmla="*/ 132 h 261"/>
                <a:gd name="T4" fmla="*/ 234 w 262"/>
                <a:gd name="T5" fmla="*/ 98 h 261"/>
                <a:gd name="T6" fmla="*/ 213 w 262"/>
                <a:gd name="T7" fmla="*/ 50 h 261"/>
                <a:gd name="T8" fmla="*/ 210 w 262"/>
                <a:gd name="T9" fmla="*/ 90 h 261"/>
                <a:gd name="T10" fmla="*/ 198 w 262"/>
                <a:gd name="T11" fmla="*/ 124 h 261"/>
                <a:gd name="T12" fmla="*/ 189 w 262"/>
                <a:gd name="T13" fmla="*/ 150 h 261"/>
                <a:gd name="T14" fmla="*/ 189 w 262"/>
                <a:gd name="T15" fmla="*/ 66 h 261"/>
                <a:gd name="T16" fmla="*/ 189 w 262"/>
                <a:gd name="T17" fmla="*/ 258 h 261"/>
                <a:gd name="T18" fmla="*/ 189 w 262"/>
                <a:gd name="T19" fmla="*/ 197 h 261"/>
                <a:gd name="T20" fmla="*/ 189 w 262"/>
                <a:gd name="T21" fmla="*/ 159 h 261"/>
                <a:gd name="T22" fmla="*/ 143 w 262"/>
                <a:gd name="T23" fmla="*/ 26 h 261"/>
                <a:gd name="T24" fmla="*/ 180 w 262"/>
                <a:gd name="T25" fmla="*/ 62 h 261"/>
                <a:gd name="T26" fmla="*/ 187 w 262"/>
                <a:gd name="T27" fmla="*/ 158 h 261"/>
                <a:gd name="T28" fmla="*/ 175 w 262"/>
                <a:gd name="T29" fmla="*/ 192 h 261"/>
                <a:gd name="T30" fmla="*/ 164 w 262"/>
                <a:gd name="T31" fmla="*/ 226 h 261"/>
                <a:gd name="T32" fmla="*/ 143 w 262"/>
                <a:gd name="T33" fmla="*/ 242 h 261"/>
                <a:gd name="T34" fmla="*/ 146 w 262"/>
                <a:gd name="T35" fmla="*/ 165 h 261"/>
                <a:gd name="T36" fmla="*/ 143 w 262"/>
                <a:gd name="T37" fmla="*/ 126 h 261"/>
                <a:gd name="T38" fmla="*/ 143 w 262"/>
                <a:gd name="T39" fmla="*/ 88 h 261"/>
                <a:gd name="T40" fmla="*/ 145 w 262"/>
                <a:gd name="T41" fmla="*/ 51 h 261"/>
                <a:gd name="T42" fmla="*/ 143 w 262"/>
                <a:gd name="T43" fmla="*/ 26 h 261"/>
                <a:gd name="T44" fmla="*/ 143 w 262"/>
                <a:gd name="T45" fmla="*/ 88 h 261"/>
                <a:gd name="T46" fmla="*/ 143 w 262"/>
                <a:gd name="T47" fmla="*/ 126 h 261"/>
                <a:gd name="T48" fmla="*/ 129 w 262"/>
                <a:gd name="T49" fmla="*/ 63 h 261"/>
                <a:gd name="T50" fmla="*/ 143 w 262"/>
                <a:gd name="T51" fmla="*/ 242 h 261"/>
                <a:gd name="T52" fmla="*/ 119 w 262"/>
                <a:gd name="T53" fmla="*/ 194 h 261"/>
                <a:gd name="T54" fmla="*/ 119 w 262"/>
                <a:gd name="T55" fmla="*/ 156 h 261"/>
                <a:gd name="T56" fmla="*/ 143 w 262"/>
                <a:gd name="T57" fmla="*/ 172 h 261"/>
                <a:gd name="T58" fmla="*/ 96 w 262"/>
                <a:gd name="T59" fmla="*/ 11 h 261"/>
                <a:gd name="T60" fmla="*/ 105 w 262"/>
                <a:gd name="T61" fmla="*/ 54 h 261"/>
                <a:gd name="T62" fmla="*/ 119 w 262"/>
                <a:gd name="T63" fmla="*/ 135 h 261"/>
                <a:gd name="T64" fmla="*/ 119 w 262"/>
                <a:gd name="T65" fmla="*/ 173 h 261"/>
                <a:gd name="T66" fmla="*/ 96 w 262"/>
                <a:gd name="T67" fmla="*/ 128 h 261"/>
                <a:gd name="T68" fmla="*/ 96 w 262"/>
                <a:gd name="T69" fmla="*/ 43 h 261"/>
                <a:gd name="T70" fmla="*/ 119 w 262"/>
                <a:gd name="T71" fmla="*/ 235 h 261"/>
                <a:gd name="T72" fmla="*/ 118 w 262"/>
                <a:gd name="T73" fmla="*/ 211 h 261"/>
                <a:gd name="T74" fmla="*/ 96 w 262"/>
                <a:gd name="T75" fmla="*/ 11 h 261"/>
                <a:gd name="T76" fmla="*/ 73 w 262"/>
                <a:gd name="T77" fmla="*/ 3 h 261"/>
                <a:gd name="T78" fmla="*/ 83 w 262"/>
                <a:gd name="T79" fmla="*/ 199 h 261"/>
                <a:gd name="T80" fmla="*/ 83 w 262"/>
                <a:gd name="T81" fmla="*/ 85 h 261"/>
                <a:gd name="T82" fmla="*/ 94 w 262"/>
                <a:gd name="T83" fmla="*/ 51 h 261"/>
                <a:gd name="T84" fmla="*/ 82 w 262"/>
                <a:gd name="T85" fmla="*/ 123 h 261"/>
                <a:gd name="T86" fmla="*/ 96 w 262"/>
                <a:gd name="T87" fmla="*/ 203 h 261"/>
                <a:gd name="T88" fmla="*/ 73 w 262"/>
                <a:gd name="T89" fmla="*/ 3 h 261"/>
                <a:gd name="T90" fmla="*/ 73 w 262"/>
                <a:gd name="T91" fmla="*/ 64 h 261"/>
                <a:gd name="T92" fmla="*/ 73 w 262"/>
                <a:gd name="T93" fmla="*/ 178 h 261"/>
                <a:gd name="T94" fmla="*/ 73 w 262"/>
                <a:gd name="T95" fmla="*/ 219 h 261"/>
                <a:gd name="T96" fmla="*/ 53 w 262"/>
                <a:gd name="T97" fmla="*/ 172 h 261"/>
                <a:gd name="T98" fmla="*/ 65 w 262"/>
                <a:gd name="T99" fmla="*/ 138 h 261"/>
                <a:gd name="T100" fmla="*/ 0 w 262"/>
                <a:gd name="T101" fmla="*/ 195 h 261"/>
                <a:gd name="T102" fmla="*/ 39 w 262"/>
                <a:gd name="T103" fmla="*/ 146 h 261"/>
                <a:gd name="T104" fmla="*/ 39 w 262"/>
                <a:gd name="T105" fmla="*/ 18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261">
                  <a:moveTo>
                    <a:pt x="213" y="50"/>
                  </a:moveTo>
                  <a:cubicBezTo>
                    <a:pt x="262" y="66"/>
                    <a:pt x="262" y="66"/>
                    <a:pt x="262" y="66"/>
                  </a:cubicBezTo>
                  <a:cubicBezTo>
                    <a:pt x="213" y="212"/>
                    <a:pt x="213" y="212"/>
                    <a:pt x="213" y="212"/>
                  </a:cubicBezTo>
                  <a:cubicBezTo>
                    <a:pt x="213" y="161"/>
                    <a:pt x="213" y="161"/>
                    <a:pt x="213" y="161"/>
                  </a:cubicBezTo>
                  <a:cubicBezTo>
                    <a:pt x="216" y="151"/>
                    <a:pt x="216" y="151"/>
                    <a:pt x="216" y="151"/>
                  </a:cubicBezTo>
                  <a:cubicBezTo>
                    <a:pt x="213" y="149"/>
                    <a:pt x="213" y="149"/>
                    <a:pt x="213" y="149"/>
                  </a:cubicBezTo>
                  <a:cubicBezTo>
                    <a:pt x="213" y="129"/>
                    <a:pt x="213" y="129"/>
                    <a:pt x="213" y="129"/>
                  </a:cubicBezTo>
                  <a:cubicBezTo>
                    <a:pt x="223" y="132"/>
                    <a:pt x="223" y="132"/>
                    <a:pt x="223" y="132"/>
                  </a:cubicBezTo>
                  <a:cubicBezTo>
                    <a:pt x="224" y="127"/>
                    <a:pt x="226" y="122"/>
                    <a:pt x="228" y="117"/>
                  </a:cubicBezTo>
                  <a:cubicBezTo>
                    <a:pt x="213" y="112"/>
                    <a:pt x="213" y="112"/>
                    <a:pt x="213" y="112"/>
                  </a:cubicBezTo>
                  <a:cubicBezTo>
                    <a:pt x="213" y="91"/>
                    <a:pt x="213" y="91"/>
                    <a:pt x="213" y="91"/>
                  </a:cubicBezTo>
                  <a:cubicBezTo>
                    <a:pt x="234" y="98"/>
                    <a:pt x="234" y="98"/>
                    <a:pt x="234" y="98"/>
                  </a:cubicBezTo>
                  <a:cubicBezTo>
                    <a:pt x="236" y="93"/>
                    <a:pt x="238" y="88"/>
                    <a:pt x="239" y="82"/>
                  </a:cubicBezTo>
                  <a:cubicBezTo>
                    <a:pt x="231" y="80"/>
                    <a:pt x="223" y="77"/>
                    <a:pt x="215" y="74"/>
                  </a:cubicBezTo>
                  <a:cubicBezTo>
                    <a:pt x="213" y="80"/>
                    <a:pt x="213" y="80"/>
                    <a:pt x="213" y="80"/>
                  </a:cubicBezTo>
                  <a:lnTo>
                    <a:pt x="213" y="50"/>
                  </a:lnTo>
                  <a:close/>
                  <a:moveTo>
                    <a:pt x="189" y="42"/>
                  </a:moveTo>
                  <a:cubicBezTo>
                    <a:pt x="213" y="50"/>
                    <a:pt x="213" y="50"/>
                    <a:pt x="213" y="50"/>
                  </a:cubicBezTo>
                  <a:cubicBezTo>
                    <a:pt x="213" y="80"/>
                    <a:pt x="213" y="80"/>
                    <a:pt x="213" y="80"/>
                  </a:cubicBezTo>
                  <a:cubicBezTo>
                    <a:pt x="210" y="90"/>
                    <a:pt x="210" y="90"/>
                    <a:pt x="210" y="90"/>
                  </a:cubicBezTo>
                  <a:cubicBezTo>
                    <a:pt x="213" y="91"/>
                    <a:pt x="213" y="91"/>
                    <a:pt x="213" y="91"/>
                  </a:cubicBezTo>
                  <a:cubicBezTo>
                    <a:pt x="213" y="112"/>
                    <a:pt x="213" y="112"/>
                    <a:pt x="213" y="112"/>
                  </a:cubicBezTo>
                  <a:cubicBezTo>
                    <a:pt x="203" y="108"/>
                    <a:pt x="203" y="108"/>
                    <a:pt x="203" y="108"/>
                  </a:cubicBezTo>
                  <a:cubicBezTo>
                    <a:pt x="202" y="113"/>
                    <a:pt x="200" y="119"/>
                    <a:pt x="198" y="124"/>
                  </a:cubicBezTo>
                  <a:cubicBezTo>
                    <a:pt x="213" y="129"/>
                    <a:pt x="213" y="129"/>
                    <a:pt x="213" y="129"/>
                  </a:cubicBezTo>
                  <a:cubicBezTo>
                    <a:pt x="213" y="149"/>
                    <a:pt x="213" y="149"/>
                    <a:pt x="213" y="149"/>
                  </a:cubicBezTo>
                  <a:cubicBezTo>
                    <a:pt x="192" y="142"/>
                    <a:pt x="192" y="142"/>
                    <a:pt x="192" y="142"/>
                  </a:cubicBezTo>
                  <a:cubicBezTo>
                    <a:pt x="189" y="150"/>
                    <a:pt x="189" y="150"/>
                    <a:pt x="189" y="150"/>
                  </a:cubicBezTo>
                  <a:cubicBezTo>
                    <a:pt x="189" y="83"/>
                    <a:pt x="189" y="83"/>
                    <a:pt x="189" y="83"/>
                  </a:cubicBezTo>
                  <a:cubicBezTo>
                    <a:pt x="199" y="86"/>
                    <a:pt x="199" y="86"/>
                    <a:pt x="199" y="86"/>
                  </a:cubicBezTo>
                  <a:cubicBezTo>
                    <a:pt x="201" y="81"/>
                    <a:pt x="203" y="76"/>
                    <a:pt x="204" y="71"/>
                  </a:cubicBezTo>
                  <a:cubicBezTo>
                    <a:pt x="189" y="66"/>
                    <a:pt x="189" y="66"/>
                    <a:pt x="189" y="66"/>
                  </a:cubicBezTo>
                  <a:cubicBezTo>
                    <a:pt x="189" y="42"/>
                    <a:pt x="189" y="42"/>
                    <a:pt x="189" y="42"/>
                  </a:cubicBezTo>
                  <a:close/>
                  <a:moveTo>
                    <a:pt x="213" y="212"/>
                  </a:moveTo>
                  <a:cubicBezTo>
                    <a:pt x="197" y="261"/>
                    <a:pt x="197" y="261"/>
                    <a:pt x="197" y="261"/>
                  </a:cubicBezTo>
                  <a:cubicBezTo>
                    <a:pt x="189" y="258"/>
                    <a:pt x="189" y="258"/>
                    <a:pt x="189" y="258"/>
                  </a:cubicBezTo>
                  <a:cubicBezTo>
                    <a:pt x="189" y="231"/>
                    <a:pt x="189" y="231"/>
                    <a:pt x="189" y="231"/>
                  </a:cubicBezTo>
                  <a:cubicBezTo>
                    <a:pt x="194" y="219"/>
                    <a:pt x="194" y="219"/>
                    <a:pt x="194" y="219"/>
                  </a:cubicBezTo>
                  <a:cubicBezTo>
                    <a:pt x="189" y="217"/>
                    <a:pt x="189" y="217"/>
                    <a:pt x="189" y="217"/>
                  </a:cubicBezTo>
                  <a:cubicBezTo>
                    <a:pt x="189" y="197"/>
                    <a:pt x="189" y="197"/>
                    <a:pt x="189" y="197"/>
                  </a:cubicBezTo>
                  <a:cubicBezTo>
                    <a:pt x="200" y="200"/>
                    <a:pt x="200" y="200"/>
                    <a:pt x="200" y="200"/>
                  </a:cubicBezTo>
                  <a:cubicBezTo>
                    <a:pt x="202" y="195"/>
                    <a:pt x="203" y="190"/>
                    <a:pt x="205" y="185"/>
                  </a:cubicBezTo>
                  <a:cubicBezTo>
                    <a:pt x="189" y="179"/>
                    <a:pt x="189" y="179"/>
                    <a:pt x="189" y="179"/>
                  </a:cubicBezTo>
                  <a:cubicBezTo>
                    <a:pt x="189" y="159"/>
                    <a:pt x="189" y="159"/>
                    <a:pt x="189" y="159"/>
                  </a:cubicBezTo>
                  <a:cubicBezTo>
                    <a:pt x="211" y="166"/>
                    <a:pt x="211" y="166"/>
                    <a:pt x="211" y="166"/>
                  </a:cubicBezTo>
                  <a:cubicBezTo>
                    <a:pt x="213" y="161"/>
                    <a:pt x="213" y="161"/>
                    <a:pt x="213" y="161"/>
                  </a:cubicBezTo>
                  <a:lnTo>
                    <a:pt x="213" y="212"/>
                  </a:lnTo>
                  <a:close/>
                  <a:moveTo>
                    <a:pt x="143" y="26"/>
                  </a:moveTo>
                  <a:cubicBezTo>
                    <a:pt x="164" y="33"/>
                    <a:pt x="164" y="33"/>
                    <a:pt x="164" y="33"/>
                  </a:cubicBezTo>
                  <a:cubicBezTo>
                    <a:pt x="189" y="42"/>
                    <a:pt x="189" y="42"/>
                    <a:pt x="189" y="42"/>
                  </a:cubicBezTo>
                  <a:cubicBezTo>
                    <a:pt x="189" y="66"/>
                    <a:pt x="189" y="66"/>
                    <a:pt x="189" y="66"/>
                  </a:cubicBezTo>
                  <a:cubicBezTo>
                    <a:pt x="180" y="62"/>
                    <a:pt x="180" y="62"/>
                    <a:pt x="180" y="62"/>
                  </a:cubicBezTo>
                  <a:cubicBezTo>
                    <a:pt x="178" y="68"/>
                    <a:pt x="176" y="73"/>
                    <a:pt x="175" y="78"/>
                  </a:cubicBezTo>
                  <a:cubicBezTo>
                    <a:pt x="189" y="83"/>
                    <a:pt x="189" y="83"/>
                    <a:pt x="189" y="83"/>
                  </a:cubicBezTo>
                  <a:cubicBezTo>
                    <a:pt x="189" y="150"/>
                    <a:pt x="189" y="150"/>
                    <a:pt x="189" y="150"/>
                  </a:cubicBezTo>
                  <a:cubicBezTo>
                    <a:pt x="187" y="158"/>
                    <a:pt x="187" y="158"/>
                    <a:pt x="187" y="158"/>
                  </a:cubicBezTo>
                  <a:cubicBezTo>
                    <a:pt x="189" y="159"/>
                    <a:pt x="189" y="159"/>
                    <a:pt x="189" y="159"/>
                  </a:cubicBezTo>
                  <a:cubicBezTo>
                    <a:pt x="189" y="179"/>
                    <a:pt x="189" y="179"/>
                    <a:pt x="189" y="179"/>
                  </a:cubicBezTo>
                  <a:cubicBezTo>
                    <a:pt x="181" y="176"/>
                    <a:pt x="181" y="176"/>
                    <a:pt x="181" y="176"/>
                  </a:cubicBezTo>
                  <a:cubicBezTo>
                    <a:pt x="179" y="182"/>
                    <a:pt x="177" y="187"/>
                    <a:pt x="175" y="192"/>
                  </a:cubicBezTo>
                  <a:cubicBezTo>
                    <a:pt x="189" y="197"/>
                    <a:pt x="189" y="197"/>
                    <a:pt x="189" y="197"/>
                  </a:cubicBezTo>
                  <a:cubicBezTo>
                    <a:pt x="189" y="217"/>
                    <a:pt x="189" y="217"/>
                    <a:pt x="189" y="217"/>
                  </a:cubicBezTo>
                  <a:cubicBezTo>
                    <a:pt x="169" y="211"/>
                    <a:pt x="169" y="211"/>
                    <a:pt x="169" y="211"/>
                  </a:cubicBezTo>
                  <a:cubicBezTo>
                    <a:pt x="167" y="216"/>
                    <a:pt x="166" y="221"/>
                    <a:pt x="164" y="226"/>
                  </a:cubicBezTo>
                  <a:cubicBezTo>
                    <a:pt x="172" y="229"/>
                    <a:pt x="180" y="231"/>
                    <a:pt x="188" y="234"/>
                  </a:cubicBezTo>
                  <a:cubicBezTo>
                    <a:pt x="189" y="231"/>
                    <a:pt x="189" y="231"/>
                    <a:pt x="189" y="231"/>
                  </a:cubicBezTo>
                  <a:cubicBezTo>
                    <a:pt x="189" y="258"/>
                    <a:pt x="189" y="258"/>
                    <a:pt x="189" y="258"/>
                  </a:cubicBezTo>
                  <a:cubicBezTo>
                    <a:pt x="143" y="242"/>
                    <a:pt x="143" y="242"/>
                    <a:pt x="143" y="242"/>
                  </a:cubicBezTo>
                  <a:cubicBezTo>
                    <a:pt x="143" y="181"/>
                    <a:pt x="143" y="181"/>
                    <a:pt x="143" y="181"/>
                  </a:cubicBezTo>
                  <a:cubicBezTo>
                    <a:pt x="165" y="188"/>
                    <a:pt x="165" y="188"/>
                    <a:pt x="165" y="188"/>
                  </a:cubicBezTo>
                  <a:cubicBezTo>
                    <a:pt x="166" y="183"/>
                    <a:pt x="168" y="178"/>
                    <a:pt x="170" y="173"/>
                  </a:cubicBezTo>
                  <a:cubicBezTo>
                    <a:pt x="162" y="170"/>
                    <a:pt x="154" y="167"/>
                    <a:pt x="146" y="165"/>
                  </a:cubicBezTo>
                  <a:cubicBezTo>
                    <a:pt x="143" y="172"/>
                    <a:pt x="143" y="172"/>
                    <a:pt x="143" y="172"/>
                  </a:cubicBezTo>
                  <a:cubicBezTo>
                    <a:pt x="143" y="137"/>
                    <a:pt x="143" y="137"/>
                    <a:pt x="143" y="137"/>
                  </a:cubicBezTo>
                  <a:cubicBezTo>
                    <a:pt x="146" y="127"/>
                    <a:pt x="146" y="127"/>
                    <a:pt x="146" y="127"/>
                  </a:cubicBezTo>
                  <a:cubicBezTo>
                    <a:pt x="143" y="126"/>
                    <a:pt x="143" y="126"/>
                    <a:pt x="143" y="126"/>
                  </a:cubicBezTo>
                  <a:cubicBezTo>
                    <a:pt x="143" y="105"/>
                    <a:pt x="143" y="105"/>
                    <a:pt x="143" y="105"/>
                  </a:cubicBezTo>
                  <a:cubicBezTo>
                    <a:pt x="153" y="108"/>
                    <a:pt x="153" y="108"/>
                    <a:pt x="153" y="108"/>
                  </a:cubicBezTo>
                  <a:cubicBezTo>
                    <a:pt x="154" y="103"/>
                    <a:pt x="156" y="98"/>
                    <a:pt x="158" y="93"/>
                  </a:cubicBezTo>
                  <a:cubicBezTo>
                    <a:pt x="143" y="88"/>
                    <a:pt x="143" y="88"/>
                    <a:pt x="143" y="88"/>
                  </a:cubicBezTo>
                  <a:cubicBezTo>
                    <a:pt x="143" y="67"/>
                    <a:pt x="143" y="67"/>
                    <a:pt x="143" y="67"/>
                  </a:cubicBezTo>
                  <a:cubicBezTo>
                    <a:pt x="164" y="74"/>
                    <a:pt x="164" y="74"/>
                    <a:pt x="164" y="74"/>
                  </a:cubicBezTo>
                  <a:cubicBezTo>
                    <a:pt x="166" y="69"/>
                    <a:pt x="168" y="64"/>
                    <a:pt x="169" y="59"/>
                  </a:cubicBezTo>
                  <a:cubicBezTo>
                    <a:pt x="161" y="56"/>
                    <a:pt x="153" y="53"/>
                    <a:pt x="145" y="51"/>
                  </a:cubicBezTo>
                  <a:cubicBezTo>
                    <a:pt x="143" y="56"/>
                    <a:pt x="143" y="56"/>
                    <a:pt x="143" y="56"/>
                  </a:cubicBezTo>
                  <a:lnTo>
                    <a:pt x="143" y="26"/>
                  </a:lnTo>
                  <a:close/>
                  <a:moveTo>
                    <a:pt x="119" y="19"/>
                  </a:moveTo>
                  <a:cubicBezTo>
                    <a:pt x="143" y="26"/>
                    <a:pt x="143" y="26"/>
                    <a:pt x="143" y="26"/>
                  </a:cubicBezTo>
                  <a:cubicBezTo>
                    <a:pt x="143" y="56"/>
                    <a:pt x="143" y="56"/>
                    <a:pt x="143" y="56"/>
                  </a:cubicBezTo>
                  <a:cubicBezTo>
                    <a:pt x="140" y="66"/>
                    <a:pt x="140" y="66"/>
                    <a:pt x="140" y="66"/>
                  </a:cubicBezTo>
                  <a:cubicBezTo>
                    <a:pt x="143" y="67"/>
                    <a:pt x="143" y="67"/>
                    <a:pt x="143" y="67"/>
                  </a:cubicBezTo>
                  <a:cubicBezTo>
                    <a:pt x="143" y="88"/>
                    <a:pt x="143" y="88"/>
                    <a:pt x="143" y="88"/>
                  </a:cubicBezTo>
                  <a:cubicBezTo>
                    <a:pt x="133" y="85"/>
                    <a:pt x="133" y="85"/>
                    <a:pt x="133" y="85"/>
                  </a:cubicBezTo>
                  <a:cubicBezTo>
                    <a:pt x="132" y="90"/>
                    <a:pt x="130" y="95"/>
                    <a:pt x="128" y="100"/>
                  </a:cubicBezTo>
                  <a:cubicBezTo>
                    <a:pt x="143" y="105"/>
                    <a:pt x="143" y="105"/>
                    <a:pt x="143" y="105"/>
                  </a:cubicBezTo>
                  <a:cubicBezTo>
                    <a:pt x="143" y="126"/>
                    <a:pt x="143" y="126"/>
                    <a:pt x="143" y="126"/>
                  </a:cubicBezTo>
                  <a:cubicBezTo>
                    <a:pt x="122" y="119"/>
                    <a:pt x="122" y="119"/>
                    <a:pt x="122" y="119"/>
                  </a:cubicBezTo>
                  <a:cubicBezTo>
                    <a:pt x="119" y="126"/>
                    <a:pt x="119" y="126"/>
                    <a:pt x="119" y="126"/>
                  </a:cubicBezTo>
                  <a:cubicBezTo>
                    <a:pt x="119" y="59"/>
                    <a:pt x="119" y="59"/>
                    <a:pt x="119" y="59"/>
                  </a:cubicBezTo>
                  <a:cubicBezTo>
                    <a:pt x="129" y="63"/>
                    <a:pt x="129" y="63"/>
                    <a:pt x="129" y="63"/>
                  </a:cubicBezTo>
                  <a:cubicBezTo>
                    <a:pt x="131" y="57"/>
                    <a:pt x="132" y="52"/>
                    <a:pt x="134" y="47"/>
                  </a:cubicBezTo>
                  <a:cubicBezTo>
                    <a:pt x="119" y="42"/>
                    <a:pt x="119" y="42"/>
                    <a:pt x="119" y="42"/>
                  </a:cubicBezTo>
                  <a:cubicBezTo>
                    <a:pt x="119" y="19"/>
                    <a:pt x="119" y="19"/>
                    <a:pt x="119" y="19"/>
                  </a:cubicBezTo>
                  <a:close/>
                  <a:moveTo>
                    <a:pt x="143" y="242"/>
                  </a:moveTo>
                  <a:cubicBezTo>
                    <a:pt x="119" y="235"/>
                    <a:pt x="119" y="235"/>
                    <a:pt x="119" y="235"/>
                  </a:cubicBezTo>
                  <a:cubicBezTo>
                    <a:pt x="119" y="207"/>
                    <a:pt x="119" y="207"/>
                    <a:pt x="119" y="207"/>
                  </a:cubicBezTo>
                  <a:cubicBezTo>
                    <a:pt x="123" y="195"/>
                    <a:pt x="123" y="195"/>
                    <a:pt x="123" y="195"/>
                  </a:cubicBezTo>
                  <a:cubicBezTo>
                    <a:pt x="119" y="194"/>
                    <a:pt x="119" y="194"/>
                    <a:pt x="119" y="194"/>
                  </a:cubicBezTo>
                  <a:cubicBezTo>
                    <a:pt x="119" y="173"/>
                    <a:pt x="119" y="173"/>
                    <a:pt x="119" y="173"/>
                  </a:cubicBezTo>
                  <a:cubicBezTo>
                    <a:pt x="130" y="177"/>
                    <a:pt x="130" y="177"/>
                    <a:pt x="130" y="177"/>
                  </a:cubicBezTo>
                  <a:cubicBezTo>
                    <a:pt x="131" y="171"/>
                    <a:pt x="133" y="166"/>
                    <a:pt x="135" y="161"/>
                  </a:cubicBezTo>
                  <a:cubicBezTo>
                    <a:pt x="119" y="156"/>
                    <a:pt x="119" y="156"/>
                    <a:pt x="119" y="156"/>
                  </a:cubicBezTo>
                  <a:cubicBezTo>
                    <a:pt x="119" y="135"/>
                    <a:pt x="119" y="135"/>
                    <a:pt x="119" y="135"/>
                  </a:cubicBezTo>
                  <a:cubicBezTo>
                    <a:pt x="141" y="142"/>
                    <a:pt x="141" y="142"/>
                    <a:pt x="141" y="142"/>
                  </a:cubicBezTo>
                  <a:cubicBezTo>
                    <a:pt x="143" y="137"/>
                    <a:pt x="143" y="137"/>
                    <a:pt x="143" y="137"/>
                  </a:cubicBezTo>
                  <a:cubicBezTo>
                    <a:pt x="143" y="172"/>
                    <a:pt x="143" y="172"/>
                    <a:pt x="143" y="172"/>
                  </a:cubicBezTo>
                  <a:cubicBezTo>
                    <a:pt x="140" y="180"/>
                    <a:pt x="140" y="180"/>
                    <a:pt x="140" y="180"/>
                  </a:cubicBezTo>
                  <a:cubicBezTo>
                    <a:pt x="143" y="181"/>
                    <a:pt x="143" y="181"/>
                    <a:pt x="143" y="181"/>
                  </a:cubicBezTo>
                  <a:lnTo>
                    <a:pt x="143" y="242"/>
                  </a:lnTo>
                  <a:close/>
                  <a:moveTo>
                    <a:pt x="96" y="11"/>
                  </a:moveTo>
                  <a:cubicBezTo>
                    <a:pt x="119" y="19"/>
                    <a:pt x="119" y="19"/>
                    <a:pt x="119" y="19"/>
                  </a:cubicBezTo>
                  <a:cubicBezTo>
                    <a:pt x="119" y="42"/>
                    <a:pt x="119" y="42"/>
                    <a:pt x="119" y="42"/>
                  </a:cubicBezTo>
                  <a:cubicBezTo>
                    <a:pt x="110" y="39"/>
                    <a:pt x="110" y="39"/>
                    <a:pt x="110" y="39"/>
                  </a:cubicBezTo>
                  <a:cubicBezTo>
                    <a:pt x="108" y="44"/>
                    <a:pt x="106" y="49"/>
                    <a:pt x="105" y="54"/>
                  </a:cubicBezTo>
                  <a:cubicBezTo>
                    <a:pt x="119" y="59"/>
                    <a:pt x="119" y="59"/>
                    <a:pt x="119" y="59"/>
                  </a:cubicBezTo>
                  <a:cubicBezTo>
                    <a:pt x="119" y="126"/>
                    <a:pt x="119" y="126"/>
                    <a:pt x="119" y="126"/>
                  </a:cubicBezTo>
                  <a:cubicBezTo>
                    <a:pt x="117" y="134"/>
                    <a:pt x="117" y="134"/>
                    <a:pt x="117" y="134"/>
                  </a:cubicBezTo>
                  <a:cubicBezTo>
                    <a:pt x="119" y="135"/>
                    <a:pt x="119" y="135"/>
                    <a:pt x="119" y="135"/>
                  </a:cubicBezTo>
                  <a:cubicBezTo>
                    <a:pt x="119" y="156"/>
                    <a:pt x="119" y="156"/>
                    <a:pt x="119" y="156"/>
                  </a:cubicBezTo>
                  <a:cubicBezTo>
                    <a:pt x="110" y="153"/>
                    <a:pt x="110" y="153"/>
                    <a:pt x="110" y="153"/>
                  </a:cubicBezTo>
                  <a:cubicBezTo>
                    <a:pt x="109" y="158"/>
                    <a:pt x="107" y="163"/>
                    <a:pt x="105" y="168"/>
                  </a:cubicBezTo>
                  <a:cubicBezTo>
                    <a:pt x="119" y="173"/>
                    <a:pt x="119" y="173"/>
                    <a:pt x="119" y="173"/>
                  </a:cubicBezTo>
                  <a:cubicBezTo>
                    <a:pt x="119" y="194"/>
                    <a:pt x="119" y="194"/>
                    <a:pt x="119" y="194"/>
                  </a:cubicBezTo>
                  <a:cubicBezTo>
                    <a:pt x="99" y="187"/>
                    <a:pt x="99" y="187"/>
                    <a:pt x="99" y="187"/>
                  </a:cubicBezTo>
                  <a:cubicBezTo>
                    <a:pt x="96" y="195"/>
                    <a:pt x="96" y="195"/>
                    <a:pt x="96" y="195"/>
                  </a:cubicBezTo>
                  <a:cubicBezTo>
                    <a:pt x="96" y="128"/>
                    <a:pt x="96" y="128"/>
                    <a:pt x="96" y="128"/>
                  </a:cubicBezTo>
                  <a:cubicBezTo>
                    <a:pt x="106" y="131"/>
                    <a:pt x="106" y="131"/>
                    <a:pt x="106" y="131"/>
                  </a:cubicBezTo>
                  <a:cubicBezTo>
                    <a:pt x="108" y="126"/>
                    <a:pt x="110" y="120"/>
                    <a:pt x="111" y="115"/>
                  </a:cubicBezTo>
                  <a:cubicBezTo>
                    <a:pt x="96" y="110"/>
                    <a:pt x="96" y="110"/>
                    <a:pt x="96" y="110"/>
                  </a:cubicBezTo>
                  <a:cubicBezTo>
                    <a:pt x="96" y="43"/>
                    <a:pt x="96" y="43"/>
                    <a:pt x="96" y="43"/>
                  </a:cubicBezTo>
                  <a:cubicBezTo>
                    <a:pt x="99" y="35"/>
                    <a:pt x="99" y="35"/>
                    <a:pt x="99" y="35"/>
                  </a:cubicBezTo>
                  <a:cubicBezTo>
                    <a:pt x="96" y="34"/>
                    <a:pt x="96" y="34"/>
                    <a:pt x="96" y="34"/>
                  </a:cubicBezTo>
                  <a:cubicBezTo>
                    <a:pt x="96" y="11"/>
                    <a:pt x="96" y="11"/>
                    <a:pt x="96" y="11"/>
                  </a:cubicBezTo>
                  <a:close/>
                  <a:moveTo>
                    <a:pt x="119" y="235"/>
                  </a:moveTo>
                  <a:cubicBezTo>
                    <a:pt x="99" y="228"/>
                    <a:pt x="99" y="228"/>
                    <a:pt x="99" y="228"/>
                  </a:cubicBezTo>
                  <a:cubicBezTo>
                    <a:pt x="96" y="227"/>
                    <a:pt x="96" y="227"/>
                    <a:pt x="96" y="227"/>
                  </a:cubicBezTo>
                  <a:cubicBezTo>
                    <a:pt x="96" y="203"/>
                    <a:pt x="96" y="203"/>
                    <a:pt x="96" y="203"/>
                  </a:cubicBezTo>
                  <a:cubicBezTo>
                    <a:pt x="118" y="211"/>
                    <a:pt x="118" y="211"/>
                    <a:pt x="118" y="211"/>
                  </a:cubicBezTo>
                  <a:cubicBezTo>
                    <a:pt x="119" y="207"/>
                    <a:pt x="119" y="207"/>
                    <a:pt x="119" y="207"/>
                  </a:cubicBezTo>
                  <a:lnTo>
                    <a:pt x="119" y="235"/>
                  </a:lnTo>
                  <a:close/>
                  <a:moveTo>
                    <a:pt x="73" y="3"/>
                  </a:moveTo>
                  <a:cubicBezTo>
                    <a:pt x="96" y="11"/>
                    <a:pt x="96" y="11"/>
                    <a:pt x="96" y="11"/>
                  </a:cubicBezTo>
                  <a:cubicBezTo>
                    <a:pt x="96" y="34"/>
                    <a:pt x="96" y="34"/>
                    <a:pt x="96" y="34"/>
                  </a:cubicBezTo>
                  <a:cubicBezTo>
                    <a:pt x="75" y="27"/>
                    <a:pt x="75" y="27"/>
                    <a:pt x="75" y="27"/>
                  </a:cubicBezTo>
                  <a:cubicBezTo>
                    <a:pt x="73" y="33"/>
                    <a:pt x="73" y="33"/>
                    <a:pt x="73" y="33"/>
                  </a:cubicBezTo>
                  <a:cubicBezTo>
                    <a:pt x="73" y="3"/>
                    <a:pt x="73" y="3"/>
                    <a:pt x="73" y="3"/>
                  </a:cubicBezTo>
                  <a:close/>
                  <a:moveTo>
                    <a:pt x="96" y="227"/>
                  </a:moveTo>
                  <a:cubicBezTo>
                    <a:pt x="73" y="219"/>
                    <a:pt x="73" y="219"/>
                    <a:pt x="73" y="219"/>
                  </a:cubicBezTo>
                  <a:cubicBezTo>
                    <a:pt x="73" y="195"/>
                    <a:pt x="73" y="195"/>
                    <a:pt x="73" y="195"/>
                  </a:cubicBezTo>
                  <a:cubicBezTo>
                    <a:pt x="83" y="199"/>
                    <a:pt x="83" y="199"/>
                    <a:pt x="83" y="199"/>
                  </a:cubicBezTo>
                  <a:cubicBezTo>
                    <a:pt x="85" y="194"/>
                    <a:pt x="87" y="189"/>
                    <a:pt x="88" y="184"/>
                  </a:cubicBezTo>
                  <a:cubicBezTo>
                    <a:pt x="73" y="178"/>
                    <a:pt x="73" y="178"/>
                    <a:pt x="73" y="178"/>
                  </a:cubicBezTo>
                  <a:cubicBezTo>
                    <a:pt x="73" y="82"/>
                    <a:pt x="73" y="82"/>
                    <a:pt x="73" y="82"/>
                  </a:cubicBezTo>
                  <a:cubicBezTo>
                    <a:pt x="83" y="85"/>
                    <a:pt x="83" y="85"/>
                    <a:pt x="83" y="85"/>
                  </a:cubicBezTo>
                  <a:cubicBezTo>
                    <a:pt x="84" y="80"/>
                    <a:pt x="86" y="75"/>
                    <a:pt x="88" y="69"/>
                  </a:cubicBezTo>
                  <a:cubicBezTo>
                    <a:pt x="73" y="64"/>
                    <a:pt x="73" y="64"/>
                    <a:pt x="73" y="64"/>
                  </a:cubicBezTo>
                  <a:cubicBezTo>
                    <a:pt x="73" y="44"/>
                    <a:pt x="73" y="44"/>
                    <a:pt x="73" y="44"/>
                  </a:cubicBezTo>
                  <a:cubicBezTo>
                    <a:pt x="94" y="51"/>
                    <a:pt x="94" y="51"/>
                    <a:pt x="94" y="51"/>
                  </a:cubicBezTo>
                  <a:cubicBezTo>
                    <a:pt x="96" y="43"/>
                    <a:pt x="96" y="43"/>
                    <a:pt x="96" y="43"/>
                  </a:cubicBezTo>
                  <a:cubicBezTo>
                    <a:pt x="96" y="110"/>
                    <a:pt x="96" y="110"/>
                    <a:pt x="96" y="110"/>
                  </a:cubicBezTo>
                  <a:cubicBezTo>
                    <a:pt x="87" y="107"/>
                    <a:pt x="87" y="107"/>
                    <a:pt x="87" y="107"/>
                  </a:cubicBezTo>
                  <a:cubicBezTo>
                    <a:pt x="85" y="112"/>
                    <a:pt x="83" y="117"/>
                    <a:pt x="82" y="123"/>
                  </a:cubicBezTo>
                  <a:cubicBezTo>
                    <a:pt x="96" y="128"/>
                    <a:pt x="96" y="128"/>
                    <a:pt x="96" y="128"/>
                  </a:cubicBezTo>
                  <a:cubicBezTo>
                    <a:pt x="96" y="195"/>
                    <a:pt x="96" y="195"/>
                    <a:pt x="96" y="195"/>
                  </a:cubicBezTo>
                  <a:cubicBezTo>
                    <a:pt x="94" y="202"/>
                    <a:pt x="94" y="202"/>
                    <a:pt x="94" y="202"/>
                  </a:cubicBezTo>
                  <a:cubicBezTo>
                    <a:pt x="96" y="203"/>
                    <a:pt x="96" y="203"/>
                    <a:pt x="96" y="203"/>
                  </a:cubicBezTo>
                  <a:lnTo>
                    <a:pt x="96" y="227"/>
                  </a:lnTo>
                  <a:close/>
                  <a:moveTo>
                    <a:pt x="39" y="81"/>
                  </a:moveTo>
                  <a:cubicBezTo>
                    <a:pt x="65" y="0"/>
                    <a:pt x="65" y="0"/>
                    <a:pt x="65" y="0"/>
                  </a:cubicBezTo>
                  <a:cubicBezTo>
                    <a:pt x="73" y="3"/>
                    <a:pt x="73" y="3"/>
                    <a:pt x="73" y="3"/>
                  </a:cubicBezTo>
                  <a:cubicBezTo>
                    <a:pt x="73" y="33"/>
                    <a:pt x="73" y="33"/>
                    <a:pt x="73" y="33"/>
                  </a:cubicBezTo>
                  <a:cubicBezTo>
                    <a:pt x="69" y="43"/>
                    <a:pt x="69" y="43"/>
                    <a:pt x="69" y="43"/>
                  </a:cubicBezTo>
                  <a:cubicBezTo>
                    <a:pt x="73" y="44"/>
                    <a:pt x="73" y="44"/>
                    <a:pt x="73" y="44"/>
                  </a:cubicBezTo>
                  <a:cubicBezTo>
                    <a:pt x="73" y="64"/>
                    <a:pt x="73" y="64"/>
                    <a:pt x="73" y="64"/>
                  </a:cubicBezTo>
                  <a:cubicBezTo>
                    <a:pt x="63" y="61"/>
                    <a:pt x="63" y="61"/>
                    <a:pt x="63" y="61"/>
                  </a:cubicBezTo>
                  <a:cubicBezTo>
                    <a:pt x="62" y="66"/>
                    <a:pt x="60" y="72"/>
                    <a:pt x="58" y="77"/>
                  </a:cubicBezTo>
                  <a:cubicBezTo>
                    <a:pt x="73" y="82"/>
                    <a:pt x="73" y="82"/>
                    <a:pt x="73" y="82"/>
                  </a:cubicBezTo>
                  <a:cubicBezTo>
                    <a:pt x="73" y="178"/>
                    <a:pt x="73" y="178"/>
                    <a:pt x="73" y="178"/>
                  </a:cubicBezTo>
                  <a:cubicBezTo>
                    <a:pt x="64" y="175"/>
                    <a:pt x="64" y="175"/>
                    <a:pt x="64" y="175"/>
                  </a:cubicBezTo>
                  <a:cubicBezTo>
                    <a:pt x="62" y="181"/>
                    <a:pt x="60" y="186"/>
                    <a:pt x="59" y="191"/>
                  </a:cubicBezTo>
                  <a:cubicBezTo>
                    <a:pt x="73" y="195"/>
                    <a:pt x="73" y="195"/>
                    <a:pt x="73" y="195"/>
                  </a:cubicBezTo>
                  <a:cubicBezTo>
                    <a:pt x="73" y="219"/>
                    <a:pt x="73" y="219"/>
                    <a:pt x="73" y="219"/>
                  </a:cubicBezTo>
                  <a:cubicBezTo>
                    <a:pt x="39" y="207"/>
                    <a:pt x="39" y="207"/>
                    <a:pt x="39" y="207"/>
                  </a:cubicBezTo>
                  <a:cubicBezTo>
                    <a:pt x="39" y="184"/>
                    <a:pt x="39" y="184"/>
                    <a:pt x="39" y="184"/>
                  </a:cubicBezTo>
                  <a:cubicBezTo>
                    <a:pt x="48" y="187"/>
                    <a:pt x="48" y="187"/>
                    <a:pt x="48" y="187"/>
                  </a:cubicBezTo>
                  <a:cubicBezTo>
                    <a:pt x="50" y="182"/>
                    <a:pt x="52" y="177"/>
                    <a:pt x="53" y="172"/>
                  </a:cubicBezTo>
                  <a:cubicBezTo>
                    <a:pt x="39" y="167"/>
                    <a:pt x="39" y="167"/>
                    <a:pt x="39" y="167"/>
                  </a:cubicBezTo>
                  <a:cubicBezTo>
                    <a:pt x="39" y="146"/>
                    <a:pt x="39" y="146"/>
                    <a:pt x="39" y="146"/>
                  </a:cubicBezTo>
                  <a:cubicBezTo>
                    <a:pt x="60" y="153"/>
                    <a:pt x="60" y="153"/>
                    <a:pt x="60" y="153"/>
                  </a:cubicBezTo>
                  <a:cubicBezTo>
                    <a:pt x="61" y="148"/>
                    <a:pt x="63" y="143"/>
                    <a:pt x="65" y="138"/>
                  </a:cubicBezTo>
                  <a:cubicBezTo>
                    <a:pt x="57" y="135"/>
                    <a:pt x="49" y="132"/>
                    <a:pt x="40" y="129"/>
                  </a:cubicBezTo>
                  <a:cubicBezTo>
                    <a:pt x="39" y="135"/>
                    <a:pt x="39" y="135"/>
                    <a:pt x="39" y="135"/>
                  </a:cubicBezTo>
                  <a:lnTo>
                    <a:pt x="39" y="81"/>
                  </a:lnTo>
                  <a:close/>
                  <a:moveTo>
                    <a:pt x="0" y="195"/>
                  </a:moveTo>
                  <a:cubicBezTo>
                    <a:pt x="39" y="81"/>
                    <a:pt x="39" y="81"/>
                    <a:pt x="39" y="81"/>
                  </a:cubicBezTo>
                  <a:cubicBezTo>
                    <a:pt x="39" y="135"/>
                    <a:pt x="39" y="135"/>
                    <a:pt x="39" y="135"/>
                  </a:cubicBezTo>
                  <a:cubicBezTo>
                    <a:pt x="35" y="145"/>
                    <a:pt x="35" y="145"/>
                    <a:pt x="35" y="145"/>
                  </a:cubicBezTo>
                  <a:cubicBezTo>
                    <a:pt x="39" y="146"/>
                    <a:pt x="39" y="146"/>
                    <a:pt x="39" y="146"/>
                  </a:cubicBezTo>
                  <a:cubicBezTo>
                    <a:pt x="39" y="167"/>
                    <a:pt x="39" y="167"/>
                    <a:pt x="39" y="167"/>
                  </a:cubicBezTo>
                  <a:cubicBezTo>
                    <a:pt x="29" y="164"/>
                    <a:pt x="29" y="164"/>
                    <a:pt x="29" y="164"/>
                  </a:cubicBezTo>
                  <a:cubicBezTo>
                    <a:pt x="27" y="169"/>
                    <a:pt x="25" y="174"/>
                    <a:pt x="24" y="179"/>
                  </a:cubicBezTo>
                  <a:cubicBezTo>
                    <a:pt x="39" y="184"/>
                    <a:pt x="39" y="184"/>
                    <a:pt x="39" y="184"/>
                  </a:cubicBezTo>
                  <a:cubicBezTo>
                    <a:pt x="39" y="207"/>
                    <a:pt x="39" y="207"/>
                    <a:pt x="39" y="207"/>
                  </a:cubicBezTo>
                  <a:lnTo>
                    <a:pt x="0" y="195"/>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6" name="iśḻîdè">
              <a:extLst>
                <a:ext uri="{FF2B5EF4-FFF2-40B4-BE49-F238E27FC236}">
                  <a16:creationId xmlns:a16="http://schemas.microsoft.com/office/drawing/2014/main" id="{A0F0B936-DD60-4DD8-95C9-6E2B6FDDB2CD}"/>
                </a:ext>
              </a:extLst>
            </p:cNvPr>
            <p:cNvSpPr/>
            <p:nvPr/>
          </p:nvSpPr>
          <p:spPr bwMode="auto">
            <a:xfrm flipH="1">
              <a:off x="2251617" y="2019694"/>
              <a:ext cx="290271" cy="182750"/>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8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1"/>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8"/>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7" name="iṧlîďê">
              <a:extLst>
                <a:ext uri="{FF2B5EF4-FFF2-40B4-BE49-F238E27FC236}">
                  <a16:creationId xmlns:a16="http://schemas.microsoft.com/office/drawing/2014/main" id="{485F2CED-B0C3-47F5-804D-4C834C63CB6F}"/>
                </a:ext>
              </a:extLst>
            </p:cNvPr>
            <p:cNvSpPr/>
            <p:nvPr/>
          </p:nvSpPr>
          <p:spPr bwMode="auto">
            <a:xfrm flipH="1">
              <a:off x="2671938" y="1818669"/>
              <a:ext cx="234090" cy="148231"/>
            </a:xfrm>
            <a:custGeom>
              <a:avLst/>
              <a:gdLst>
                <a:gd name="T0" fmla="*/ 98 w 140"/>
                <a:gd name="T1" fmla="*/ 11 h 91"/>
                <a:gd name="T2" fmla="*/ 140 w 140"/>
                <a:gd name="T3" fmla="*/ 42 h 91"/>
                <a:gd name="T4" fmla="*/ 98 w 140"/>
                <a:gd name="T5" fmla="*/ 73 h 91"/>
                <a:gd name="T6" fmla="*/ 82 w 140"/>
                <a:gd name="T7" fmla="*/ 71 h 91"/>
                <a:gd name="T8" fmla="*/ 42 w 140"/>
                <a:gd name="T9" fmla="*/ 91 h 91"/>
                <a:gd name="T10" fmla="*/ 0 w 140"/>
                <a:gd name="T11" fmla="*/ 59 h 91"/>
                <a:gd name="T12" fmla="*/ 9 w 140"/>
                <a:gd name="T13" fmla="*/ 40 h 91"/>
                <a:gd name="T14" fmla="*/ 7 w 140"/>
                <a:gd name="T15" fmla="*/ 31 h 91"/>
                <a:gd name="T16" fmla="*/ 50 w 140"/>
                <a:gd name="T17" fmla="*/ 0 h 91"/>
                <a:gd name="T18" fmla="*/ 84 w 140"/>
                <a:gd name="T19" fmla="*/ 13 h 91"/>
                <a:gd name="T20" fmla="*/ 98 w 140"/>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91">
                  <a:moveTo>
                    <a:pt x="98" y="11"/>
                  </a:moveTo>
                  <a:cubicBezTo>
                    <a:pt x="121" y="11"/>
                    <a:pt x="140" y="25"/>
                    <a:pt x="140" y="42"/>
                  </a:cubicBezTo>
                  <a:cubicBezTo>
                    <a:pt x="140" y="59"/>
                    <a:pt x="121" y="73"/>
                    <a:pt x="98" y="73"/>
                  </a:cubicBezTo>
                  <a:cubicBezTo>
                    <a:pt x="92" y="73"/>
                    <a:pt x="87" y="73"/>
                    <a:pt x="82" y="71"/>
                  </a:cubicBezTo>
                  <a:cubicBezTo>
                    <a:pt x="75" y="82"/>
                    <a:pt x="60" y="91"/>
                    <a:pt x="42" y="91"/>
                  </a:cubicBezTo>
                  <a:cubicBezTo>
                    <a:pt x="19" y="91"/>
                    <a:pt x="0" y="77"/>
                    <a:pt x="0" y="59"/>
                  </a:cubicBezTo>
                  <a:cubicBezTo>
                    <a:pt x="0" y="52"/>
                    <a:pt x="3" y="45"/>
                    <a:pt x="9" y="40"/>
                  </a:cubicBezTo>
                  <a:cubicBezTo>
                    <a:pt x="8" y="37"/>
                    <a:pt x="7" y="34"/>
                    <a:pt x="7" y="31"/>
                  </a:cubicBezTo>
                  <a:cubicBezTo>
                    <a:pt x="7" y="14"/>
                    <a:pt x="26" y="0"/>
                    <a:pt x="50" y="0"/>
                  </a:cubicBezTo>
                  <a:cubicBezTo>
                    <a:pt x="64" y="0"/>
                    <a:pt x="77" y="5"/>
                    <a:pt x="84" y="13"/>
                  </a:cubicBezTo>
                  <a:cubicBezTo>
                    <a:pt x="89" y="12"/>
                    <a:pt x="93" y="11"/>
                    <a:pt x="98"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8" name="iŝļïḓé">
              <a:extLst>
                <a:ext uri="{FF2B5EF4-FFF2-40B4-BE49-F238E27FC236}">
                  <a16:creationId xmlns:a16="http://schemas.microsoft.com/office/drawing/2014/main" id="{27C1B33D-4F29-4AB5-AECC-1A96861B40AE}"/>
                </a:ext>
              </a:extLst>
            </p:cNvPr>
            <p:cNvSpPr/>
            <p:nvPr/>
          </p:nvSpPr>
          <p:spPr bwMode="auto">
            <a:xfrm flipH="1">
              <a:off x="3919376" y="1760798"/>
              <a:ext cx="289231" cy="183765"/>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9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2"/>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9"/>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9" name="îsliďè">
              <a:extLst>
                <a:ext uri="{FF2B5EF4-FFF2-40B4-BE49-F238E27FC236}">
                  <a16:creationId xmlns:a16="http://schemas.microsoft.com/office/drawing/2014/main" id="{EC04BD24-D9B4-42D3-A6B8-05BCB0B10A63}"/>
                </a:ext>
              </a:extLst>
            </p:cNvPr>
            <p:cNvSpPr/>
            <p:nvPr/>
          </p:nvSpPr>
          <p:spPr bwMode="auto">
            <a:xfrm flipH="1">
              <a:off x="4182597" y="1971976"/>
              <a:ext cx="235130" cy="148231"/>
            </a:xfrm>
            <a:custGeom>
              <a:avLst/>
              <a:gdLst>
                <a:gd name="T0" fmla="*/ 99 w 141"/>
                <a:gd name="T1" fmla="*/ 11 h 91"/>
                <a:gd name="T2" fmla="*/ 141 w 141"/>
                <a:gd name="T3" fmla="*/ 42 h 91"/>
                <a:gd name="T4" fmla="*/ 99 w 141"/>
                <a:gd name="T5" fmla="*/ 73 h 91"/>
                <a:gd name="T6" fmla="*/ 82 w 141"/>
                <a:gd name="T7" fmla="*/ 71 h 91"/>
                <a:gd name="T8" fmla="*/ 43 w 141"/>
                <a:gd name="T9" fmla="*/ 91 h 91"/>
                <a:gd name="T10" fmla="*/ 0 w 141"/>
                <a:gd name="T11" fmla="*/ 59 h 91"/>
                <a:gd name="T12" fmla="*/ 10 w 141"/>
                <a:gd name="T13" fmla="*/ 40 h 91"/>
                <a:gd name="T14" fmla="*/ 8 w 141"/>
                <a:gd name="T15" fmla="*/ 31 h 91"/>
                <a:gd name="T16" fmla="*/ 50 w 141"/>
                <a:gd name="T17" fmla="*/ 0 h 91"/>
                <a:gd name="T18" fmla="*/ 85 w 141"/>
                <a:gd name="T19" fmla="*/ 13 h 91"/>
                <a:gd name="T20" fmla="*/ 99 w 141"/>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91">
                  <a:moveTo>
                    <a:pt x="99" y="11"/>
                  </a:moveTo>
                  <a:cubicBezTo>
                    <a:pt x="122" y="11"/>
                    <a:pt x="141" y="25"/>
                    <a:pt x="141" y="42"/>
                  </a:cubicBezTo>
                  <a:cubicBezTo>
                    <a:pt x="141" y="60"/>
                    <a:pt x="122" y="73"/>
                    <a:pt x="99" y="73"/>
                  </a:cubicBezTo>
                  <a:cubicBezTo>
                    <a:pt x="93" y="73"/>
                    <a:pt x="87" y="73"/>
                    <a:pt x="82" y="71"/>
                  </a:cubicBezTo>
                  <a:cubicBezTo>
                    <a:pt x="76" y="83"/>
                    <a:pt x="61" y="91"/>
                    <a:pt x="43" y="91"/>
                  </a:cubicBezTo>
                  <a:cubicBezTo>
                    <a:pt x="19" y="91"/>
                    <a:pt x="0" y="77"/>
                    <a:pt x="0" y="59"/>
                  </a:cubicBezTo>
                  <a:cubicBezTo>
                    <a:pt x="0" y="52"/>
                    <a:pt x="4" y="45"/>
                    <a:pt x="10" y="40"/>
                  </a:cubicBezTo>
                  <a:cubicBezTo>
                    <a:pt x="8" y="37"/>
                    <a:pt x="8" y="34"/>
                    <a:pt x="8" y="31"/>
                  </a:cubicBezTo>
                  <a:cubicBezTo>
                    <a:pt x="8" y="14"/>
                    <a:pt x="27" y="0"/>
                    <a:pt x="50" y="0"/>
                  </a:cubicBezTo>
                  <a:cubicBezTo>
                    <a:pt x="65" y="0"/>
                    <a:pt x="77" y="5"/>
                    <a:pt x="85" y="13"/>
                  </a:cubicBezTo>
                  <a:cubicBezTo>
                    <a:pt x="89" y="12"/>
                    <a:pt x="94" y="11"/>
                    <a:pt x="99"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91" name="işḻîḍe">
            <a:extLst>
              <a:ext uri="{FF2B5EF4-FFF2-40B4-BE49-F238E27FC236}">
                <a16:creationId xmlns:a16="http://schemas.microsoft.com/office/drawing/2014/main" id="{55F84246-DE96-4F18-A86C-755445C7966C}"/>
              </a:ext>
            </a:extLst>
          </p:cNvPr>
          <p:cNvSpPr/>
          <p:nvPr/>
        </p:nvSpPr>
        <p:spPr bwMode="auto">
          <a:xfrm flipH="1">
            <a:off x="1913489" y="2580127"/>
            <a:ext cx="2953691" cy="3495603"/>
          </a:xfrm>
          <a:custGeom>
            <a:avLst/>
            <a:gdLst>
              <a:gd name="T0" fmla="*/ 0 w 1764"/>
              <a:gd name="T1" fmla="*/ 564 h 2140"/>
              <a:gd name="T2" fmla="*/ 153 w 1764"/>
              <a:gd name="T3" fmla="*/ 803 h 2140"/>
              <a:gd name="T4" fmla="*/ 345 w 1764"/>
              <a:gd name="T5" fmla="*/ 594 h 2140"/>
              <a:gd name="T6" fmla="*/ 239 w 1764"/>
              <a:gd name="T7" fmla="*/ 585 h 2140"/>
              <a:gd name="T8" fmla="*/ 241 w 1764"/>
              <a:gd name="T9" fmla="*/ 567 h 2140"/>
              <a:gd name="T10" fmla="*/ 610 w 1764"/>
              <a:gd name="T11" fmla="*/ 79 h 2140"/>
              <a:gd name="T12" fmla="*/ 1428 w 1764"/>
              <a:gd name="T13" fmla="*/ 464 h 2140"/>
              <a:gd name="T14" fmla="*/ 1445 w 1764"/>
              <a:gd name="T15" fmla="*/ 533 h 2140"/>
              <a:gd name="T16" fmla="*/ 1454 w 1764"/>
              <a:gd name="T17" fmla="*/ 624 h 2140"/>
              <a:gd name="T18" fmla="*/ 1436 w 1764"/>
              <a:gd name="T19" fmla="*/ 839 h 2140"/>
              <a:gd name="T20" fmla="*/ 1335 w 1764"/>
              <a:gd name="T21" fmla="*/ 1060 h 2140"/>
              <a:gd name="T22" fmla="*/ 1173 w 1764"/>
              <a:gd name="T23" fmla="*/ 1173 h 2140"/>
              <a:gd name="T24" fmla="*/ 968 w 1764"/>
              <a:gd name="T25" fmla="*/ 1232 h 2140"/>
              <a:gd name="T26" fmla="*/ 759 w 1764"/>
              <a:gd name="T27" fmla="*/ 1331 h 2140"/>
              <a:gd name="T28" fmla="*/ 314 w 1764"/>
              <a:gd name="T29" fmla="*/ 2135 h 2140"/>
              <a:gd name="T30" fmla="*/ 656 w 1764"/>
              <a:gd name="T31" fmla="*/ 1947 h 2140"/>
              <a:gd name="T32" fmla="*/ 945 w 1764"/>
              <a:gd name="T33" fmla="*/ 2140 h 2140"/>
              <a:gd name="T34" fmla="*/ 974 w 1764"/>
              <a:gd name="T35" fmla="*/ 2019 h 2140"/>
              <a:gd name="T36" fmla="*/ 1030 w 1764"/>
              <a:gd name="T37" fmla="*/ 1865 h 2140"/>
              <a:gd name="T38" fmla="*/ 1105 w 1764"/>
              <a:gd name="T39" fmla="*/ 1739 h 2140"/>
              <a:gd name="T40" fmla="*/ 1189 w 1764"/>
              <a:gd name="T41" fmla="*/ 1702 h 2140"/>
              <a:gd name="T42" fmla="*/ 1247 w 1764"/>
              <a:gd name="T43" fmla="*/ 1709 h 2140"/>
              <a:gd name="T44" fmla="*/ 1539 w 1764"/>
              <a:gd name="T45" fmla="*/ 1727 h 2140"/>
              <a:gd name="T46" fmla="*/ 1573 w 1764"/>
              <a:gd name="T47" fmla="*/ 1687 h 2140"/>
              <a:gd name="T48" fmla="*/ 1576 w 1764"/>
              <a:gd name="T49" fmla="*/ 1634 h 2140"/>
              <a:gd name="T50" fmla="*/ 1576 w 1764"/>
              <a:gd name="T51" fmla="*/ 1580 h 2140"/>
              <a:gd name="T52" fmla="*/ 1608 w 1764"/>
              <a:gd name="T53" fmla="*/ 1529 h 2140"/>
              <a:gd name="T54" fmla="*/ 1628 w 1764"/>
              <a:gd name="T55" fmla="*/ 1524 h 2140"/>
              <a:gd name="T56" fmla="*/ 1643 w 1764"/>
              <a:gd name="T57" fmla="*/ 1517 h 2140"/>
              <a:gd name="T58" fmla="*/ 1627 w 1764"/>
              <a:gd name="T59" fmla="*/ 1463 h 2140"/>
              <a:gd name="T60" fmla="*/ 1618 w 1764"/>
              <a:gd name="T61" fmla="*/ 1451 h 2140"/>
              <a:gd name="T62" fmla="*/ 1629 w 1764"/>
              <a:gd name="T63" fmla="*/ 1441 h 2140"/>
              <a:gd name="T64" fmla="*/ 1649 w 1764"/>
              <a:gd name="T65" fmla="*/ 1412 h 2140"/>
              <a:gd name="T66" fmla="*/ 1653 w 1764"/>
              <a:gd name="T67" fmla="*/ 1400 h 2140"/>
              <a:gd name="T68" fmla="*/ 1636 w 1764"/>
              <a:gd name="T69" fmla="*/ 1354 h 2140"/>
              <a:gd name="T70" fmla="*/ 1632 w 1764"/>
              <a:gd name="T71" fmla="*/ 1324 h 2140"/>
              <a:gd name="T72" fmla="*/ 1674 w 1764"/>
              <a:gd name="T73" fmla="*/ 1284 h 2140"/>
              <a:gd name="T74" fmla="*/ 1739 w 1764"/>
              <a:gd name="T75" fmla="*/ 1245 h 2140"/>
              <a:gd name="T76" fmla="*/ 1763 w 1764"/>
              <a:gd name="T77" fmla="*/ 1216 h 2140"/>
              <a:gd name="T78" fmla="*/ 1748 w 1764"/>
              <a:gd name="T79" fmla="*/ 1174 h 2140"/>
              <a:gd name="T80" fmla="*/ 1696 w 1764"/>
              <a:gd name="T81" fmla="*/ 1107 h 2140"/>
              <a:gd name="T82" fmla="*/ 1623 w 1764"/>
              <a:gd name="T83" fmla="*/ 829 h 2140"/>
              <a:gd name="T84" fmla="*/ 1635 w 1764"/>
              <a:gd name="T85" fmla="*/ 704 h 2140"/>
              <a:gd name="T86" fmla="*/ 1620 w 1764"/>
              <a:gd name="T87" fmla="*/ 563 h 2140"/>
              <a:gd name="T88" fmla="*/ 1569 w 1764"/>
              <a:gd name="T89" fmla="*/ 440 h 2140"/>
              <a:gd name="T90" fmla="*/ 1471 w 1764"/>
              <a:gd name="T91" fmla="*/ 298 h 2140"/>
              <a:gd name="T92" fmla="*/ 1365 w 1764"/>
              <a:gd name="T93" fmla="*/ 192 h 2140"/>
              <a:gd name="T94" fmla="*/ 959 w 1764"/>
              <a:gd name="T95" fmla="*/ 30 h 2140"/>
              <a:gd name="T96" fmla="*/ 425 w 1764"/>
              <a:gd name="T97" fmla="*/ 111 h 2140"/>
              <a:gd name="T98" fmla="*/ 98 w 1764"/>
              <a:gd name="T99" fmla="*/ 557 h 2140"/>
              <a:gd name="T100" fmla="*/ 95 w 1764"/>
              <a:gd name="T101" fmla="*/ 572 h 2140"/>
              <a:gd name="T102" fmla="*/ 0 w 1764"/>
              <a:gd name="T103" fmla="*/ 564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64" h="2140">
                <a:moveTo>
                  <a:pt x="0" y="564"/>
                </a:moveTo>
                <a:cubicBezTo>
                  <a:pt x="153" y="803"/>
                  <a:pt x="153" y="803"/>
                  <a:pt x="153" y="803"/>
                </a:cubicBezTo>
                <a:cubicBezTo>
                  <a:pt x="345" y="594"/>
                  <a:pt x="345" y="594"/>
                  <a:pt x="345" y="594"/>
                </a:cubicBezTo>
                <a:cubicBezTo>
                  <a:pt x="239" y="585"/>
                  <a:pt x="239" y="585"/>
                  <a:pt x="239" y="585"/>
                </a:cubicBezTo>
                <a:cubicBezTo>
                  <a:pt x="241" y="567"/>
                  <a:pt x="241" y="567"/>
                  <a:pt x="241" y="567"/>
                </a:cubicBezTo>
                <a:cubicBezTo>
                  <a:pt x="265" y="337"/>
                  <a:pt x="371" y="134"/>
                  <a:pt x="610" y="79"/>
                </a:cubicBezTo>
                <a:cubicBezTo>
                  <a:pt x="952" y="0"/>
                  <a:pt x="1303" y="112"/>
                  <a:pt x="1428" y="464"/>
                </a:cubicBezTo>
                <a:cubicBezTo>
                  <a:pt x="1436" y="486"/>
                  <a:pt x="1441" y="510"/>
                  <a:pt x="1445" y="533"/>
                </a:cubicBezTo>
                <a:cubicBezTo>
                  <a:pt x="1450" y="563"/>
                  <a:pt x="1453" y="594"/>
                  <a:pt x="1454" y="624"/>
                </a:cubicBezTo>
                <a:cubicBezTo>
                  <a:pt x="1457" y="695"/>
                  <a:pt x="1451" y="769"/>
                  <a:pt x="1436" y="839"/>
                </a:cubicBezTo>
                <a:cubicBezTo>
                  <a:pt x="1419" y="918"/>
                  <a:pt x="1388" y="998"/>
                  <a:pt x="1335" y="1060"/>
                </a:cubicBezTo>
                <a:cubicBezTo>
                  <a:pt x="1290" y="1112"/>
                  <a:pt x="1237" y="1147"/>
                  <a:pt x="1173" y="1173"/>
                </a:cubicBezTo>
                <a:cubicBezTo>
                  <a:pt x="1107" y="1199"/>
                  <a:pt x="1036" y="1213"/>
                  <a:pt x="968" y="1232"/>
                </a:cubicBezTo>
                <a:cubicBezTo>
                  <a:pt x="891" y="1255"/>
                  <a:pt x="823" y="1283"/>
                  <a:pt x="759" y="1331"/>
                </a:cubicBezTo>
                <a:cubicBezTo>
                  <a:pt x="528" y="1503"/>
                  <a:pt x="387" y="1857"/>
                  <a:pt x="314" y="2135"/>
                </a:cubicBezTo>
                <a:cubicBezTo>
                  <a:pt x="656" y="1947"/>
                  <a:pt x="656" y="1947"/>
                  <a:pt x="656" y="1947"/>
                </a:cubicBezTo>
                <a:cubicBezTo>
                  <a:pt x="945" y="2140"/>
                  <a:pt x="945" y="2140"/>
                  <a:pt x="945" y="2140"/>
                </a:cubicBezTo>
                <a:cubicBezTo>
                  <a:pt x="951" y="2099"/>
                  <a:pt x="962" y="2058"/>
                  <a:pt x="974" y="2019"/>
                </a:cubicBezTo>
                <a:cubicBezTo>
                  <a:pt x="991" y="1967"/>
                  <a:pt x="1011" y="1916"/>
                  <a:pt x="1030" y="1865"/>
                </a:cubicBezTo>
                <a:cubicBezTo>
                  <a:pt x="1047" y="1821"/>
                  <a:pt x="1070" y="1771"/>
                  <a:pt x="1105" y="1739"/>
                </a:cubicBezTo>
                <a:cubicBezTo>
                  <a:pt x="1129" y="1716"/>
                  <a:pt x="1156" y="1703"/>
                  <a:pt x="1189" y="1702"/>
                </a:cubicBezTo>
                <a:cubicBezTo>
                  <a:pt x="1209" y="1702"/>
                  <a:pt x="1228" y="1705"/>
                  <a:pt x="1247" y="1709"/>
                </a:cubicBezTo>
                <a:cubicBezTo>
                  <a:pt x="1313" y="1725"/>
                  <a:pt x="1479" y="1762"/>
                  <a:pt x="1539" y="1727"/>
                </a:cubicBezTo>
                <a:cubicBezTo>
                  <a:pt x="1556" y="1718"/>
                  <a:pt x="1568" y="1706"/>
                  <a:pt x="1573" y="1687"/>
                </a:cubicBezTo>
                <a:cubicBezTo>
                  <a:pt x="1577" y="1670"/>
                  <a:pt x="1577" y="1651"/>
                  <a:pt x="1576" y="1634"/>
                </a:cubicBezTo>
                <a:cubicBezTo>
                  <a:pt x="1575" y="1616"/>
                  <a:pt x="1574" y="1598"/>
                  <a:pt x="1576" y="1580"/>
                </a:cubicBezTo>
                <a:cubicBezTo>
                  <a:pt x="1578" y="1558"/>
                  <a:pt x="1586" y="1538"/>
                  <a:pt x="1608" y="1529"/>
                </a:cubicBezTo>
                <a:cubicBezTo>
                  <a:pt x="1614" y="1527"/>
                  <a:pt x="1621" y="1525"/>
                  <a:pt x="1628" y="1524"/>
                </a:cubicBezTo>
                <a:cubicBezTo>
                  <a:pt x="1634" y="1523"/>
                  <a:pt x="1640" y="1521"/>
                  <a:pt x="1643" y="1517"/>
                </a:cubicBezTo>
                <a:cubicBezTo>
                  <a:pt x="1652" y="1505"/>
                  <a:pt x="1634" y="1473"/>
                  <a:pt x="1627" y="1463"/>
                </a:cubicBezTo>
                <a:cubicBezTo>
                  <a:pt x="1618" y="1451"/>
                  <a:pt x="1618" y="1451"/>
                  <a:pt x="1618" y="1451"/>
                </a:cubicBezTo>
                <a:cubicBezTo>
                  <a:pt x="1629" y="1441"/>
                  <a:pt x="1629" y="1441"/>
                  <a:pt x="1629" y="1441"/>
                </a:cubicBezTo>
                <a:cubicBezTo>
                  <a:pt x="1636" y="1433"/>
                  <a:pt x="1644" y="1421"/>
                  <a:pt x="1649" y="1412"/>
                </a:cubicBezTo>
                <a:cubicBezTo>
                  <a:pt x="1651" y="1409"/>
                  <a:pt x="1653" y="1405"/>
                  <a:pt x="1653" y="1400"/>
                </a:cubicBezTo>
                <a:cubicBezTo>
                  <a:pt x="1654" y="1388"/>
                  <a:pt x="1641" y="1365"/>
                  <a:pt x="1636" y="1354"/>
                </a:cubicBezTo>
                <a:cubicBezTo>
                  <a:pt x="1631" y="1345"/>
                  <a:pt x="1629" y="1334"/>
                  <a:pt x="1632" y="1324"/>
                </a:cubicBezTo>
                <a:cubicBezTo>
                  <a:pt x="1637" y="1304"/>
                  <a:pt x="1658" y="1293"/>
                  <a:pt x="1674" y="1284"/>
                </a:cubicBezTo>
                <a:cubicBezTo>
                  <a:pt x="1697" y="1271"/>
                  <a:pt x="1718" y="1260"/>
                  <a:pt x="1739" y="1245"/>
                </a:cubicBezTo>
                <a:cubicBezTo>
                  <a:pt x="1749" y="1238"/>
                  <a:pt x="1761" y="1228"/>
                  <a:pt x="1763" y="1216"/>
                </a:cubicBezTo>
                <a:cubicBezTo>
                  <a:pt x="1764" y="1202"/>
                  <a:pt x="1755" y="1185"/>
                  <a:pt x="1748" y="1174"/>
                </a:cubicBezTo>
                <a:cubicBezTo>
                  <a:pt x="1733" y="1151"/>
                  <a:pt x="1713" y="1129"/>
                  <a:pt x="1696" y="1107"/>
                </a:cubicBezTo>
                <a:cubicBezTo>
                  <a:pt x="1631" y="1027"/>
                  <a:pt x="1608" y="931"/>
                  <a:pt x="1623" y="829"/>
                </a:cubicBezTo>
                <a:cubicBezTo>
                  <a:pt x="1629" y="787"/>
                  <a:pt x="1634" y="746"/>
                  <a:pt x="1635" y="704"/>
                </a:cubicBezTo>
                <a:cubicBezTo>
                  <a:pt x="1635" y="656"/>
                  <a:pt x="1630" y="610"/>
                  <a:pt x="1620" y="563"/>
                </a:cubicBezTo>
                <a:cubicBezTo>
                  <a:pt x="1611" y="522"/>
                  <a:pt x="1589" y="477"/>
                  <a:pt x="1569" y="440"/>
                </a:cubicBezTo>
                <a:cubicBezTo>
                  <a:pt x="1541" y="390"/>
                  <a:pt x="1508" y="342"/>
                  <a:pt x="1471" y="298"/>
                </a:cubicBezTo>
                <a:cubicBezTo>
                  <a:pt x="1440" y="260"/>
                  <a:pt x="1404" y="223"/>
                  <a:pt x="1365" y="192"/>
                </a:cubicBezTo>
                <a:cubicBezTo>
                  <a:pt x="1253" y="103"/>
                  <a:pt x="1099" y="49"/>
                  <a:pt x="959" y="30"/>
                </a:cubicBezTo>
                <a:cubicBezTo>
                  <a:pt x="777" y="4"/>
                  <a:pt x="590" y="30"/>
                  <a:pt x="425" y="111"/>
                </a:cubicBezTo>
                <a:cubicBezTo>
                  <a:pt x="240" y="200"/>
                  <a:pt x="137" y="359"/>
                  <a:pt x="98" y="557"/>
                </a:cubicBezTo>
                <a:cubicBezTo>
                  <a:pt x="95" y="572"/>
                  <a:pt x="95" y="572"/>
                  <a:pt x="95" y="572"/>
                </a:cubicBezTo>
                <a:lnTo>
                  <a:pt x="0" y="56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6" name="图片 5">
            <a:extLst>
              <a:ext uri="{FF2B5EF4-FFF2-40B4-BE49-F238E27FC236}">
                <a16:creationId xmlns:a16="http://schemas.microsoft.com/office/drawing/2014/main" id="{EFD6CC2F-56AA-69D7-97C1-5493B6EB02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7494" y="1182056"/>
            <a:ext cx="4901575" cy="5169863"/>
          </a:xfrm>
          <a:prstGeom prst="rect">
            <a:avLst/>
          </a:prstGeom>
        </p:spPr>
      </p:pic>
    </p:spTree>
    <p:custDataLst>
      <p:tags r:id="rId1"/>
    </p:custDataLst>
    <p:extLst>
      <p:ext uri="{BB962C8B-B14F-4D97-AF65-F5344CB8AC3E}">
        <p14:creationId xmlns:p14="http://schemas.microsoft.com/office/powerpoint/2010/main" val="3784107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553613" y="2369748"/>
            <a:ext cx="5419185" cy="895350"/>
          </a:xfrm>
        </p:spPr>
        <p:txBody>
          <a:bodyPr>
            <a:normAutofit/>
          </a:bodyPr>
          <a:lstStyle/>
          <a:p>
            <a:r>
              <a:rPr lang="zh-CN" altLang="en-US" sz="3400" dirty="0"/>
              <a:t>关键技术</a:t>
            </a:r>
          </a:p>
        </p:txBody>
      </p:sp>
      <p:sp>
        <p:nvSpPr>
          <p:cNvPr id="6" name="íŝļîḑê"/>
          <p:cNvSpPr>
            <a:spLocks noGrp="1"/>
          </p:cNvSpPr>
          <p:nvPr>
            <p:ph type="body" idx="1"/>
          </p:nvPr>
        </p:nvSpPr>
        <p:spPr>
          <a:xfrm>
            <a:off x="5553612" y="3265098"/>
            <a:ext cx="5419185" cy="671713"/>
          </a:xfrm>
        </p:spPr>
        <p:txBody>
          <a:bodyPr>
            <a:noAutofit/>
          </a:bodyPr>
          <a:lstStyle/>
          <a:p>
            <a:pPr lvl="0"/>
            <a:r>
              <a:rPr lang="zh-CN" altLang="en-US" sz="2400" dirty="0"/>
              <a:t>面向国家安全的信息安全</a:t>
            </a:r>
          </a:p>
        </p:txBody>
      </p:sp>
      <p:sp>
        <p:nvSpPr>
          <p:cNvPr id="9" name="íṧľíḑê">
            <a:extLst>
              <a:ext uri="{FF2B5EF4-FFF2-40B4-BE49-F238E27FC236}">
                <a16:creationId xmlns:a16="http://schemas.microsoft.com/office/drawing/2014/main" id="{04F69230-F3A6-4586-9371-A858F4763E9F}"/>
              </a:ext>
            </a:extLst>
          </p:cNvPr>
          <p:cNvSpPr txBox="1"/>
          <p:nvPr/>
        </p:nvSpPr>
        <p:spPr>
          <a:xfrm>
            <a:off x="4347258"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3</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87322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3"/>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ICON" val="#438741;#438744;#438747;#438746;"/>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ICON" val="#438741;#438744;#438747;#438746;"/>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ICON" val="#438747;#438745;"/>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ICON" val="#438741;#438744;#438747;#438746;"/>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186263;#186176;#186235;"/>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ICON" val="#438745;#438746;"/>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DIAGRAM" val="246742"/>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6.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146</TotalTime>
  <Words>632</Words>
  <Application>Microsoft Office PowerPoint</Application>
  <PresentationFormat>宽屏</PresentationFormat>
  <Paragraphs>66</Paragraphs>
  <Slides>13</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3</vt:i4>
      </vt:variant>
    </vt:vector>
  </HeadingPairs>
  <TitlesOfParts>
    <vt:vector size="21" baseType="lpstr">
      <vt:lpstr>等线</vt:lpstr>
      <vt:lpstr>宋体</vt:lpstr>
      <vt:lpstr>Microsoft YaHei</vt:lpstr>
      <vt:lpstr>Arial</vt:lpstr>
      <vt:lpstr>Calibri</vt:lpstr>
      <vt:lpstr>Impact</vt:lpstr>
      <vt:lpstr>主题5</vt:lpstr>
      <vt:lpstr>think-cell Slide</vt:lpstr>
      <vt:lpstr>基于人工智能的 信息安全</vt:lpstr>
      <vt:lpstr>PowerPoint 演示文稿</vt:lpstr>
      <vt:lpstr>研究目标</vt:lpstr>
      <vt:lpstr>基于人工智能的信息安全</vt:lpstr>
      <vt:lpstr>面向国家安全的信息安全</vt:lpstr>
      <vt:lpstr>研究内容</vt:lpstr>
      <vt:lpstr>人工智能安全与对策</vt:lpstr>
      <vt:lpstr>人工智能安全与对策</vt:lpstr>
      <vt:lpstr>关键技术</vt:lpstr>
      <vt:lpstr>模型设计</vt:lpstr>
      <vt:lpstr>应用实例</vt:lpstr>
      <vt:lpstr>基于人工智能的聊天生成预训练变压器的作用</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杨 孟衡</cp:lastModifiedBy>
  <cp:revision>24</cp:revision>
  <cp:lastPrinted>2020-09-09T16:00:00Z</cp:lastPrinted>
  <dcterms:created xsi:type="dcterms:W3CDTF">2020-09-09T16:00:00Z</dcterms:created>
  <dcterms:modified xsi:type="dcterms:W3CDTF">2023-07-24T14:3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e1d0774-2377-4227-bc40-ee4b41b4477b</vt:lpwstr>
  </property>
</Properties>
</file>